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1.xml" ContentType="application/vnd.openxmlformats-officedocument.presentationml.notesSlid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70" r:id="rId5"/>
  </p:sldMasterIdLst>
  <p:notesMasterIdLst>
    <p:notesMasterId r:id="rId22"/>
  </p:notesMasterIdLst>
  <p:sldIdLst>
    <p:sldId id="263" r:id="rId6"/>
    <p:sldId id="6557" r:id="rId7"/>
    <p:sldId id="6497" r:id="rId8"/>
    <p:sldId id="1597" r:id="rId9"/>
    <p:sldId id="6556" r:id="rId10"/>
    <p:sldId id="6581" r:id="rId11"/>
    <p:sldId id="1619" r:id="rId12"/>
    <p:sldId id="1620" r:id="rId13"/>
    <p:sldId id="6555" r:id="rId14"/>
    <p:sldId id="6580" r:id="rId15"/>
    <p:sldId id="6558" r:id="rId16"/>
    <p:sldId id="6571" r:id="rId17"/>
    <p:sldId id="6559" r:id="rId18"/>
    <p:sldId id="266" r:id="rId19"/>
    <p:sldId id="6520" r:id="rId20"/>
    <p:sldId id="262" r:id="rId21"/>
  </p:sldIdLst>
  <p:sldSz cx="12192000" cy="6858000"/>
  <p:notesSz cx="6858000" cy="9144000"/>
  <p:defaultTextStyle>
    <a:defPPr>
      <a:defRPr lang="tr-T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6EC1D24-BF5C-49F2-8F84-9B63D81BEA70}">
          <p14:sldIdLst/>
        </p14:section>
        <p14:section name="Başlık" id="{1198F00A-EC30-0D43-AAB5-B0AC7E7F0209}">
          <p14:sldIdLst>
            <p14:sldId id="263"/>
          </p14:sldIdLst>
        </p14:section>
        <p14:section name="Innocon" id="{11EF0E3B-042D-3742-939E-98E028BE81FB}">
          <p14:sldIdLst>
            <p14:sldId id="6557"/>
            <p14:sldId id="6497"/>
            <p14:sldId id="1597"/>
          </p14:sldIdLst>
        </p14:section>
        <p14:section name="Amaç ve Kapsam" id="{795E627F-AB9C-3645-B030-E31CFFA5D7D8}">
          <p14:sldIdLst>
            <p14:sldId id="6556"/>
            <p14:sldId id="6581"/>
            <p14:sldId id="1619"/>
            <p14:sldId id="1620"/>
          </p14:sldIdLst>
        </p14:section>
        <p14:section name="Beklentiler" id="{62AC62BA-3F4F-CB4B-8AA7-76F03EB1BB8E}">
          <p14:sldIdLst>
            <p14:sldId id="6555"/>
            <p14:sldId id="6580"/>
          </p14:sldIdLst>
        </p14:section>
        <p14:section name="Sistem mimarisi" id="{74F718E4-2603-4AFA-B187-01BB266BECC2}">
          <p14:sldIdLst>
            <p14:sldId id="6558"/>
            <p14:sldId id="6571"/>
          </p14:sldIdLst>
        </p14:section>
        <p14:section name="Dijital dönüşüm yol haritası" id="{2D7182B4-242D-409C-85D3-6241DE4EA058}">
          <p14:sldIdLst>
            <p14:sldId id="6559"/>
            <p14:sldId id="266"/>
            <p14:sldId id="6520"/>
            <p14:sldId id="26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D5DCBA"/>
    <a:srgbClr val="39432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997" autoAdjust="0"/>
    <p:restoredTop sz="94660"/>
  </p:normalViewPr>
  <p:slideViewPr>
    <p:cSldViewPr snapToGrid="0">
      <p:cViewPr varScale="1">
        <p:scale>
          <a:sx n="85" d="100"/>
          <a:sy n="85" d="100"/>
        </p:scale>
        <p:origin x="295" y="58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/Relationships>
</file>

<file path=ppt/charts/_rels/chart1.xml.rels><?xml version="1.0" encoding="UTF-8" standalone="yes"?>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5" Type="http://schemas.openxmlformats.org/officeDocument/2006/relationships/chartUserShapes" Target="../drawings/drawing1.xml"/><Relationship Id="rId4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v>Fayda-Zorluk</c:v>
          </c:tx>
          <c:spPr>
            <a:ln w="25400" cap="rnd">
              <a:noFill/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circle"/>
            <c:size val="6"/>
            <c:spPr>
              <a:solidFill>
                <a:schemeClr val="tx2">
                  <a:lumMod val="60000"/>
                  <a:lumOff val="40000"/>
                </a:schemeClr>
              </a:solidFill>
              <a:ln w="9525" cap="rnd">
                <a:solidFill>
                  <a:schemeClr val="accent1"/>
                </a:solidFill>
                <a:round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marker>
          <c:dPt>
            <c:idx val="0"/>
            <c:marker>
              <c:symbol val="circle"/>
              <c:size val="6"/>
              <c:spPr>
                <a:solidFill>
                  <a:srgbClr val="FFC000"/>
                </a:solidFill>
                <a:ln w="9525" cap="rnd">
                  <a:solidFill>
                    <a:schemeClr val="accent1"/>
                  </a:solidFill>
                  <a:round/>
                </a:ln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threePt" dir="t">
                    <a:rot lat="0" lon="0" rev="1200000"/>
                  </a:lightRig>
                </a:scene3d>
                <a:sp3d>
                  <a:bevelT w="63500" h="25400"/>
                </a:sp3d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AD16-414D-B224-2C7B871BAFED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rgbClr val="FFC000"/>
                </a:solidFill>
                <a:ln w="9525" cap="rnd">
                  <a:solidFill>
                    <a:schemeClr val="accent1"/>
                  </a:solidFill>
                  <a:round/>
                </a:ln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threePt" dir="t">
                    <a:rot lat="0" lon="0" rev="1200000"/>
                  </a:lightRig>
                </a:scene3d>
                <a:sp3d>
                  <a:bevelT w="63500" h="25400"/>
                </a:sp3d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AD16-414D-B224-2C7B871BAFED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chemeClr val="tx2">
                    <a:lumMod val="60000"/>
                    <a:lumOff val="40000"/>
                  </a:schemeClr>
                </a:solidFill>
                <a:ln w="9525" cap="rnd">
                  <a:solidFill>
                    <a:schemeClr val="accent1"/>
                  </a:solidFill>
                  <a:round/>
                </a:ln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threePt" dir="t">
                    <a:rot lat="0" lon="0" rev="1200000"/>
                  </a:lightRig>
                </a:scene3d>
                <a:sp3d>
                  <a:bevelT w="63500" h="25400"/>
                </a:sp3d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AD16-414D-B224-2C7B871BAFED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rgbClr val="FFC000"/>
                </a:solidFill>
                <a:ln w="9525" cap="rnd">
                  <a:solidFill>
                    <a:schemeClr val="accent1"/>
                  </a:solidFill>
                  <a:round/>
                </a:ln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threePt" dir="t">
                    <a:rot lat="0" lon="0" rev="1200000"/>
                  </a:lightRig>
                </a:scene3d>
                <a:sp3d>
                  <a:bevelT w="63500" h="25400"/>
                </a:sp3d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AD16-414D-B224-2C7B871BAFED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chemeClr val="tx2">
                    <a:lumMod val="60000"/>
                    <a:lumOff val="40000"/>
                  </a:schemeClr>
                </a:solidFill>
                <a:ln w="9525" cap="rnd">
                  <a:solidFill>
                    <a:schemeClr val="accent1"/>
                  </a:solidFill>
                  <a:round/>
                </a:ln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threePt" dir="t">
                    <a:rot lat="0" lon="0" rev="1200000"/>
                  </a:lightRig>
                </a:scene3d>
                <a:sp3d>
                  <a:bevelT w="63500" h="25400"/>
                </a:sp3d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AD16-414D-B224-2C7B871BAFED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rgbClr val="FFC000"/>
                </a:solidFill>
                <a:ln w="9525" cap="rnd">
                  <a:solidFill>
                    <a:schemeClr val="accent1"/>
                  </a:solidFill>
                  <a:round/>
                </a:ln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threePt" dir="t">
                    <a:rot lat="0" lon="0" rev="1200000"/>
                  </a:lightRig>
                </a:scene3d>
                <a:sp3d>
                  <a:bevelT w="63500" h="25400"/>
                </a:sp3d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AD16-414D-B224-2C7B871BAFED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rgbClr val="FFC000"/>
                </a:solidFill>
                <a:ln w="9525" cap="rnd">
                  <a:solidFill>
                    <a:schemeClr val="accent1"/>
                  </a:solidFill>
                  <a:round/>
                </a:ln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threePt" dir="t">
                    <a:rot lat="0" lon="0" rev="1200000"/>
                  </a:lightRig>
                </a:scene3d>
                <a:sp3d>
                  <a:bevelT w="63500" h="25400"/>
                </a:sp3d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AD16-414D-B224-2C7B871BAFED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chemeClr val="tx2">
                    <a:lumMod val="60000"/>
                    <a:lumOff val="40000"/>
                  </a:schemeClr>
                </a:solidFill>
                <a:ln w="9525" cap="rnd">
                  <a:solidFill>
                    <a:schemeClr val="accent1"/>
                  </a:solidFill>
                  <a:round/>
                </a:ln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threePt" dir="t">
                    <a:rot lat="0" lon="0" rev="1200000"/>
                  </a:lightRig>
                </a:scene3d>
                <a:sp3d>
                  <a:bevelT w="63500" h="25400"/>
                </a:sp3d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AD16-414D-B224-2C7B871BAFED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chemeClr val="tx2">
                    <a:lumMod val="60000"/>
                    <a:lumOff val="40000"/>
                  </a:schemeClr>
                </a:solidFill>
                <a:ln w="9525" cap="rnd">
                  <a:solidFill>
                    <a:schemeClr val="accent1"/>
                  </a:solidFill>
                  <a:round/>
                </a:ln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threePt" dir="t">
                    <a:rot lat="0" lon="0" rev="1200000"/>
                  </a:lightRig>
                </a:scene3d>
                <a:sp3d>
                  <a:bevelT w="63500" h="25400"/>
                </a:sp3d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AD16-414D-B224-2C7B871BAFED}"/>
              </c:ext>
            </c:extLst>
          </c:dPt>
          <c:dLbls>
            <c:delete val="1"/>
          </c:dLbls>
          <c:xVal>
            <c:numRef>
              <c:f>Pivot!$C$9:$C$36</c:f>
              <c:numCache>
                <c:formatCode>0.0</c:formatCode>
                <c:ptCount val="28"/>
                <c:pt idx="0">
                  <c:v>1.875</c:v>
                </c:pt>
                <c:pt idx="1">
                  <c:v>3.375</c:v>
                </c:pt>
                <c:pt idx="2">
                  <c:v>3.125</c:v>
                </c:pt>
                <c:pt idx="3">
                  <c:v>1.625</c:v>
                </c:pt>
                <c:pt idx="4">
                  <c:v>1.375</c:v>
                </c:pt>
                <c:pt idx="5">
                  <c:v>2.625</c:v>
                </c:pt>
                <c:pt idx="6">
                  <c:v>2.375</c:v>
                </c:pt>
                <c:pt idx="7">
                  <c:v>4.75</c:v>
                </c:pt>
                <c:pt idx="8">
                  <c:v>3.75</c:v>
                </c:pt>
                <c:pt idx="9">
                  <c:v>0.75</c:v>
                </c:pt>
                <c:pt idx="10">
                  <c:v>0.875</c:v>
                </c:pt>
                <c:pt idx="11">
                  <c:v>1.5</c:v>
                </c:pt>
                <c:pt idx="12">
                  <c:v>1.75</c:v>
                </c:pt>
                <c:pt idx="13">
                  <c:v>0.875</c:v>
                </c:pt>
                <c:pt idx="14">
                  <c:v>2.625</c:v>
                </c:pt>
                <c:pt idx="15">
                  <c:v>4</c:v>
                </c:pt>
                <c:pt idx="16">
                  <c:v>3</c:v>
                </c:pt>
                <c:pt idx="17">
                  <c:v>4.5</c:v>
                </c:pt>
                <c:pt idx="18">
                  <c:v>3.25</c:v>
                </c:pt>
                <c:pt idx="19">
                  <c:v>2</c:v>
                </c:pt>
                <c:pt idx="20">
                  <c:v>1.125</c:v>
                </c:pt>
                <c:pt idx="21">
                  <c:v>2.25</c:v>
                </c:pt>
                <c:pt idx="22">
                  <c:v>4.375</c:v>
                </c:pt>
                <c:pt idx="23">
                  <c:v>0.5</c:v>
                </c:pt>
                <c:pt idx="24">
                  <c:v>3.625</c:v>
                </c:pt>
                <c:pt idx="25">
                  <c:v>3.375</c:v>
                </c:pt>
                <c:pt idx="26">
                  <c:v>1.375</c:v>
                </c:pt>
                <c:pt idx="27">
                  <c:v>0.625</c:v>
                </c:pt>
              </c:numCache>
            </c:numRef>
          </c:xVal>
          <c:yVal>
            <c:numRef>
              <c:f>Pivot!$B$9:$B$36</c:f>
              <c:numCache>
                <c:formatCode>0.0</c:formatCode>
                <c:ptCount val="28"/>
                <c:pt idx="0">
                  <c:v>4.0999999999999996</c:v>
                </c:pt>
                <c:pt idx="1">
                  <c:v>4.3</c:v>
                </c:pt>
                <c:pt idx="2">
                  <c:v>4.0999999999999996</c:v>
                </c:pt>
                <c:pt idx="3">
                  <c:v>3.7</c:v>
                </c:pt>
                <c:pt idx="4">
                  <c:v>4</c:v>
                </c:pt>
                <c:pt idx="5">
                  <c:v>3.8</c:v>
                </c:pt>
                <c:pt idx="6">
                  <c:v>3.5</c:v>
                </c:pt>
                <c:pt idx="7">
                  <c:v>3.5</c:v>
                </c:pt>
                <c:pt idx="8">
                  <c:v>3.3</c:v>
                </c:pt>
                <c:pt idx="9">
                  <c:v>2.5</c:v>
                </c:pt>
                <c:pt idx="10">
                  <c:v>3.1</c:v>
                </c:pt>
                <c:pt idx="11">
                  <c:v>3.1</c:v>
                </c:pt>
                <c:pt idx="12">
                  <c:v>2.9</c:v>
                </c:pt>
                <c:pt idx="13">
                  <c:v>2.8</c:v>
                </c:pt>
                <c:pt idx="14">
                  <c:v>3</c:v>
                </c:pt>
                <c:pt idx="15">
                  <c:v>2.7</c:v>
                </c:pt>
                <c:pt idx="16">
                  <c:v>2.4</c:v>
                </c:pt>
                <c:pt idx="17">
                  <c:v>2.2999999999999998</c:v>
                </c:pt>
                <c:pt idx="18">
                  <c:v>2.7</c:v>
                </c:pt>
                <c:pt idx="19">
                  <c:v>2.2000000000000002</c:v>
                </c:pt>
                <c:pt idx="20">
                  <c:v>1.8</c:v>
                </c:pt>
                <c:pt idx="21">
                  <c:v>1.6</c:v>
                </c:pt>
                <c:pt idx="22">
                  <c:v>3.4</c:v>
                </c:pt>
                <c:pt idx="23">
                  <c:v>1</c:v>
                </c:pt>
                <c:pt idx="24">
                  <c:v>1.8</c:v>
                </c:pt>
                <c:pt idx="25">
                  <c:v>2.2999999999999998</c:v>
                </c:pt>
                <c:pt idx="26">
                  <c:v>2.2000000000000002</c:v>
                </c:pt>
                <c:pt idx="27">
                  <c:v>2.20000000000000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C-AD16-414D-B224-2C7B871BAFED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axId val="116650368"/>
        <c:axId val="116653056"/>
      </c:scatterChart>
      <c:valAx>
        <c:axId val="116650368"/>
        <c:scaling>
          <c:orientation val="minMax"/>
          <c:min val="0"/>
        </c:scaling>
        <c:delete val="0"/>
        <c:axPos val="b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lt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116653056"/>
        <c:crosses val="autoZero"/>
        <c:crossBetween val="midCat"/>
      </c:valAx>
      <c:valAx>
        <c:axId val="116653056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lt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116650368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tr-TR"/>
    </a:p>
  </c:txPr>
  <c:externalData r:id="rId4">
    <c:autoUpdate val="0"/>
  </c:externalData>
  <c:userShapes r:id="rId5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8">
  <cs:axisTitle>
    <cs:lnRef idx="0"/>
    <cs:fillRef idx="0"/>
    <cs:effectRef idx="0"/>
    <cs:fontRef idx="minor">
      <a:schemeClr val="lt1">
        <a:lumMod val="75000"/>
      </a:schemeClr>
    </cs:fontRef>
    <cs:defRPr sz="900" b="1" kern="1200" cap="all"/>
  </cs:axisTitle>
  <cs:categoryAxis>
    <cs:lnRef idx="0"/>
    <cs:fillRef idx="0"/>
    <cs:effectRef idx="0"/>
    <cs:fontRef idx="minor">
      <a:schemeClr val="lt1">
        <a:lumMod val="75000"/>
      </a:schemeClr>
    </cs:fontRef>
    <cs:spPr>
      <a:ln w="9525" cap="flat" cmpd="sng" algn="ctr">
        <a:solidFill>
          <a:schemeClr val="lt1">
            <a:lumMod val="50000"/>
          </a:schemeClr>
        </a:solidFill>
      </a:ln>
    </cs:spPr>
    <cs:defRPr sz="900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000" kern="1200"/>
  </cs:chartArea>
  <cs:dataLabel>
    <cs:lnRef idx="0"/>
    <cs:fillRef idx="0"/>
    <cs:effectRef idx="0"/>
    <cs:fontRef idx="minor">
      <a:schemeClr val="lt1">
        <a:lumMod val="7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7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75000"/>
      </a:schemeClr>
    </cs:fontRef>
    <cs:defRPr sz="900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75000"/>
      </a:schemeClr>
    </cs:fontRef>
    <cs:spPr>
      <a:ln w="9525" cap="flat" cmpd="sng" algn="ctr">
        <a:solidFill>
          <a:schemeClr val="lt1">
            <a:lumMod val="50000"/>
          </a:schemeClr>
        </a:solidFill>
      </a:ln>
    </cs:spPr>
    <cs:defRPr sz="900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600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lt1">
        <a:lumMod val="7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75000"/>
      </a:schemeClr>
    </cs:fontRef>
    <cs:spPr>
      <a:ln w="9525" cap="flat" cmpd="sng" algn="ctr">
        <a:solidFill>
          <a:schemeClr val="lt1">
            <a:lumMod val="50000"/>
          </a:schemeClr>
        </a:solidFill>
      </a:ln>
    </cs:spPr>
    <cs:defRPr sz="900" kern="1200"/>
  </cs:valueAxis>
  <cs:wall>
    <cs:lnRef idx="0"/>
    <cs:fillRef idx="0"/>
    <cs:effectRef idx="0"/>
    <cs:fontRef idx="minor">
      <a:schemeClr val="tx1"/>
    </cs:fontRef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0265</cdr:x>
      <cdr:y>0</cdr:y>
    </cdr:from>
    <cdr:to>
      <cdr:x>0.50338</cdr:x>
      <cdr:y>1</cdr:y>
    </cdr:to>
    <cdr:cxnSp macro="">
      <cdr:nvCxnSpPr>
        <cdr:cNvPr id="2" name="Düz Bağlayıcı 1">
          <a:extLst xmlns:a="http://schemas.openxmlformats.org/drawingml/2006/main">
            <a:ext uri="{FF2B5EF4-FFF2-40B4-BE49-F238E27FC236}">
              <a16:creationId xmlns:a16="http://schemas.microsoft.com/office/drawing/2014/main" id="{E467C8AA-3291-296C-D02B-59A5182CBB7B}"/>
            </a:ext>
          </a:extLst>
        </cdr:cNvPr>
        <cdr:cNvCxnSpPr/>
      </cdr:nvCxnSpPr>
      <cdr:spPr>
        <a:xfrm xmlns:a="http://schemas.openxmlformats.org/drawingml/2006/main" flipH="1">
          <a:off x="4423573" y="0"/>
          <a:ext cx="6424" cy="4722244"/>
        </a:xfrm>
        <a:prstGeom xmlns:a="http://schemas.openxmlformats.org/drawingml/2006/main" prst="line">
          <a:avLst/>
        </a:prstGeom>
        <a:ln xmlns:a="http://schemas.openxmlformats.org/drawingml/2006/main" w="47625">
          <a:solidFill>
            <a:schemeClr val="accent2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</cdr:x>
      <cdr:y>0.48472</cdr:y>
    </cdr:from>
    <cdr:to>
      <cdr:x>1</cdr:x>
      <cdr:y>0.4877</cdr:y>
    </cdr:to>
    <cdr:cxnSp macro="">
      <cdr:nvCxnSpPr>
        <cdr:cNvPr id="3" name="Düz Bağlayıcı 2">
          <a:extLst xmlns:a="http://schemas.openxmlformats.org/drawingml/2006/main">
            <a:ext uri="{FF2B5EF4-FFF2-40B4-BE49-F238E27FC236}">
              <a16:creationId xmlns:a16="http://schemas.microsoft.com/office/drawing/2014/main" id="{2EA5DE8E-4BCF-4D7C-BA96-7E6B4E7CF090}"/>
            </a:ext>
          </a:extLst>
        </cdr:cNvPr>
        <cdr:cNvCxnSpPr/>
      </cdr:nvCxnSpPr>
      <cdr:spPr>
        <a:xfrm xmlns:a="http://schemas.openxmlformats.org/drawingml/2006/main" flipH="1">
          <a:off x="0" y="2440888"/>
          <a:ext cx="8821360" cy="15006"/>
        </a:xfrm>
        <a:prstGeom xmlns:a="http://schemas.openxmlformats.org/drawingml/2006/main" prst="line">
          <a:avLst/>
        </a:prstGeom>
        <a:ln xmlns:a="http://schemas.openxmlformats.org/drawingml/2006/main" w="47625">
          <a:solidFill>
            <a:schemeClr val="accent2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02999</cdr:x>
      <cdr:y>0.85783</cdr:y>
    </cdr:from>
    <cdr:to>
      <cdr:x>0.20556</cdr:x>
      <cdr:y>0.96989</cdr:y>
    </cdr:to>
    <cdr:sp macro="" textlink="">
      <cdr:nvSpPr>
        <cdr:cNvPr id="4" name="Metin kutusu 3">
          <a:extLst xmlns:a="http://schemas.openxmlformats.org/drawingml/2006/main">
            <a:ext uri="{FF2B5EF4-FFF2-40B4-BE49-F238E27FC236}">
              <a16:creationId xmlns:a16="http://schemas.microsoft.com/office/drawing/2014/main" id="{F6144833-60D9-7645-1C7E-82FA59B233FB}"/>
            </a:ext>
          </a:extLst>
        </cdr:cNvPr>
        <cdr:cNvSpPr txBox="1"/>
      </cdr:nvSpPr>
      <cdr:spPr>
        <a:xfrm xmlns:a="http://schemas.openxmlformats.org/drawingml/2006/main">
          <a:off x="304130" y="4579886"/>
          <a:ext cx="1780703" cy="59827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tr-TR" sz="1200" b="1" dirty="0">
              <a:solidFill>
                <a:schemeClr val="bg1"/>
              </a:solidFill>
            </a:rPr>
            <a:t>Hızlı Kazanım Projeleri</a:t>
          </a:r>
        </a:p>
      </cdr:txBody>
    </cdr:sp>
  </cdr:relSizeAnchor>
</c:userShapes>
</file>

<file path=ppt/notesMasters/_rels/notesMaster1.xml.rels><?xml version="1.0" encoding="UTF-8" standalone="yes"?>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14B187-C17E-4520-96C6-BBDE7195019D}" type="datetimeFigureOut">
              <a:rPr lang="tr-TR" smtClean="0"/>
              <a:t>22.04.2024</a:t>
            </a:fld>
            <a:endParaRPr lang="tr-T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tr-T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90A4C3-CDDE-4A27-B011-72A3B0D8CA04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5270683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F91155-9A9F-4D18-B2FB-E47A223F4F3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7030667"/>
      </p:ext>
    </p:extLst>
  </p:cSld>
  <p:clrMapOvr>
    <a:masterClrMapping/>
  </p:clrMapOvr>
</p:notes>
</file>

<file path=ppt/slideLayouts/_rels/slideLayout1.xml.rels><?xml version="1.0" encoding="UTF-8" standalone="yes"?>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ver Image Placeholder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0"/>
            <a:ext cx="12192000" cy="3430006"/>
          </a:xfrm>
          <a:solidFill>
            <a:schemeClr val="tx2">
              <a:alpha val="70000"/>
            </a:schemeClr>
          </a:solidFill>
        </p:spPr>
        <p:txBody>
          <a:bodyPr tIns="50400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insert title image</a:t>
            </a:r>
          </a:p>
        </p:txBody>
      </p:sp>
      <p:sp>
        <p:nvSpPr>
          <p:cNvPr id="13" name="Classification"/>
          <p:cNvSpPr txBox="1"/>
          <p:nvPr userDrawn="1"/>
        </p:nvSpPr>
        <p:spPr>
          <a:xfrm>
            <a:off x="9377647" y="6281928"/>
            <a:ext cx="1801040" cy="4073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spcBef>
                <a:spcPts val="0"/>
              </a:spcBef>
              <a:buClr>
                <a:schemeClr val="accent1"/>
              </a:buClr>
              <a:buSzPct val="80000"/>
              <a:buFontTx/>
              <a:buNone/>
              <a:defRPr sz="1000" b="0">
                <a:latin typeface="+mn-lt"/>
              </a:defRPr>
            </a:lvl1pPr>
            <a:lvl2pPr marL="180000" indent="-180000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 sz="1800">
                <a:latin typeface="+mn-lt"/>
              </a:defRPr>
            </a:lvl2pPr>
            <a:lvl3pPr marL="360000" indent="-180000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noProof="0" dirty="0" smtClean="0">
                <a:latin typeface="+mn-lt"/>
              </a:defRPr>
            </a:lvl3pPr>
            <a:lvl4pPr marL="540000" indent="-180000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>
                <a:latin typeface="+mn-lt"/>
              </a:defRPr>
            </a:lvl4pPr>
            <a:lvl5pPr marL="720000" indent="-180000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baseline="0">
                <a:latin typeface="+mn-lt"/>
              </a:defRPr>
            </a:lvl5pPr>
            <a:lvl6pPr marL="2994134" indent="-2721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8522" indent="-2721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82910" indent="-2721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27298" indent="-2721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pPr lvl="0" algn="ctr"/>
            <a:r>
              <a:rPr lang="en-US" sz="16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ustomer</a:t>
            </a:r>
            <a:r>
              <a:rPr lang="tr-TR" sz="16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OGO</a:t>
            </a:r>
            <a:endParaRPr lang="en-US" sz="1600" b="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Date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251933" y="5389201"/>
            <a:ext cx="10926754" cy="13849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tr-TR" dirty="0"/>
              <a:t>18.06.</a:t>
            </a:r>
            <a:r>
              <a:rPr lang="en-US" dirty="0"/>
              <a:t>20</a:t>
            </a:r>
            <a:r>
              <a:rPr lang="tr-TR" dirty="0"/>
              <a:t>20, İstanbul</a:t>
            </a:r>
            <a:endParaRPr lang="en-US" dirty="0"/>
          </a:p>
        </p:txBody>
      </p:sp>
      <p:sp>
        <p:nvSpPr>
          <p:cNvPr id="19" name="Speaker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251933" y="5086801"/>
            <a:ext cx="10926754" cy="246221"/>
          </a:xfrm>
        </p:spPr>
        <p:txBody>
          <a:bodyPr wrap="square" anchor="t" anchorCtr="0">
            <a:noAutofit/>
          </a:bodyPr>
          <a:lstStyle>
            <a:lvl1pPr marL="0" marR="0" indent="0" algn="l" defTabSz="10882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 b="0" baseline="0">
                <a:solidFill>
                  <a:schemeClr val="tx1"/>
                </a:solidFill>
              </a:defRPr>
            </a:lvl1pPr>
            <a:lvl2pPr marL="544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2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3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0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4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88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2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tr-TR" dirty="0"/>
              <a:t>Eren Ahmet Aygün</a:t>
            </a:r>
            <a:r>
              <a:rPr lang="en-US" dirty="0"/>
              <a:t>, </a:t>
            </a:r>
            <a:r>
              <a:rPr lang="tr-TR" dirty="0"/>
              <a:t>INNOCON</a:t>
            </a:r>
            <a:endParaRPr lang="en-US" dirty="0"/>
          </a:p>
        </p:txBody>
      </p:sp>
      <p:sp>
        <p:nvSpPr>
          <p:cNvPr id="20" name="Presentation Title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251933" y="4140001"/>
            <a:ext cx="10926754" cy="775597"/>
          </a:xfrm>
        </p:spPr>
        <p:txBody>
          <a:bodyPr wrap="square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799" b="1" baseline="0"/>
            </a:lvl1pPr>
          </a:lstStyle>
          <a:p>
            <a:pPr lvl="0"/>
            <a:r>
              <a:rPr lang="en-US" dirty="0"/>
              <a:t>Presentation Title </a:t>
            </a:r>
            <a:r>
              <a:rPr lang="en-US" dirty="0"/>
              <a:t>Goes Here and Here.</a:t>
            </a:r>
            <a:br>
              <a:rPr lang="en-US" dirty="0"/>
            </a:br>
          </a:p>
        </p:txBody>
      </p:sp>
      <p:grpSp>
        <p:nvGrpSpPr>
          <p:cNvPr id="2" name="Group 1"/>
          <p:cNvGrpSpPr/>
          <p:nvPr userDrawn="1"/>
        </p:nvGrpSpPr>
        <p:grpSpPr>
          <a:xfrm>
            <a:off x="9168785" y="0"/>
            <a:ext cx="3023215" cy="3430006"/>
            <a:chOff x="9171173" y="0"/>
            <a:chExt cx="3024002" cy="3430006"/>
          </a:xfrm>
        </p:grpSpPr>
        <p:sp>
          <p:nvSpPr>
            <p:cNvPr id="17" name="Rectangle 16"/>
            <p:cNvSpPr/>
            <p:nvPr userDrawn="1"/>
          </p:nvSpPr>
          <p:spPr bwMode="gray">
            <a:xfrm>
              <a:off x="11187175" y="0"/>
              <a:ext cx="1008000" cy="3430006"/>
            </a:xfrm>
            <a:prstGeom prst="rect">
              <a:avLst/>
            </a:prstGeom>
            <a:solidFill>
              <a:schemeClr val="accent1"/>
            </a:solidFill>
            <a:ln w="635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R="0" algn="ctr" defTabSz="913943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en-US" sz="1999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8" name="Rectangle 17"/>
            <p:cNvSpPr/>
            <p:nvPr userDrawn="1"/>
          </p:nvSpPr>
          <p:spPr bwMode="gray">
            <a:xfrm>
              <a:off x="10179174" y="0"/>
              <a:ext cx="1008000" cy="3430006"/>
            </a:xfrm>
            <a:prstGeom prst="rect">
              <a:avLst/>
            </a:prstGeom>
            <a:solidFill>
              <a:schemeClr val="accent1">
                <a:alpha val="70000"/>
              </a:schemeClr>
            </a:solidFill>
            <a:ln w="635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R="0" algn="ctr" defTabSz="913943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en-US" sz="1999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2" name="Rectangle 21"/>
            <p:cNvSpPr/>
            <p:nvPr userDrawn="1"/>
          </p:nvSpPr>
          <p:spPr bwMode="gray">
            <a:xfrm>
              <a:off x="9171173" y="0"/>
              <a:ext cx="1008000" cy="3430006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  <a:ln w="635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R="0" algn="ctr" defTabSz="913943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en-US" sz="1999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pic>
        <p:nvPicPr>
          <p:cNvPr id="15" name="Picture 14" descr="A close up of a logo&#10;&#10;Description automatically generated">
            <a:extLst>
              <a:ext uri="{FF2B5EF4-FFF2-40B4-BE49-F238E27FC236}">
                <a16:creationId xmlns:a16="http://schemas.microsoft.com/office/drawing/2014/main" id="{D8CBC3CA-AC17-4938-8DCC-8EAD0E7C34EA}"/>
              </a:ext>
            </a:extLst>
          </p:cNvPr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933" y="5915533"/>
            <a:ext cx="2003425" cy="732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0815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B233670-DEBE-4697-A82C-FD7D35430C6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253331"/>
            <a:ext cx="10515600" cy="43513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8D6F658-C226-4B6C-B537-907BA93789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E8E50B-68E7-43C2-BC67-22428051DFAB}" type="datetimeFigureOut">
              <a:rPr lang="tr-TR" smtClean="0"/>
              <a:t>22.04.2024</a:t>
            </a:fld>
            <a:endParaRPr lang="tr-T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76E63A-A01F-4892-88F7-98CECAB05B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tr-TR" dirty="0"/>
              <a:t>Tüm hakları saklıdı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8EFCC0-056C-4249-8BE4-01379F2E2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E3237A-25E3-4373-B17F-33EA3DA5D923}" type="slidenum">
              <a:rPr lang="tr-TR" smtClean="0"/>
              <a:t>‹#›</a:t>
            </a:fld>
            <a:endParaRPr lang="tr-TR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0226223-3E95-4823-9B38-6CFC5E59E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31571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  <a:endParaRPr lang="tr-TR" dirty="0"/>
          </a:p>
        </p:txBody>
      </p:sp>
      <p:sp>
        <p:nvSpPr>
          <p:cNvPr id="9" name="Rechteck 14">
            <a:extLst>
              <a:ext uri="{FF2B5EF4-FFF2-40B4-BE49-F238E27FC236}">
                <a16:creationId xmlns:a16="http://schemas.microsoft.com/office/drawing/2014/main" id="{44920F60-E6F3-4FCF-9830-0CBB0EB22121}"/>
              </a:ext>
            </a:extLst>
          </p:cNvPr>
          <p:cNvSpPr/>
          <p:nvPr userDrawn="1"/>
        </p:nvSpPr>
        <p:spPr>
          <a:xfrm>
            <a:off x="372267" y="6234334"/>
            <a:ext cx="137249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r-TR" sz="1000" dirty="0">
                <a:solidFill>
                  <a:schemeClr val="accent3"/>
                </a:solidFill>
                <a:latin typeface="Century Gothic" panose="020B0502020202020204" pitchFamily="34" charset="0"/>
              </a:rPr>
              <a:t>© 2021    </a:t>
            </a:r>
            <a:r>
              <a:rPr lang="tr-TR" sz="1000" b="1" dirty="0">
                <a:solidFill>
                  <a:schemeClr val="accent1"/>
                </a:solidFill>
                <a:latin typeface="Century Gothic" panose="020B0502020202020204" pitchFamily="34" charset="0"/>
              </a:rPr>
              <a:t>INNOCON</a:t>
            </a:r>
            <a:endParaRPr lang="tr-TR" sz="1000" dirty="0">
              <a:solidFill>
                <a:schemeClr val="accent3"/>
              </a:solidFill>
              <a:latin typeface="Century Gothic" panose="020B0502020202020204" pitchFamily="34" charset="0"/>
            </a:endParaRPr>
          </a:p>
        </p:txBody>
      </p:sp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id="{54A4D0C1-52D7-4955-B406-7C93304433E6}"/>
              </a:ext>
            </a:extLst>
          </p:cNvPr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7312" y="6121828"/>
            <a:ext cx="1149096" cy="471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06671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104EFB0-74F5-49EF-8B7D-B6ECF8A7179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>
            <a:norm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  <a:endParaRPr lang="tr-TR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116D495-A37B-40AC-8D45-F61384CC346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9CCE34-F913-4B9E-93ED-E6A20879DB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E8E50B-68E7-43C2-BC67-22428051DFAB}" type="datetimeFigureOut">
              <a:rPr lang="tr-TR" smtClean="0"/>
              <a:t>22.04.2024</a:t>
            </a:fld>
            <a:endParaRPr lang="tr-T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2BBBE7-6919-4DF1-8AD0-341412F4D0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tr-TR" dirty="0"/>
              <a:t>Tüm hakları saklıdı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A1D014-5D55-45C9-B818-1828396AAC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E3237A-25E3-4373-B17F-33EA3DA5D923}" type="slidenum">
              <a:rPr lang="tr-TR" smtClean="0"/>
              <a:t>‹#›</a:t>
            </a:fld>
            <a:endParaRPr lang="tr-TR"/>
          </a:p>
        </p:txBody>
      </p:sp>
      <p:sp>
        <p:nvSpPr>
          <p:cNvPr id="7" name="Rechteck 14">
            <a:extLst>
              <a:ext uri="{FF2B5EF4-FFF2-40B4-BE49-F238E27FC236}">
                <a16:creationId xmlns:a16="http://schemas.microsoft.com/office/drawing/2014/main" id="{06763037-F6CD-4311-B109-5C923948305F}"/>
              </a:ext>
            </a:extLst>
          </p:cNvPr>
          <p:cNvSpPr/>
          <p:nvPr userDrawn="1"/>
        </p:nvSpPr>
        <p:spPr>
          <a:xfrm>
            <a:off x="372267" y="6234334"/>
            <a:ext cx="137249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r-TR" sz="1000" dirty="0">
                <a:solidFill>
                  <a:schemeClr val="accent3"/>
                </a:solidFill>
                <a:latin typeface="Century Gothic" panose="020B0502020202020204" pitchFamily="34" charset="0"/>
              </a:rPr>
              <a:t>© 2022    </a:t>
            </a:r>
            <a:r>
              <a:rPr lang="tr-TR" sz="1000" b="1" dirty="0">
                <a:solidFill>
                  <a:schemeClr val="accent1"/>
                </a:solidFill>
                <a:latin typeface="Century Gothic" panose="020B0502020202020204" pitchFamily="34" charset="0"/>
              </a:rPr>
              <a:t>INNOCON</a:t>
            </a:r>
            <a:endParaRPr lang="tr-TR" sz="1000" dirty="0">
              <a:solidFill>
                <a:schemeClr val="accent3"/>
              </a:solidFill>
              <a:latin typeface="Century Gothic" panose="020B0502020202020204" pitchFamily="34" charset="0"/>
            </a:endParaRP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359676BC-8468-4047-BEB1-337E00843462}"/>
              </a:ext>
            </a:extLst>
          </p:cNvPr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7312" y="6121828"/>
            <a:ext cx="1149096" cy="471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5614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 and contact infor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Contact information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9" y="2905487"/>
            <a:ext cx="5326613" cy="250101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1600" b="0"/>
            </a:lvl1pPr>
            <a:lvl2pPr marL="0" indent="0">
              <a:spcBef>
                <a:spcPts val="0"/>
              </a:spcBef>
              <a:buNone/>
              <a:defRPr sz="1600" b="0"/>
            </a:lvl2pPr>
          </a:lstStyle>
          <a:p>
            <a:r>
              <a:rPr lang="en-US" dirty="0"/>
              <a:t>Contact information:</a:t>
            </a:r>
            <a:endParaRPr lang="tr-TR" dirty="0"/>
          </a:p>
          <a:p>
            <a:r>
              <a:rPr lang="tr-TR" dirty="0"/>
              <a:t>Eren Ahmet Aygün</a:t>
            </a:r>
            <a:endParaRPr lang="en-US" dirty="0"/>
          </a:p>
          <a:p>
            <a:pPr lvl="1"/>
            <a:r>
              <a:rPr lang="tr-TR" dirty="0"/>
              <a:t>Managing Director</a:t>
            </a:r>
            <a:endParaRPr lang="en-US" dirty="0"/>
          </a:p>
          <a:p>
            <a:pPr lvl="1"/>
            <a:r>
              <a:rPr lang="tr-TR" dirty="0"/>
              <a:t>Innocon Consulting</a:t>
            </a:r>
            <a:endParaRPr lang="en-US" dirty="0"/>
          </a:p>
          <a:p>
            <a:pPr lvl="1"/>
            <a:endParaRPr lang="tr-TR" dirty="0"/>
          </a:p>
          <a:p>
            <a:pPr lvl="1"/>
            <a:r>
              <a:rPr lang="tr-TR" dirty="0"/>
              <a:t>T: +90 216 251 04 33</a:t>
            </a:r>
          </a:p>
          <a:p>
            <a:pPr lvl="1"/>
            <a:r>
              <a:rPr lang="tr-TR" dirty="0"/>
              <a:t>E: eaygun@innocon.com.tr</a:t>
            </a:r>
          </a:p>
          <a:p>
            <a:pPr lvl="1"/>
            <a:endParaRPr lang="tr-TR" dirty="0"/>
          </a:p>
          <a:p>
            <a:pPr lvl="1"/>
            <a:endParaRPr lang="tr-TR" dirty="0"/>
          </a:p>
          <a:p>
            <a:pPr lvl="1"/>
            <a:r>
              <a:rPr lang="tr-TR" dirty="0"/>
              <a:t>www.innocon.com.tr</a:t>
            </a:r>
          </a:p>
          <a:p>
            <a:pPr lvl="1"/>
            <a:endParaRPr lang="en-US" dirty="0"/>
          </a:p>
        </p:txBody>
      </p:sp>
      <p:sp>
        <p:nvSpPr>
          <p:cNvPr id="2" name="Thank you"/>
          <p:cNvSpPr>
            <a:spLocks noGrp="1"/>
          </p:cNvSpPr>
          <p:nvPr>
            <p:ph type="ctrTitle" hasCustomPrompt="1"/>
          </p:nvPr>
        </p:nvSpPr>
        <p:spPr bwMode="gray">
          <a:xfrm>
            <a:off x="503869" y="1467009"/>
            <a:ext cx="5326613" cy="923116"/>
          </a:xfrm>
        </p:spPr>
        <p:txBody>
          <a:bodyPr anchor="t" anchorCtr="0">
            <a:noAutofit/>
          </a:bodyPr>
          <a:lstStyle>
            <a:lvl1pPr>
              <a:defRPr sz="5498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Thank you</a:t>
            </a:r>
            <a:endParaRPr lang="de-DE" dirty="0"/>
          </a:p>
        </p:txBody>
      </p:sp>
      <p:sp>
        <p:nvSpPr>
          <p:cNvPr id="5" name="Rechteck 14">
            <a:extLst>
              <a:ext uri="{FF2B5EF4-FFF2-40B4-BE49-F238E27FC236}">
                <a16:creationId xmlns:a16="http://schemas.microsoft.com/office/drawing/2014/main" id="{F1BC2D3B-3132-4C06-9A30-5C475DCB7232}"/>
              </a:ext>
            </a:extLst>
          </p:cNvPr>
          <p:cNvSpPr/>
          <p:nvPr userDrawn="1"/>
        </p:nvSpPr>
        <p:spPr>
          <a:xfrm>
            <a:off x="372267" y="6234334"/>
            <a:ext cx="137249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r-TR" sz="1000" dirty="0">
                <a:solidFill>
                  <a:schemeClr val="accent3"/>
                </a:solidFill>
                <a:latin typeface="Century Gothic" panose="020B0502020202020204" pitchFamily="34" charset="0"/>
              </a:rPr>
              <a:t>© 2022    </a:t>
            </a:r>
            <a:r>
              <a:rPr lang="tr-TR" sz="1000" b="1" dirty="0">
                <a:solidFill>
                  <a:schemeClr val="accent1"/>
                </a:solidFill>
                <a:latin typeface="Century Gothic" panose="020B0502020202020204" pitchFamily="34" charset="0"/>
              </a:rPr>
              <a:t>INNOCON</a:t>
            </a:r>
            <a:endParaRPr lang="tr-TR" sz="1000" dirty="0">
              <a:solidFill>
                <a:schemeClr val="accent3"/>
              </a:solidFill>
              <a:latin typeface="Century Gothic" panose="020B0502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0D1967D-6450-4D00-9865-7DF8B856DF09}"/>
              </a:ext>
            </a:extLst>
          </p:cNvPr>
          <p:cNvSpPr/>
          <p:nvPr userDrawn="1"/>
        </p:nvSpPr>
        <p:spPr>
          <a:xfrm>
            <a:off x="5135387" y="6222023"/>
            <a:ext cx="1390189" cy="2585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lvl="1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tr-TR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rPr>
              <a:t>Tüm hakları saklıdır</a:t>
            </a:r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F20BAECD-1458-4E49-9099-4E7E2D5E6A54}"/>
              </a:ext>
            </a:extLst>
          </p:cNvPr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7312" y="6121828"/>
            <a:ext cx="1149096" cy="471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0563127"/>
      </p:ext>
    </p:extLst>
  </p:cSld>
  <p:clrMapOvr>
    <a:masterClrMapping/>
  </p:clrMapOvr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4">
            <a:extLst>
              <a:ext uri="{FF2B5EF4-FFF2-40B4-BE49-F238E27FC236}">
                <a16:creationId xmlns:a16="http://schemas.microsoft.com/office/drawing/2014/main" id="{F9483C78-52BB-4930-BD77-5653FB7CFC17}"/>
              </a:ext>
            </a:extLst>
          </p:cNvPr>
          <p:cNvSpPr/>
          <p:nvPr userDrawn="1"/>
        </p:nvSpPr>
        <p:spPr>
          <a:xfrm>
            <a:off x="372267" y="6424834"/>
            <a:ext cx="137249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r-TR" sz="1000" dirty="0">
                <a:solidFill>
                  <a:schemeClr val="accent3"/>
                </a:solidFill>
                <a:latin typeface="Century Gothic" panose="020B0502020202020204" pitchFamily="34" charset="0"/>
              </a:rPr>
              <a:t>© 2022    </a:t>
            </a:r>
            <a:r>
              <a:rPr lang="tr-TR" sz="1000" b="1" dirty="0">
                <a:solidFill>
                  <a:schemeClr val="accent1"/>
                </a:solidFill>
                <a:latin typeface="Century Gothic" panose="020B0502020202020204" pitchFamily="34" charset="0"/>
              </a:rPr>
              <a:t>INNOCON</a:t>
            </a:r>
            <a:endParaRPr lang="tr-TR" sz="1000" dirty="0">
              <a:solidFill>
                <a:schemeClr val="accent3"/>
              </a:solidFill>
              <a:latin typeface="Century Gothic" panose="020B0502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0D4CEF5-05C1-4D2A-9472-662AB15885C4}"/>
              </a:ext>
            </a:extLst>
          </p:cNvPr>
          <p:cNvSpPr/>
          <p:nvPr userDrawn="1"/>
        </p:nvSpPr>
        <p:spPr>
          <a:xfrm>
            <a:off x="354570" y="6598410"/>
            <a:ext cx="1390189" cy="2585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lvl="1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tr-TR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rPr>
              <a:t>Tüm hakları saklıdır</a:t>
            </a:r>
          </a:p>
        </p:txBody>
      </p:sp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52C960E0-CEB7-4147-8B47-978091B02453}"/>
              </a:ext>
            </a:extLst>
          </p:cNvPr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7312" y="6264703"/>
            <a:ext cx="1149096" cy="471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25990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2871916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4"/>
            <a:ext cx="9144000" cy="2387600"/>
          </a:xfrm>
        </p:spPr>
        <p:txBody>
          <a:bodyPr anchor="b"/>
          <a:lstStyle>
            <a:lvl1pPr algn="ctr">
              <a:defRPr sz="5957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9"/>
            <a:ext cx="9144000" cy="1655762"/>
          </a:xfrm>
        </p:spPr>
        <p:txBody>
          <a:bodyPr/>
          <a:lstStyle>
            <a:lvl1pPr marL="0" indent="0" algn="ctr">
              <a:buNone/>
              <a:defRPr sz="2382"/>
            </a:lvl1pPr>
            <a:lvl2pPr marL="453885" indent="0" algn="ctr">
              <a:buNone/>
              <a:defRPr sz="1985"/>
            </a:lvl2pPr>
            <a:lvl3pPr marL="907770" indent="0" algn="ctr">
              <a:buNone/>
              <a:defRPr sz="1787"/>
            </a:lvl3pPr>
            <a:lvl4pPr marL="1361655" indent="0" algn="ctr">
              <a:buNone/>
              <a:defRPr sz="1588"/>
            </a:lvl4pPr>
            <a:lvl5pPr marL="1815541" indent="0" algn="ctr">
              <a:buNone/>
              <a:defRPr sz="1588"/>
            </a:lvl5pPr>
            <a:lvl6pPr marL="2269426" indent="0" algn="ctr">
              <a:buNone/>
              <a:defRPr sz="1588"/>
            </a:lvl6pPr>
            <a:lvl7pPr marL="2723311" indent="0" algn="ctr">
              <a:buNone/>
              <a:defRPr sz="1588"/>
            </a:lvl7pPr>
            <a:lvl8pPr marL="3177196" indent="0" algn="ctr">
              <a:buNone/>
              <a:defRPr sz="1588"/>
            </a:lvl8pPr>
            <a:lvl9pPr marL="3631081" indent="0" algn="ctr">
              <a:buNone/>
              <a:defRPr sz="1588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892EFA-2160-413F-9A7B-5F30514F9D16}" type="datetimeFigureOut">
              <a:rPr lang="en-US" smtClean="0"/>
              <a:t>4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9609F5-F73E-49ED-AFAD-27EB3C7633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95088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892EFA-2160-413F-9A7B-5F30514F9D16}" type="datetimeFigureOut">
              <a:rPr lang="en-US" smtClean="0"/>
              <a:t>4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9609F5-F73E-49ED-AFAD-27EB3C7633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09487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5957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1500187"/>
          </a:xfrm>
        </p:spPr>
        <p:txBody>
          <a:bodyPr/>
          <a:lstStyle>
            <a:lvl1pPr marL="0" indent="0">
              <a:buNone/>
              <a:defRPr sz="2382">
                <a:solidFill>
                  <a:schemeClr val="tx1">
                    <a:tint val="75000"/>
                  </a:schemeClr>
                </a:solidFill>
              </a:defRPr>
            </a:lvl1pPr>
            <a:lvl2pPr marL="453885" indent="0">
              <a:buNone/>
              <a:defRPr sz="1985">
                <a:solidFill>
                  <a:schemeClr val="tx1">
                    <a:tint val="75000"/>
                  </a:schemeClr>
                </a:solidFill>
              </a:defRPr>
            </a:lvl2pPr>
            <a:lvl3pPr marL="907770" indent="0">
              <a:buNone/>
              <a:defRPr sz="1787">
                <a:solidFill>
                  <a:schemeClr val="tx1">
                    <a:tint val="75000"/>
                  </a:schemeClr>
                </a:solidFill>
              </a:defRPr>
            </a:lvl3pPr>
            <a:lvl4pPr marL="1361655" indent="0">
              <a:buNone/>
              <a:defRPr sz="1588">
                <a:solidFill>
                  <a:schemeClr val="tx1">
                    <a:tint val="75000"/>
                  </a:schemeClr>
                </a:solidFill>
              </a:defRPr>
            </a:lvl4pPr>
            <a:lvl5pPr marL="1815541" indent="0">
              <a:buNone/>
              <a:defRPr sz="1588">
                <a:solidFill>
                  <a:schemeClr val="tx1">
                    <a:tint val="75000"/>
                  </a:schemeClr>
                </a:solidFill>
              </a:defRPr>
            </a:lvl5pPr>
            <a:lvl6pPr marL="2269426" indent="0">
              <a:buNone/>
              <a:defRPr sz="1588">
                <a:solidFill>
                  <a:schemeClr val="tx1">
                    <a:tint val="75000"/>
                  </a:schemeClr>
                </a:solidFill>
              </a:defRPr>
            </a:lvl6pPr>
            <a:lvl7pPr marL="2723311" indent="0">
              <a:buNone/>
              <a:defRPr sz="1588">
                <a:solidFill>
                  <a:schemeClr val="tx1">
                    <a:tint val="75000"/>
                  </a:schemeClr>
                </a:solidFill>
              </a:defRPr>
            </a:lvl7pPr>
            <a:lvl8pPr marL="3177196" indent="0">
              <a:buNone/>
              <a:defRPr sz="1588">
                <a:solidFill>
                  <a:schemeClr val="tx1">
                    <a:tint val="75000"/>
                  </a:schemeClr>
                </a:solidFill>
              </a:defRPr>
            </a:lvl8pPr>
            <a:lvl9pPr marL="3631081" indent="0">
              <a:buNone/>
              <a:defRPr sz="158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892EFA-2160-413F-9A7B-5F30514F9D16}" type="datetimeFigureOut">
              <a:rPr lang="en-US" smtClean="0"/>
              <a:t>4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9609F5-F73E-49ED-AFAD-27EB3C7633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11016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6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892EFA-2160-413F-9A7B-5F30514F9D16}" type="datetimeFigureOut">
              <a:rPr lang="en-US" smtClean="0"/>
              <a:t>4/2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9609F5-F73E-49ED-AFAD-27EB3C7633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477142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382" b="1"/>
            </a:lvl1pPr>
            <a:lvl2pPr marL="453885" indent="0">
              <a:buNone/>
              <a:defRPr sz="1985" b="1"/>
            </a:lvl2pPr>
            <a:lvl3pPr marL="907770" indent="0">
              <a:buNone/>
              <a:defRPr sz="1787" b="1"/>
            </a:lvl3pPr>
            <a:lvl4pPr marL="1361655" indent="0">
              <a:buNone/>
              <a:defRPr sz="1588" b="1"/>
            </a:lvl4pPr>
            <a:lvl5pPr marL="1815541" indent="0">
              <a:buNone/>
              <a:defRPr sz="1588" b="1"/>
            </a:lvl5pPr>
            <a:lvl6pPr marL="2269426" indent="0">
              <a:buNone/>
              <a:defRPr sz="1588" b="1"/>
            </a:lvl6pPr>
            <a:lvl7pPr marL="2723311" indent="0">
              <a:buNone/>
              <a:defRPr sz="1588" b="1"/>
            </a:lvl7pPr>
            <a:lvl8pPr marL="3177196" indent="0">
              <a:buNone/>
              <a:defRPr sz="1588" b="1"/>
            </a:lvl8pPr>
            <a:lvl9pPr marL="3631081" indent="0">
              <a:buNone/>
              <a:defRPr sz="1588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6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382" b="1"/>
            </a:lvl1pPr>
            <a:lvl2pPr marL="453885" indent="0">
              <a:buNone/>
              <a:defRPr sz="1985" b="1"/>
            </a:lvl2pPr>
            <a:lvl3pPr marL="907770" indent="0">
              <a:buNone/>
              <a:defRPr sz="1787" b="1"/>
            </a:lvl3pPr>
            <a:lvl4pPr marL="1361655" indent="0">
              <a:buNone/>
              <a:defRPr sz="1588" b="1"/>
            </a:lvl4pPr>
            <a:lvl5pPr marL="1815541" indent="0">
              <a:buNone/>
              <a:defRPr sz="1588" b="1"/>
            </a:lvl5pPr>
            <a:lvl6pPr marL="2269426" indent="0">
              <a:buNone/>
              <a:defRPr sz="1588" b="1"/>
            </a:lvl6pPr>
            <a:lvl7pPr marL="2723311" indent="0">
              <a:buNone/>
              <a:defRPr sz="1588" b="1"/>
            </a:lvl7pPr>
            <a:lvl8pPr marL="3177196" indent="0">
              <a:buNone/>
              <a:defRPr sz="1588" b="1"/>
            </a:lvl8pPr>
            <a:lvl9pPr marL="3631081" indent="0">
              <a:buNone/>
              <a:defRPr sz="1588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6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892EFA-2160-413F-9A7B-5F30514F9D16}" type="datetimeFigureOut">
              <a:rPr lang="en-US" smtClean="0"/>
              <a:t>4/22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9609F5-F73E-49ED-AFAD-27EB3C7633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75848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ate"/>
          <p:cNvSpPr>
            <a:spLocks noGrp="1"/>
          </p:cNvSpPr>
          <p:nvPr>
            <p:ph type="body" sz="quarter" idx="15" hasCustomPrompt="1"/>
          </p:nvPr>
        </p:nvSpPr>
        <p:spPr>
          <a:xfrm>
            <a:off x="251934" y="3868173"/>
            <a:ext cx="8391388" cy="18466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tr-TR" dirty="0"/>
              <a:t>18.06.2020, İstanbul</a:t>
            </a:r>
            <a:endParaRPr lang="en-US" dirty="0"/>
          </a:p>
        </p:txBody>
      </p:sp>
      <p:sp>
        <p:nvSpPr>
          <p:cNvPr id="6" name="Speaker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251934" y="3559300"/>
            <a:ext cx="8391388" cy="276999"/>
          </a:xfrm>
        </p:spPr>
        <p:txBody>
          <a:bodyPr wrap="square" anchor="t" anchorCtr="0">
            <a:noAutofit/>
          </a:bodyPr>
          <a:lstStyle>
            <a:lvl1pPr marL="0" marR="0" indent="0" algn="l" defTabSz="10882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799" b="0" baseline="0">
                <a:solidFill>
                  <a:schemeClr val="tx1"/>
                </a:solidFill>
              </a:defRPr>
            </a:lvl1pPr>
            <a:lvl2pPr marL="544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2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3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0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4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88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2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’s Name, </a:t>
            </a:r>
            <a:r>
              <a:rPr lang="tr-TR" dirty="0"/>
              <a:t>Innocon</a:t>
            </a:r>
            <a:r>
              <a:rPr lang="en-US" dirty="0"/>
              <a:t> </a:t>
            </a:r>
          </a:p>
        </p:txBody>
      </p:sp>
      <p:sp>
        <p:nvSpPr>
          <p:cNvPr id="10" name="Presentation Title"/>
          <p:cNvSpPr>
            <a:spLocks noGrp="1"/>
          </p:cNvSpPr>
          <p:nvPr>
            <p:ph type="body" sz="quarter" idx="14" hasCustomPrompt="1"/>
          </p:nvPr>
        </p:nvSpPr>
        <p:spPr>
          <a:xfrm>
            <a:off x="251934" y="2437078"/>
            <a:ext cx="8391388" cy="886397"/>
          </a:xfrm>
        </p:spPr>
        <p:txBody>
          <a:bodyPr wrap="squar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199" b="1" baseline="0"/>
            </a:lvl1pPr>
          </a:lstStyle>
          <a:p>
            <a:pPr lvl="0"/>
            <a:r>
              <a:rPr lang="en-US" dirty="0"/>
              <a:t>Presentation Title </a:t>
            </a:r>
            <a:r>
              <a:rPr lang="en-US" dirty="0"/>
              <a:t>Goes Here and Here.</a:t>
            </a:r>
            <a:br>
              <a:rPr lang="en-US" dirty="0"/>
            </a:br>
          </a:p>
        </p:txBody>
      </p:sp>
      <p:grpSp>
        <p:nvGrpSpPr>
          <p:cNvPr id="2" name="Group 1"/>
          <p:cNvGrpSpPr/>
          <p:nvPr userDrawn="1"/>
        </p:nvGrpSpPr>
        <p:grpSpPr>
          <a:xfrm>
            <a:off x="9168785" y="0"/>
            <a:ext cx="3023215" cy="6855990"/>
            <a:chOff x="9171173" y="0"/>
            <a:chExt cx="3024002" cy="6855990"/>
          </a:xfrm>
        </p:grpSpPr>
        <p:sp>
          <p:nvSpPr>
            <p:cNvPr id="17" name="Rectangle 16"/>
            <p:cNvSpPr/>
            <p:nvPr userDrawn="1"/>
          </p:nvSpPr>
          <p:spPr bwMode="gray">
            <a:xfrm>
              <a:off x="11187175" y="0"/>
              <a:ext cx="1008000" cy="6855990"/>
            </a:xfrm>
            <a:prstGeom prst="rect">
              <a:avLst/>
            </a:prstGeom>
            <a:solidFill>
              <a:schemeClr val="accent1"/>
            </a:solidFill>
            <a:ln w="635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R="0" algn="ctr" defTabSz="913943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en-US" sz="1999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8" name="Rectangle 17"/>
            <p:cNvSpPr/>
            <p:nvPr userDrawn="1"/>
          </p:nvSpPr>
          <p:spPr bwMode="gray">
            <a:xfrm>
              <a:off x="10179174" y="0"/>
              <a:ext cx="1008000" cy="6855990"/>
            </a:xfrm>
            <a:prstGeom prst="rect">
              <a:avLst/>
            </a:prstGeom>
            <a:solidFill>
              <a:schemeClr val="accent1">
                <a:alpha val="70000"/>
              </a:schemeClr>
            </a:solidFill>
            <a:ln w="635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R="0" algn="ctr" defTabSz="913943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en-US" sz="1999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2" name="Rectangle 21"/>
            <p:cNvSpPr/>
            <p:nvPr userDrawn="1"/>
          </p:nvSpPr>
          <p:spPr bwMode="gray">
            <a:xfrm>
              <a:off x="9171173" y="0"/>
              <a:ext cx="1008000" cy="6855990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  <a:ln w="635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R="0" algn="ctr" defTabSz="913943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en-US" sz="1999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pic>
        <p:nvPicPr>
          <p:cNvPr id="12" name="Picture 11" descr="A close up of a logo&#10;&#10;Description automatically generated">
            <a:extLst>
              <a:ext uri="{FF2B5EF4-FFF2-40B4-BE49-F238E27FC236}">
                <a16:creationId xmlns:a16="http://schemas.microsoft.com/office/drawing/2014/main" id="{89E05CBD-A072-4F87-ABDA-150F561E55A5}"/>
              </a:ext>
            </a:extLst>
          </p:cNvPr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934" y="5934714"/>
            <a:ext cx="2003425" cy="732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40740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892EFA-2160-413F-9A7B-5F30514F9D16}" type="datetimeFigureOut">
              <a:rPr lang="en-US" smtClean="0"/>
              <a:t>4/22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9609F5-F73E-49ED-AFAD-27EB3C7633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114445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892EFA-2160-413F-9A7B-5F30514F9D16}" type="datetimeFigureOut">
              <a:rPr lang="en-US" smtClean="0"/>
              <a:t>4/22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9609F5-F73E-49ED-AFAD-27EB3C7633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76334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177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177"/>
            </a:lvl1pPr>
            <a:lvl2pPr>
              <a:defRPr sz="2780"/>
            </a:lvl2pPr>
            <a:lvl3pPr>
              <a:defRPr sz="2382"/>
            </a:lvl3pPr>
            <a:lvl4pPr>
              <a:defRPr sz="1985"/>
            </a:lvl4pPr>
            <a:lvl5pPr>
              <a:defRPr sz="1985"/>
            </a:lvl5pPr>
            <a:lvl6pPr>
              <a:defRPr sz="1985"/>
            </a:lvl6pPr>
            <a:lvl7pPr>
              <a:defRPr sz="1985"/>
            </a:lvl7pPr>
            <a:lvl8pPr>
              <a:defRPr sz="1985"/>
            </a:lvl8pPr>
            <a:lvl9pPr>
              <a:defRPr sz="198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1"/>
            <a:ext cx="3932237" cy="3811588"/>
          </a:xfrm>
        </p:spPr>
        <p:txBody>
          <a:bodyPr/>
          <a:lstStyle>
            <a:lvl1pPr marL="0" indent="0">
              <a:buNone/>
              <a:defRPr sz="1588"/>
            </a:lvl1pPr>
            <a:lvl2pPr marL="453885" indent="0">
              <a:buNone/>
              <a:defRPr sz="1390"/>
            </a:lvl2pPr>
            <a:lvl3pPr marL="907770" indent="0">
              <a:buNone/>
              <a:defRPr sz="1191"/>
            </a:lvl3pPr>
            <a:lvl4pPr marL="1361655" indent="0">
              <a:buNone/>
              <a:defRPr sz="993"/>
            </a:lvl4pPr>
            <a:lvl5pPr marL="1815541" indent="0">
              <a:buNone/>
              <a:defRPr sz="993"/>
            </a:lvl5pPr>
            <a:lvl6pPr marL="2269426" indent="0">
              <a:buNone/>
              <a:defRPr sz="993"/>
            </a:lvl6pPr>
            <a:lvl7pPr marL="2723311" indent="0">
              <a:buNone/>
              <a:defRPr sz="993"/>
            </a:lvl7pPr>
            <a:lvl8pPr marL="3177196" indent="0">
              <a:buNone/>
              <a:defRPr sz="993"/>
            </a:lvl8pPr>
            <a:lvl9pPr marL="3631081" indent="0">
              <a:buNone/>
              <a:defRPr sz="99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892EFA-2160-413F-9A7B-5F30514F9D16}" type="datetimeFigureOut">
              <a:rPr lang="en-US" smtClean="0"/>
              <a:t>4/2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9609F5-F73E-49ED-AFAD-27EB3C7633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175576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177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 anchor="t"/>
          <a:lstStyle>
            <a:lvl1pPr marL="0" indent="0">
              <a:buNone/>
              <a:defRPr sz="3177"/>
            </a:lvl1pPr>
            <a:lvl2pPr marL="453885" indent="0">
              <a:buNone/>
              <a:defRPr sz="2780"/>
            </a:lvl2pPr>
            <a:lvl3pPr marL="907770" indent="0">
              <a:buNone/>
              <a:defRPr sz="2382"/>
            </a:lvl3pPr>
            <a:lvl4pPr marL="1361655" indent="0">
              <a:buNone/>
              <a:defRPr sz="1985"/>
            </a:lvl4pPr>
            <a:lvl5pPr marL="1815541" indent="0">
              <a:buNone/>
              <a:defRPr sz="1985"/>
            </a:lvl5pPr>
            <a:lvl6pPr marL="2269426" indent="0">
              <a:buNone/>
              <a:defRPr sz="1985"/>
            </a:lvl6pPr>
            <a:lvl7pPr marL="2723311" indent="0">
              <a:buNone/>
              <a:defRPr sz="1985"/>
            </a:lvl7pPr>
            <a:lvl8pPr marL="3177196" indent="0">
              <a:buNone/>
              <a:defRPr sz="1985"/>
            </a:lvl8pPr>
            <a:lvl9pPr marL="3631081" indent="0">
              <a:buNone/>
              <a:defRPr sz="1985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1"/>
            <a:ext cx="3932237" cy="3811588"/>
          </a:xfrm>
        </p:spPr>
        <p:txBody>
          <a:bodyPr/>
          <a:lstStyle>
            <a:lvl1pPr marL="0" indent="0">
              <a:buNone/>
              <a:defRPr sz="1588"/>
            </a:lvl1pPr>
            <a:lvl2pPr marL="453885" indent="0">
              <a:buNone/>
              <a:defRPr sz="1390"/>
            </a:lvl2pPr>
            <a:lvl3pPr marL="907770" indent="0">
              <a:buNone/>
              <a:defRPr sz="1191"/>
            </a:lvl3pPr>
            <a:lvl4pPr marL="1361655" indent="0">
              <a:buNone/>
              <a:defRPr sz="993"/>
            </a:lvl4pPr>
            <a:lvl5pPr marL="1815541" indent="0">
              <a:buNone/>
              <a:defRPr sz="993"/>
            </a:lvl5pPr>
            <a:lvl6pPr marL="2269426" indent="0">
              <a:buNone/>
              <a:defRPr sz="993"/>
            </a:lvl6pPr>
            <a:lvl7pPr marL="2723311" indent="0">
              <a:buNone/>
              <a:defRPr sz="993"/>
            </a:lvl7pPr>
            <a:lvl8pPr marL="3177196" indent="0">
              <a:buNone/>
              <a:defRPr sz="993"/>
            </a:lvl8pPr>
            <a:lvl9pPr marL="3631081" indent="0">
              <a:buNone/>
              <a:defRPr sz="99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892EFA-2160-413F-9A7B-5F30514F9D16}" type="datetimeFigureOut">
              <a:rPr lang="en-US" smtClean="0"/>
              <a:t>4/2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9609F5-F73E-49ED-AFAD-27EB3C7633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8376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892EFA-2160-413F-9A7B-5F30514F9D16}" type="datetimeFigureOut">
              <a:rPr lang="en-US" smtClean="0"/>
              <a:t>4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9609F5-F73E-49ED-AFAD-27EB3C7633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37689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6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6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892EFA-2160-413F-9A7B-5F30514F9D16}" type="datetimeFigureOut">
              <a:rPr lang="en-US" smtClean="0"/>
              <a:t>4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9609F5-F73E-49ED-AFAD-27EB3C7633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33255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7200"/>
            <a:ext cx="12192000" cy="3430800"/>
          </a:xfrm>
          <a:solidFill>
            <a:schemeClr val="tx2">
              <a:alpha val="70000"/>
            </a:schemeClr>
          </a:solidFill>
        </p:spPr>
        <p:txBody>
          <a:bodyPr tIns="324000"/>
          <a:lstStyle>
            <a:lvl1pPr marL="0" marR="0" indent="0" algn="ctr" defTabSz="108823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23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 dirty="0"/>
              <a:t>Placeholder for image and illustration scene art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gray">
          <a:xfrm>
            <a:off x="503869" y="1440000"/>
            <a:ext cx="11182288" cy="369246"/>
          </a:xfrm>
        </p:spPr>
        <p:txBody>
          <a:bodyPr anchor="t" anchorCtr="0">
            <a:noAutofit/>
          </a:bodyPr>
          <a:lstStyle>
            <a:lvl1pPr>
              <a:defRPr sz="2399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Divider pag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16933878"/>
      </p:ext>
    </p:extLst>
  </p:cSld>
  <p:clrMapOvr>
    <a:masterClrMapping/>
  </p:clrMapOvr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AEB051-CA07-4F10-ADD4-E44EAA98DA8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>
            <a:normAutofit/>
          </a:bodyPr>
          <a:lstStyle>
            <a:lvl1pPr algn="ctr">
              <a:defRPr sz="4400"/>
            </a:lvl1pPr>
          </a:lstStyle>
          <a:p>
            <a:r>
              <a:rPr lang="en-US" dirty="0"/>
              <a:t>Click to edit Master title style</a:t>
            </a:r>
            <a:endParaRPr lang="tr-TR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70D2E10-BF9F-4011-B256-77164C84830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tr-TR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93E343-E5EE-40A9-BC73-F26C0A79C3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E8E50B-68E7-43C2-BC67-22428051DFAB}" type="datetimeFigureOut">
              <a:rPr lang="tr-TR" smtClean="0"/>
              <a:t>22.04.2024</a:t>
            </a:fld>
            <a:endParaRPr lang="tr-T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ADBE88-8C36-46BE-A139-73DBC7C9E1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tr-TR" dirty="0"/>
              <a:t>Tüm hakları saklıdı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023D76-BC1E-4991-B4C3-83809D1AD9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E3237A-25E3-4373-B17F-33EA3DA5D923}" type="slidenum">
              <a:rPr lang="tr-TR" smtClean="0"/>
              <a:t>‹#›</a:t>
            </a:fld>
            <a:endParaRPr lang="tr-TR"/>
          </a:p>
        </p:txBody>
      </p:sp>
      <p:sp>
        <p:nvSpPr>
          <p:cNvPr id="7" name="Rechteck 14">
            <a:extLst>
              <a:ext uri="{FF2B5EF4-FFF2-40B4-BE49-F238E27FC236}">
                <a16:creationId xmlns:a16="http://schemas.microsoft.com/office/drawing/2014/main" id="{ACA6A538-DFF7-4932-86B2-AD2FFEE541AB}"/>
              </a:ext>
            </a:extLst>
          </p:cNvPr>
          <p:cNvSpPr/>
          <p:nvPr userDrawn="1"/>
        </p:nvSpPr>
        <p:spPr>
          <a:xfrm>
            <a:off x="372267" y="6234334"/>
            <a:ext cx="137249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r-TR" sz="1000" dirty="0">
                <a:solidFill>
                  <a:schemeClr val="accent3"/>
                </a:solidFill>
                <a:latin typeface="Century Gothic" panose="020B0502020202020204" pitchFamily="34" charset="0"/>
              </a:rPr>
              <a:t>© 2022    </a:t>
            </a:r>
            <a:r>
              <a:rPr lang="tr-TR" sz="1000" b="1" dirty="0">
                <a:solidFill>
                  <a:schemeClr val="accent1"/>
                </a:solidFill>
                <a:latin typeface="Century Gothic" panose="020B0502020202020204" pitchFamily="34" charset="0"/>
              </a:rPr>
              <a:t>INNOCON</a:t>
            </a:r>
            <a:endParaRPr lang="tr-TR" sz="1000" dirty="0">
              <a:solidFill>
                <a:schemeClr val="accent3"/>
              </a:solidFill>
              <a:latin typeface="Century Gothic" panose="020B0502020202020204" pitchFamily="34" charset="0"/>
            </a:endParaRP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B5F7FD77-B0D7-4822-B7DF-070175B58AFB}"/>
              </a:ext>
            </a:extLst>
          </p:cNvPr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7312" y="6121828"/>
            <a:ext cx="1149096" cy="471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16747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0425CE-D9B8-4271-9173-74B269D08F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07451"/>
            <a:ext cx="10515600" cy="489521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tr-TR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0A9BF4D-44EE-4FBF-BB71-4F209D2B2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E8E50B-68E7-43C2-BC67-22428051DFAB}" type="datetimeFigureOut">
              <a:rPr lang="tr-TR" smtClean="0"/>
              <a:t>22.04.2024</a:t>
            </a:fld>
            <a:endParaRPr lang="tr-T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38B013-C6FA-4BED-B538-D61EFC036B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tr-TR" dirty="0"/>
              <a:t>Tüm hakları saklıdı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6AC8BA9-5F13-4ED3-84BA-9297D3E01E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E3237A-25E3-4373-B17F-33EA3DA5D923}" type="slidenum">
              <a:rPr lang="tr-TR" smtClean="0"/>
              <a:t>‹#›</a:t>
            </a:fld>
            <a:endParaRPr lang="tr-TR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90A8AD0-234C-47FE-B845-1F3316E907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31571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  <a:endParaRPr lang="tr-TR" dirty="0"/>
          </a:p>
        </p:txBody>
      </p:sp>
      <p:sp>
        <p:nvSpPr>
          <p:cNvPr id="9" name="Rechteck 14">
            <a:extLst>
              <a:ext uri="{FF2B5EF4-FFF2-40B4-BE49-F238E27FC236}">
                <a16:creationId xmlns:a16="http://schemas.microsoft.com/office/drawing/2014/main" id="{28C47D35-69C2-4395-8724-67221DE25F6E}"/>
              </a:ext>
            </a:extLst>
          </p:cNvPr>
          <p:cNvSpPr/>
          <p:nvPr userDrawn="1"/>
        </p:nvSpPr>
        <p:spPr>
          <a:xfrm>
            <a:off x="372267" y="6234334"/>
            <a:ext cx="137249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r-TR" sz="1000" dirty="0">
                <a:solidFill>
                  <a:schemeClr val="accent3"/>
                </a:solidFill>
                <a:latin typeface="Century Gothic" panose="020B0502020202020204" pitchFamily="34" charset="0"/>
              </a:rPr>
              <a:t>© 2021    </a:t>
            </a:r>
            <a:r>
              <a:rPr lang="tr-TR" sz="1000" b="1" dirty="0">
                <a:solidFill>
                  <a:schemeClr val="accent1"/>
                </a:solidFill>
                <a:latin typeface="Century Gothic" panose="020B0502020202020204" pitchFamily="34" charset="0"/>
              </a:rPr>
              <a:t>INNOCON</a:t>
            </a:r>
            <a:endParaRPr lang="tr-TR" sz="1000" dirty="0">
              <a:solidFill>
                <a:schemeClr val="accent3"/>
              </a:solidFill>
              <a:latin typeface="Century Gothic" panose="020B0502020202020204" pitchFamily="34" charset="0"/>
            </a:endParaRPr>
          </a:p>
        </p:txBody>
      </p:sp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id="{194502CA-80F5-4A3A-AFCF-725675EC5853}"/>
              </a:ext>
            </a:extLst>
          </p:cNvPr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7312" y="6121828"/>
            <a:ext cx="1149096" cy="471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81183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3800E74-2FAA-42E3-8231-E5D73B4ACE5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176083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1CB62E8-CD6C-4274-866C-2FE3BE0992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176083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E7D38CF-768B-4AD4-A85B-1E70785763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E8E50B-68E7-43C2-BC67-22428051DFAB}" type="datetimeFigureOut">
              <a:rPr lang="tr-TR" smtClean="0"/>
              <a:t>22.04.2024</a:t>
            </a:fld>
            <a:endParaRPr lang="tr-T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4EC2D6C-78F6-4A85-AD89-9284813DC4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tr-TR" dirty="0"/>
              <a:t>Tüm hakları saklıdı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59D5DCB-4125-40B6-A05C-E483DFFA78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E3237A-25E3-4373-B17F-33EA3DA5D923}" type="slidenum">
              <a:rPr lang="tr-TR" smtClean="0"/>
              <a:t>‹#›</a:t>
            </a:fld>
            <a:endParaRPr lang="tr-TR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C1C25B2-A013-478A-A539-E26A96A44F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31571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  <a:endParaRPr lang="tr-TR" dirty="0"/>
          </a:p>
        </p:txBody>
      </p:sp>
      <p:sp>
        <p:nvSpPr>
          <p:cNvPr id="10" name="Rechteck 14">
            <a:extLst>
              <a:ext uri="{FF2B5EF4-FFF2-40B4-BE49-F238E27FC236}">
                <a16:creationId xmlns:a16="http://schemas.microsoft.com/office/drawing/2014/main" id="{C4A3A187-C3E3-4136-963D-9B396FD3FEA4}"/>
              </a:ext>
            </a:extLst>
          </p:cNvPr>
          <p:cNvSpPr/>
          <p:nvPr userDrawn="1"/>
        </p:nvSpPr>
        <p:spPr>
          <a:xfrm>
            <a:off x="372267" y="6234334"/>
            <a:ext cx="137249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r-TR" sz="1000" dirty="0">
                <a:solidFill>
                  <a:schemeClr val="accent3"/>
                </a:solidFill>
                <a:latin typeface="Century Gothic" panose="020B0502020202020204" pitchFamily="34" charset="0"/>
              </a:rPr>
              <a:t>© 2021    </a:t>
            </a:r>
            <a:r>
              <a:rPr lang="tr-TR" sz="1000" b="1" dirty="0">
                <a:solidFill>
                  <a:schemeClr val="accent1"/>
                </a:solidFill>
                <a:latin typeface="Century Gothic" panose="020B0502020202020204" pitchFamily="34" charset="0"/>
              </a:rPr>
              <a:t>INNOCON</a:t>
            </a:r>
            <a:endParaRPr lang="tr-TR" sz="1000" dirty="0">
              <a:solidFill>
                <a:schemeClr val="accent3"/>
              </a:solidFill>
              <a:latin typeface="Century Gothic" panose="020B0502020202020204" pitchFamily="34" charset="0"/>
            </a:endParaRPr>
          </a:p>
        </p:txBody>
      </p:sp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8F5C2A00-73D5-4DE3-8DD3-489B187C27C9}"/>
              </a:ext>
            </a:extLst>
          </p:cNvPr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7312" y="6121828"/>
            <a:ext cx="1149096" cy="471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30352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4D0E3A-B82D-4815-BD05-A0BA513CA5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31571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  <a:endParaRPr lang="tr-TR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F4B692-C1D8-425D-8D1D-8E46A4125F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E3237A-25E3-4373-B17F-33EA3DA5D923}" type="slidenum">
              <a:rPr lang="tr-TR" smtClean="0"/>
              <a:t>‹#›</a:t>
            </a:fld>
            <a:endParaRPr lang="tr-TR"/>
          </a:p>
        </p:txBody>
      </p:sp>
      <p:sp>
        <p:nvSpPr>
          <p:cNvPr id="7" name="Rechteck 14">
            <a:extLst>
              <a:ext uri="{FF2B5EF4-FFF2-40B4-BE49-F238E27FC236}">
                <a16:creationId xmlns:a16="http://schemas.microsoft.com/office/drawing/2014/main" id="{31BEEE22-50EA-49C2-972B-72FA4DB863D6}"/>
              </a:ext>
            </a:extLst>
          </p:cNvPr>
          <p:cNvSpPr/>
          <p:nvPr userDrawn="1"/>
        </p:nvSpPr>
        <p:spPr>
          <a:xfrm>
            <a:off x="353217" y="6310534"/>
            <a:ext cx="137249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r-TR" sz="1000" dirty="0">
                <a:solidFill>
                  <a:schemeClr val="accent3"/>
                </a:solidFill>
                <a:latin typeface="Century Gothic" panose="020B0502020202020204" pitchFamily="34" charset="0"/>
              </a:rPr>
              <a:t>© 2022    </a:t>
            </a:r>
            <a:r>
              <a:rPr lang="tr-TR" sz="1000" b="1" dirty="0">
                <a:solidFill>
                  <a:schemeClr val="accent1"/>
                </a:solidFill>
                <a:latin typeface="Century Gothic" panose="020B0502020202020204" pitchFamily="34" charset="0"/>
              </a:rPr>
              <a:t>INNOCON</a:t>
            </a:r>
            <a:endParaRPr lang="tr-TR" sz="1000" dirty="0">
              <a:solidFill>
                <a:schemeClr val="accent3"/>
              </a:solidFill>
              <a:latin typeface="Century Gothic" panose="020B0502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686E162-F273-4CD7-986D-D7FB9158AFE5}"/>
              </a:ext>
            </a:extLst>
          </p:cNvPr>
          <p:cNvSpPr/>
          <p:nvPr userDrawn="1"/>
        </p:nvSpPr>
        <p:spPr>
          <a:xfrm>
            <a:off x="287895" y="6538912"/>
            <a:ext cx="1390189" cy="2585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lvl="1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tr-TR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rPr>
              <a:t>Tüm hakları saklıdır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E2FE5FB1-F7A0-4A18-AB38-8F352628B153}"/>
              </a:ext>
            </a:extLst>
          </p:cNvPr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7312" y="6207553"/>
            <a:ext cx="1149096" cy="471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26714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C91F71-1F39-43BD-AEFB-C2C3853EAB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  <a:endParaRPr lang="tr-TR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A39231C-5E5C-4F37-B167-6199378BF2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7696" y="457200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DE2A087-0430-40FC-9C2C-4D65C93DE8B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0C62FFB-795B-431D-A3C2-CCF6F667D3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E8E50B-68E7-43C2-BC67-22428051DFAB}" type="datetimeFigureOut">
              <a:rPr lang="tr-TR" smtClean="0"/>
              <a:t>22.04.2024</a:t>
            </a:fld>
            <a:endParaRPr lang="tr-T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6090B33-F5D8-47C7-BB40-C1B66AB3C0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tr-TR" dirty="0"/>
              <a:t>Tüm hakları saklıdı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610D125-6258-480F-868D-046D5EC5D8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E3237A-25E3-4373-B17F-33EA3DA5D923}" type="slidenum">
              <a:rPr lang="tr-TR" smtClean="0"/>
              <a:t>‹#›</a:t>
            </a:fld>
            <a:endParaRPr lang="tr-TR"/>
          </a:p>
        </p:txBody>
      </p:sp>
      <p:sp>
        <p:nvSpPr>
          <p:cNvPr id="8" name="Rechteck 14">
            <a:extLst>
              <a:ext uri="{FF2B5EF4-FFF2-40B4-BE49-F238E27FC236}">
                <a16:creationId xmlns:a16="http://schemas.microsoft.com/office/drawing/2014/main" id="{00394780-6B3A-4C38-9D55-5DC78910A94A}"/>
              </a:ext>
            </a:extLst>
          </p:cNvPr>
          <p:cNvSpPr/>
          <p:nvPr userDrawn="1"/>
        </p:nvSpPr>
        <p:spPr>
          <a:xfrm>
            <a:off x="372267" y="6234334"/>
            <a:ext cx="137249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r-TR" sz="1000" dirty="0">
                <a:solidFill>
                  <a:schemeClr val="accent3"/>
                </a:solidFill>
                <a:latin typeface="Century Gothic" panose="020B0502020202020204" pitchFamily="34" charset="0"/>
              </a:rPr>
              <a:t>© 2021    </a:t>
            </a:r>
            <a:r>
              <a:rPr lang="tr-TR" sz="1000" b="1" dirty="0">
                <a:solidFill>
                  <a:schemeClr val="accent1"/>
                </a:solidFill>
                <a:latin typeface="Century Gothic" panose="020B0502020202020204" pitchFamily="34" charset="0"/>
              </a:rPr>
              <a:t>INNOCON</a:t>
            </a:r>
            <a:endParaRPr lang="tr-TR" sz="1000" dirty="0">
              <a:solidFill>
                <a:schemeClr val="accent3"/>
              </a:solidFill>
              <a:latin typeface="Century Gothic" panose="020B0502020202020204" pitchFamily="34" charset="0"/>
            </a:endParaRPr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179268A8-59D5-4CE2-BECE-FFADD8E15702}"/>
              </a:ext>
            </a:extLst>
          </p:cNvPr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7312" y="6121828"/>
            <a:ext cx="1149096" cy="471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93718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300FDB-E6CB-4634-9F9D-6938969CD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3D867B4-1D77-4BAB-9544-8FD81240B4F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r-T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050F4A-3E64-4CAA-946B-734BB5FF91A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FA1D1F2-FFA1-41EB-AE88-9D73A624D6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E8E50B-68E7-43C2-BC67-22428051DFAB}" type="datetimeFigureOut">
              <a:rPr lang="tr-TR" smtClean="0"/>
              <a:t>22.04.2024</a:t>
            </a:fld>
            <a:endParaRPr lang="tr-T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198D6A7-30CF-495E-B210-99BC0F5DB4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tr-TR" dirty="0"/>
              <a:t>Tüm hakları saklıdı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FAD76E6-958B-4D52-A6E4-80D1D34713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E3237A-25E3-4373-B17F-33EA3DA5D923}" type="slidenum">
              <a:rPr lang="tr-TR" smtClean="0"/>
              <a:t>‹#›</a:t>
            </a:fld>
            <a:endParaRPr lang="tr-TR"/>
          </a:p>
        </p:txBody>
      </p:sp>
      <p:sp>
        <p:nvSpPr>
          <p:cNvPr id="8" name="Rechteck 14">
            <a:extLst>
              <a:ext uri="{FF2B5EF4-FFF2-40B4-BE49-F238E27FC236}">
                <a16:creationId xmlns:a16="http://schemas.microsoft.com/office/drawing/2014/main" id="{66A4D47F-3F19-4510-BDE1-8A5E60755DEF}"/>
              </a:ext>
            </a:extLst>
          </p:cNvPr>
          <p:cNvSpPr/>
          <p:nvPr userDrawn="1"/>
        </p:nvSpPr>
        <p:spPr>
          <a:xfrm>
            <a:off x="372267" y="6234334"/>
            <a:ext cx="137249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r-TR" sz="1000" dirty="0">
                <a:solidFill>
                  <a:schemeClr val="accent3"/>
                </a:solidFill>
                <a:latin typeface="Century Gothic" panose="020B0502020202020204" pitchFamily="34" charset="0"/>
              </a:rPr>
              <a:t>© 2021    </a:t>
            </a:r>
            <a:r>
              <a:rPr lang="tr-TR" sz="1000" b="1" dirty="0">
                <a:solidFill>
                  <a:schemeClr val="accent1"/>
                </a:solidFill>
                <a:latin typeface="Century Gothic" panose="020B0502020202020204" pitchFamily="34" charset="0"/>
              </a:rPr>
              <a:t>INNOCON</a:t>
            </a:r>
            <a:endParaRPr lang="tr-TR" sz="1000" dirty="0">
              <a:solidFill>
                <a:schemeClr val="accent3"/>
              </a:solidFill>
              <a:latin typeface="Century Gothic" panose="020B0502020202020204" pitchFamily="34" charset="0"/>
            </a:endParaRPr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7DC1B57E-E978-448D-A665-3154D4F22BD7}"/>
              </a:ext>
            </a:extLst>
          </p:cNvPr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7312" y="6121828"/>
            <a:ext cx="1149096" cy="471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5638098"/>
      </p:ext>
    </p:extLst>
  </p:cSld>
  <p:clrMapOvr>
    <a:masterClrMapping/>
  </p:clrMapOvr>
</p:sldLayout>
</file>

<file path=ppt/slideMasters/_rels/slideMaster1.xml.rels><?xml version="1.0" encoding="UTF-8" standalone="yes"?>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579A916-98F4-4534-8D93-D23D0F47CB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tr-TR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BC60F6C-0435-4665-A191-EBD41EF5AE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tr-TR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19EAB7-DF51-4999-814B-E4B696A4045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E8E50B-68E7-43C2-BC67-22428051DFAB}" type="datetimeFigureOut">
              <a:rPr lang="tr-TR" smtClean="0"/>
              <a:t>22.04.2024</a:t>
            </a:fld>
            <a:endParaRPr lang="tr-T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0ED43D-AC1A-4653-AE97-871EC5EC9A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tr-T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DD84F1-FCD2-40A6-9DA6-FD2E213FC8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E3237A-25E3-4373-B17F-33EA3DA5D923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4380996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49" r:id="rId4"/>
    <p:sldLayoutId id="2147483650" r:id="rId5"/>
    <p:sldLayoutId id="2147483652" r:id="rId6"/>
    <p:sldLayoutId id="2147483654" r:id="rId7"/>
    <p:sldLayoutId id="2147483656" r:id="rId8"/>
    <p:sldLayoutId id="2147483657" r:id="rId9"/>
    <p:sldLayoutId id="2147483658" r:id="rId10"/>
    <p:sldLayoutId id="2147483659" r:id="rId11"/>
    <p:sldLayoutId id="2147483663" r:id="rId12"/>
    <p:sldLayoutId id="2147483669" r:id="rId13"/>
    <p:sldLayoutId id="2147483683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6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A892EFA-2160-413F-9A7B-5F30514F9D16}" type="datetimeFigureOut">
              <a:rPr lang="en-US" smtClean="0"/>
              <a:t>4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9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9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9609F5-F73E-49ED-AFAD-27EB3C7633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7922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</p:sldLayoutIdLst>
  <p:txStyles>
    <p:titleStyle>
      <a:lvl1pPr algn="l" defTabSz="907770" rtl="0" eaLnBrk="1" latinLnBrk="0" hangingPunct="1">
        <a:lnSpc>
          <a:spcPct val="90000"/>
        </a:lnSpc>
        <a:spcBef>
          <a:spcPct val="0"/>
        </a:spcBef>
        <a:buNone/>
        <a:defRPr sz="436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6943" indent="-226943" algn="l" defTabSz="907770" rtl="0" eaLnBrk="1" latinLnBrk="0" hangingPunct="1">
        <a:lnSpc>
          <a:spcPct val="90000"/>
        </a:lnSpc>
        <a:spcBef>
          <a:spcPts val="993"/>
        </a:spcBef>
        <a:buFont typeface="Arial" panose="020B0604020202020204" pitchFamily="34" charset="0"/>
        <a:buChar char="•"/>
        <a:defRPr sz="2780" kern="1200">
          <a:solidFill>
            <a:schemeClr val="tx1"/>
          </a:solidFill>
          <a:latin typeface="+mn-lt"/>
          <a:ea typeface="+mn-ea"/>
          <a:cs typeface="+mn-cs"/>
        </a:defRPr>
      </a:lvl1pPr>
      <a:lvl2pPr marL="680828" indent="-226943" algn="l" defTabSz="907770" rtl="0" eaLnBrk="1" latinLnBrk="0" hangingPunct="1">
        <a:lnSpc>
          <a:spcPct val="90000"/>
        </a:lnSpc>
        <a:spcBef>
          <a:spcPts val="496"/>
        </a:spcBef>
        <a:buFont typeface="Arial" panose="020B0604020202020204" pitchFamily="34" charset="0"/>
        <a:buChar char="•"/>
        <a:defRPr sz="2382" kern="1200">
          <a:solidFill>
            <a:schemeClr val="tx1"/>
          </a:solidFill>
          <a:latin typeface="+mn-lt"/>
          <a:ea typeface="+mn-ea"/>
          <a:cs typeface="+mn-cs"/>
        </a:defRPr>
      </a:lvl2pPr>
      <a:lvl3pPr marL="1134713" indent="-226943" algn="l" defTabSz="907770" rtl="0" eaLnBrk="1" latinLnBrk="0" hangingPunct="1">
        <a:lnSpc>
          <a:spcPct val="90000"/>
        </a:lnSpc>
        <a:spcBef>
          <a:spcPts val="496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88598" indent="-226943" algn="l" defTabSz="907770" rtl="0" eaLnBrk="1" latinLnBrk="0" hangingPunct="1">
        <a:lnSpc>
          <a:spcPct val="90000"/>
        </a:lnSpc>
        <a:spcBef>
          <a:spcPts val="496"/>
        </a:spcBef>
        <a:buFont typeface="Arial" panose="020B0604020202020204" pitchFamily="34" charset="0"/>
        <a:buChar char="•"/>
        <a:defRPr sz="1787" kern="1200">
          <a:solidFill>
            <a:schemeClr val="tx1"/>
          </a:solidFill>
          <a:latin typeface="+mn-lt"/>
          <a:ea typeface="+mn-ea"/>
          <a:cs typeface="+mn-cs"/>
        </a:defRPr>
      </a:lvl4pPr>
      <a:lvl5pPr marL="2042483" indent="-226943" algn="l" defTabSz="907770" rtl="0" eaLnBrk="1" latinLnBrk="0" hangingPunct="1">
        <a:lnSpc>
          <a:spcPct val="90000"/>
        </a:lnSpc>
        <a:spcBef>
          <a:spcPts val="496"/>
        </a:spcBef>
        <a:buFont typeface="Arial" panose="020B0604020202020204" pitchFamily="34" charset="0"/>
        <a:buChar char="•"/>
        <a:defRPr sz="1787" kern="1200">
          <a:solidFill>
            <a:schemeClr val="tx1"/>
          </a:solidFill>
          <a:latin typeface="+mn-lt"/>
          <a:ea typeface="+mn-ea"/>
          <a:cs typeface="+mn-cs"/>
        </a:defRPr>
      </a:lvl5pPr>
      <a:lvl6pPr marL="2496368" indent="-226943" algn="l" defTabSz="907770" rtl="0" eaLnBrk="1" latinLnBrk="0" hangingPunct="1">
        <a:lnSpc>
          <a:spcPct val="90000"/>
        </a:lnSpc>
        <a:spcBef>
          <a:spcPts val="496"/>
        </a:spcBef>
        <a:buFont typeface="Arial" panose="020B0604020202020204" pitchFamily="34" charset="0"/>
        <a:buChar char="•"/>
        <a:defRPr sz="1787" kern="1200">
          <a:solidFill>
            <a:schemeClr val="tx1"/>
          </a:solidFill>
          <a:latin typeface="+mn-lt"/>
          <a:ea typeface="+mn-ea"/>
          <a:cs typeface="+mn-cs"/>
        </a:defRPr>
      </a:lvl6pPr>
      <a:lvl7pPr marL="2950253" indent="-226943" algn="l" defTabSz="907770" rtl="0" eaLnBrk="1" latinLnBrk="0" hangingPunct="1">
        <a:lnSpc>
          <a:spcPct val="90000"/>
        </a:lnSpc>
        <a:spcBef>
          <a:spcPts val="496"/>
        </a:spcBef>
        <a:buFont typeface="Arial" panose="020B0604020202020204" pitchFamily="34" charset="0"/>
        <a:buChar char="•"/>
        <a:defRPr sz="1787" kern="1200">
          <a:solidFill>
            <a:schemeClr val="tx1"/>
          </a:solidFill>
          <a:latin typeface="+mn-lt"/>
          <a:ea typeface="+mn-ea"/>
          <a:cs typeface="+mn-cs"/>
        </a:defRPr>
      </a:lvl7pPr>
      <a:lvl8pPr marL="3404139" indent="-226943" algn="l" defTabSz="907770" rtl="0" eaLnBrk="1" latinLnBrk="0" hangingPunct="1">
        <a:lnSpc>
          <a:spcPct val="90000"/>
        </a:lnSpc>
        <a:spcBef>
          <a:spcPts val="496"/>
        </a:spcBef>
        <a:buFont typeface="Arial" panose="020B0604020202020204" pitchFamily="34" charset="0"/>
        <a:buChar char="•"/>
        <a:defRPr sz="1787" kern="1200">
          <a:solidFill>
            <a:schemeClr val="tx1"/>
          </a:solidFill>
          <a:latin typeface="+mn-lt"/>
          <a:ea typeface="+mn-ea"/>
          <a:cs typeface="+mn-cs"/>
        </a:defRPr>
      </a:lvl8pPr>
      <a:lvl9pPr marL="3858024" indent="-226943" algn="l" defTabSz="907770" rtl="0" eaLnBrk="1" latinLnBrk="0" hangingPunct="1">
        <a:lnSpc>
          <a:spcPct val="90000"/>
        </a:lnSpc>
        <a:spcBef>
          <a:spcPts val="496"/>
        </a:spcBef>
        <a:buFont typeface="Arial" panose="020B0604020202020204" pitchFamily="34" charset="0"/>
        <a:buChar char="•"/>
        <a:defRPr sz="178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7770" rtl="0" eaLnBrk="1" latinLnBrk="0" hangingPunct="1">
        <a:defRPr sz="1787" kern="1200">
          <a:solidFill>
            <a:schemeClr val="tx1"/>
          </a:solidFill>
          <a:latin typeface="+mn-lt"/>
          <a:ea typeface="+mn-ea"/>
          <a:cs typeface="+mn-cs"/>
        </a:defRPr>
      </a:lvl1pPr>
      <a:lvl2pPr marL="453885" algn="l" defTabSz="907770" rtl="0" eaLnBrk="1" latinLnBrk="0" hangingPunct="1">
        <a:defRPr sz="1787" kern="1200">
          <a:solidFill>
            <a:schemeClr val="tx1"/>
          </a:solidFill>
          <a:latin typeface="+mn-lt"/>
          <a:ea typeface="+mn-ea"/>
          <a:cs typeface="+mn-cs"/>
        </a:defRPr>
      </a:lvl2pPr>
      <a:lvl3pPr marL="907770" algn="l" defTabSz="907770" rtl="0" eaLnBrk="1" latinLnBrk="0" hangingPunct="1">
        <a:defRPr sz="1787" kern="1200">
          <a:solidFill>
            <a:schemeClr val="tx1"/>
          </a:solidFill>
          <a:latin typeface="+mn-lt"/>
          <a:ea typeface="+mn-ea"/>
          <a:cs typeface="+mn-cs"/>
        </a:defRPr>
      </a:lvl3pPr>
      <a:lvl4pPr marL="1361655" algn="l" defTabSz="907770" rtl="0" eaLnBrk="1" latinLnBrk="0" hangingPunct="1">
        <a:defRPr sz="1787" kern="1200">
          <a:solidFill>
            <a:schemeClr val="tx1"/>
          </a:solidFill>
          <a:latin typeface="+mn-lt"/>
          <a:ea typeface="+mn-ea"/>
          <a:cs typeface="+mn-cs"/>
        </a:defRPr>
      </a:lvl4pPr>
      <a:lvl5pPr marL="1815541" algn="l" defTabSz="907770" rtl="0" eaLnBrk="1" latinLnBrk="0" hangingPunct="1">
        <a:defRPr sz="1787" kern="1200">
          <a:solidFill>
            <a:schemeClr val="tx1"/>
          </a:solidFill>
          <a:latin typeface="+mn-lt"/>
          <a:ea typeface="+mn-ea"/>
          <a:cs typeface="+mn-cs"/>
        </a:defRPr>
      </a:lvl5pPr>
      <a:lvl6pPr marL="2269426" algn="l" defTabSz="907770" rtl="0" eaLnBrk="1" latinLnBrk="0" hangingPunct="1">
        <a:defRPr sz="1787" kern="1200">
          <a:solidFill>
            <a:schemeClr val="tx1"/>
          </a:solidFill>
          <a:latin typeface="+mn-lt"/>
          <a:ea typeface="+mn-ea"/>
          <a:cs typeface="+mn-cs"/>
        </a:defRPr>
      </a:lvl6pPr>
      <a:lvl7pPr marL="2723311" algn="l" defTabSz="907770" rtl="0" eaLnBrk="1" latinLnBrk="0" hangingPunct="1">
        <a:defRPr sz="1787" kern="1200">
          <a:solidFill>
            <a:schemeClr val="tx1"/>
          </a:solidFill>
          <a:latin typeface="+mn-lt"/>
          <a:ea typeface="+mn-ea"/>
          <a:cs typeface="+mn-cs"/>
        </a:defRPr>
      </a:lvl7pPr>
      <a:lvl8pPr marL="3177196" algn="l" defTabSz="907770" rtl="0" eaLnBrk="1" latinLnBrk="0" hangingPunct="1">
        <a:defRPr sz="1787" kern="1200">
          <a:solidFill>
            <a:schemeClr val="tx1"/>
          </a:solidFill>
          <a:latin typeface="+mn-lt"/>
          <a:ea typeface="+mn-ea"/>
          <a:cs typeface="+mn-cs"/>
        </a:defRPr>
      </a:lvl8pPr>
      <a:lvl9pPr marL="3631081" algn="l" defTabSz="907770" rtl="0" eaLnBrk="1" latinLnBrk="0" hangingPunct="1">
        <a:defRPr sz="178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3" Type="http://schemas.openxmlformats.org/officeDocument/2006/relationships/image" Target="../media/image-9963d733-6e4d-4674-b1a0-cbc20e07caa2.jpg"/><Relationship Id="rId4" Type="http://schemas.openxmlformats.org/officeDocument/2006/relationships/image" Target="../media/image-83f6ab01-b0aa-424a-8200-27e7cc00cb11.jpg"/></Relationships>
</file>

<file path=ppt/slides/_rels/slide10.xml.rels><?xml version="1.0" encoding="UTF-8" standalone="yes"?><Relationships xmlns="http://schemas.openxmlformats.org/package/2006/relationships"><Relationship Id="rId26" Type="http://schemas.openxmlformats.org/officeDocument/2006/relationships/tags" Target="../tags/tag26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63" Type="http://schemas.openxmlformats.org/officeDocument/2006/relationships/tags" Target="../tags/tag63.xml"/><Relationship Id="rId68" Type="http://schemas.openxmlformats.org/officeDocument/2006/relationships/tags" Target="../tags/tag68.xml"/><Relationship Id="rId16" Type="http://schemas.openxmlformats.org/officeDocument/2006/relationships/tags" Target="../tags/tag16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74" Type="http://schemas.openxmlformats.org/officeDocument/2006/relationships/tags" Target="../tags/tag74.xml"/><Relationship Id="rId79" Type="http://schemas.openxmlformats.org/officeDocument/2006/relationships/tags" Target="../tags/tag79.xml"/><Relationship Id="rId5" Type="http://schemas.openxmlformats.org/officeDocument/2006/relationships/tags" Target="../tags/tag5.xml"/><Relationship Id="rId61" Type="http://schemas.openxmlformats.org/officeDocument/2006/relationships/tags" Target="../tags/tag61.xml"/><Relationship Id="rId82" Type="http://schemas.openxmlformats.org/officeDocument/2006/relationships/slideLayout" Target="../slideLayouts/slideLayout7.xml"/><Relationship Id="rId19" Type="http://schemas.openxmlformats.org/officeDocument/2006/relationships/tags" Target="../tags/tag1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64" Type="http://schemas.openxmlformats.org/officeDocument/2006/relationships/tags" Target="../tags/tag64.xml"/><Relationship Id="rId69" Type="http://schemas.openxmlformats.org/officeDocument/2006/relationships/tags" Target="../tags/tag69.xml"/><Relationship Id="rId77" Type="http://schemas.openxmlformats.org/officeDocument/2006/relationships/tags" Target="../tags/tag77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80" Type="http://schemas.openxmlformats.org/officeDocument/2006/relationships/tags" Target="../tags/tag80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tags" Target="../tags/tag67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Relationship Id="rId70" Type="http://schemas.openxmlformats.org/officeDocument/2006/relationships/tags" Target="../tags/tag70.xml"/><Relationship Id="rId75" Type="http://schemas.openxmlformats.org/officeDocument/2006/relationships/tags" Target="../tags/tag75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73" Type="http://schemas.openxmlformats.org/officeDocument/2006/relationships/tags" Target="../tags/tag73.xml"/><Relationship Id="rId78" Type="http://schemas.openxmlformats.org/officeDocument/2006/relationships/tags" Target="../tags/tag78.xml"/><Relationship Id="rId81" Type="http://schemas.openxmlformats.org/officeDocument/2006/relationships/tags" Target="../tags/tag8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34" Type="http://schemas.openxmlformats.org/officeDocument/2006/relationships/tags" Target="../tags/tag34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7" Type="http://schemas.openxmlformats.org/officeDocument/2006/relationships/tags" Target="../tags/tag7.xml"/><Relationship Id="rId71" Type="http://schemas.openxmlformats.org/officeDocument/2006/relationships/tags" Target="../tags/tag71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4" Type="http://schemas.openxmlformats.org/officeDocument/2006/relationships/tags" Target="../tags/tag24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66" Type="http://schemas.openxmlformats.org/officeDocument/2006/relationships/tags" Target="../tags/tag66.xml"/></Relationships>
</file>

<file path=ppt/slides/_rels/slide11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sv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12" Type="http://schemas.openxmlformats.org/officeDocument/2006/relationships/image" Target="../media/image2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3.png"/><Relationship Id="rId11" Type="http://schemas.openxmlformats.org/officeDocument/2006/relationships/image" Target="../media/image28.jpg"/><Relationship Id="rId5" Type="http://schemas.openxmlformats.org/officeDocument/2006/relationships/image" Target="../media/image22.png"/><Relationship Id="rId10" Type="http://schemas.openxmlformats.org/officeDocument/2006/relationships/image" Target="../media/image27.jpeg"/><Relationship Id="rId4" Type="http://schemas.openxmlformats.org/officeDocument/2006/relationships/image" Target="../media/image21.png"/><Relationship Id="rId9" Type="http://schemas.openxmlformats.org/officeDocument/2006/relationships/image" Target="../media/image26.png"/><Relationship Id="rId14" Type="http://schemas.openxmlformats.org/officeDocument/2006/relationships/image" Target="../media/image31.jpg"/></Relationships>
</file>

<file path=ppt/slides/_rels/slide13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<Relationships xmlns="http://schemas.openxmlformats.org/package/2006/relationships"><Relationship Id="rId13" Type="http://schemas.openxmlformats.org/officeDocument/2006/relationships/tags" Target="../tags/tag94.xml"/><Relationship Id="rId18" Type="http://schemas.openxmlformats.org/officeDocument/2006/relationships/tags" Target="../tags/tag99.xml"/><Relationship Id="rId26" Type="http://schemas.openxmlformats.org/officeDocument/2006/relationships/tags" Target="../tags/tag107.xml"/><Relationship Id="rId39" Type="http://schemas.openxmlformats.org/officeDocument/2006/relationships/tags" Target="../tags/tag120.xml"/><Relationship Id="rId21" Type="http://schemas.openxmlformats.org/officeDocument/2006/relationships/tags" Target="../tags/tag102.xml"/><Relationship Id="rId34" Type="http://schemas.openxmlformats.org/officeDocument/2006/relationships/tags" Target="../tags/tag115.xml"/><Relationship Id="rId7" Type="http://schemas.openxmlformats.org/officeDocument/2006/relationships/tags" Target="../tags/tag88.xml"/><Relationship Id="rId2" Type="http://schemas.openxmlformats.org/officeDocument/2006/relationships/tags" Target="../tags/tag83.xml"/><Relationship Id="rId16" Type="http://schemas.openxmlformats.org/officeDocument/2006/relationships/tags" Target="../tags/tag97.xml"/><Relationship Id="rId20" Type="http://schemas.openxmlformats.org/officeDocument/2006/relationships/tags" Target="../tags/tag101.xml"/><Relationship Id="rId29" Type="http://schemas.openxmlformats.org/officeDocument/2006/relationships/tags" Target="../tags/tag110.xml"/><Relationship Id="rId41" Type="http://schemas.openxmlformats.org/officeDocument/2006/relationships/slideLayout" Target="../slideLayouts/slideLayout14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24" Type="http://schemas.openxmlformats.org/officeDocument/2006/relationships/tags" Target="../tags/tag105.xml"/><Relationship Id="rId32" Type="http://schemas.openxmlformats.org/officeDocument/2006/relationships/tags" Target="../tags/tag113.xml"/><Relationship Id="rId37" Type="http://schemas.openxmlformats.org/officeDocument/2006/relationships/tags" Target="../tags/tag118.xml"/><Relationship Id="rId40" Type="http://schemas.openxmlformats.org/officeDocument/2006/relationships/tags" Target="../tags/tag121.xml"/><Relationship Id="rId5" Type="http://schemas.openxmlformats.org/officeDocument/2006/relationships/tags" Target="../tags/tag86.xml"/><Relationship Id="rId15" Type="http://schemas.openxmlformats.org/officeDocument/2006/relationships/tags" Target="../tags/tag96.xml"/><Relationship Id="rId23" Type="http://schemas.openxmlformats.org/officeDocument/2006/relationships/tags" Target="../tags/tag104.xml"/><Relationship Id="rId28" Type="http://schemas.openxmlformats.org/officeDocument/2006/relationships/tags" Target="../tags/tag109.xml"/><Relationship Id="rId36" Type="http://schemas.openxmlformats.org/officeDocument/2006/relationships/tags" Target="../tags/tag117.xml"/><Relationship Id="rId10" Type="http://schemas.openxmlformats.org/officeDocument/2006/relationships/tags" Target="../tags/tag91.xml"/><Relationship Id="rId19" Type="http://schemas.openxmlformats.org/officeDocument/2006/relationships/tags" Target="../tags/tag100.xml"/><Relationship Id="rId31" Type="http://schemas.openxmlformats.org/officeDocument/2006/relationships/tags" Target="../tags/tag112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tags" Target="../tags/tag95.xml"/><Relationship Id="rId22" Type="http://schemas.openxmlformats.org/officeDocument/2006/relationships/tags" Target="../tags/tag103.xml"/><Relationship Id="rId27" Type="http://schemas.openxmlformats.org/officeDocument/2006/relationships/tags" Target="../tags/tag108.xml"/><Relationship Id="rId30" Type="http://schemas.openxmlformats.org/officeDocument/2006/relationships/tags" Target="../tags/tag111.xml"/><Relationship Id="rId35" Type="http://schemas.openxmlformats.org/officeDocument/2006/relationships/tags" Target="../tags/tag116.xml"/><Relationship Id="rId8" Type="http://schemas.openxmlformats.org/officeDocument/2006/relationships/tags" Target="../tags/tag89.xml"/><Relationship Id="rId3" Type="http://schemas.openxmlformats.org/officeDocument/2006/relationships/tags" Target="../tags/tag84.xml"/><Relationship Id="rId12" Type="http://schemas.openxmlformats.org/officeDocument/2006/relationships/tags" Target="../tags/tag93.xml"/><Relationship Id="rId17" Type="http://schemas.openxmlformats.org/officeDocument/2006/relationships/tags" Target="../tags/tag98.xml"/><Relationship Id="rId25" Type="http://schemas.openxmlformats.org/officeDocument/2006/relationships/tags" Target="../tags/tag106.xml"/><Relationship Id="rId33" Type="http://schemas.openxmlformats.org/officeDocument/2006/relationships/tags" Target="../tags/tag114.xml"/><Relationship Id="rId38" Type="http://schemas.openxmlformats.org/officeDocument/2006/relationships/tags" Target="../tags/tag119.xml"/></Relationships>
</file>

<file path=ppt/slides/_rels/slide15.xml.rels><?xml version="1.0" encoding="UTF-8" standalone="yes"?>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hyperlink" Target="http://www.innocon.com.tr/" TargetMode="Externa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png"/></Relationships>
</file>

<file path=ppt/slides/_rels/slide4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2.png"/><Relationship Id="rId7" Type="http://schemas.openxmlformats.org/officeDocument/2006/relationships/image" Target="../media/image15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.png"/><Relationship Id="rId11" Type="http://schemas.openxmlformats.org/officeDocument/2006/relationships/image" Target="../media/image19.svg"/><Relationship Id="rId5" Type="http://schemas.openxmlformats.org/officeDocument/2006/relationships/image" Target="../media/image13.png"/><Relationship Id="rId10" Type="http://schemas.openxmlformats.org/officeDocument/2006/relationships/image" Target="../media/image18.png"/><Relationship Id="rId4" Type="http://schemas.microsoft.com/office/2007/relationships/hdphoto" Target="../media/hdphoto1.wdp"/><Relationship Id="rId9" Type="http://schemas.openxmlformats.org/officeDocument/2006/relationships/image" Target="../media/image17.svg"/></Relationships>
</file>

<file path=ppt/slides/_rels/slide7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8DB5971-46EF-4CE3-A260-C5C86E09904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51934" y="4924899"/>
            <a:ext cx="8391388" cy="184666"/>
          </a:xfrm>
        </p:spPr>
        <p:txBody>
          <a:bodyPr/>
          <a:lstStyle/>
          <a:p>
            <a:pPr algn="r"/>
            <a:r>
              <a:rPr lang="tr-TR" dirty="0">
                <a:latin typeface="Montserrat" panose="00000500000000000000" pitchFamily="2" charset="-94"/>
              </a:rPr>
              <a:t>Aralık 2022, İstanbu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147A392-DD16-4DA0-8311-67E23654CA9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1934" y="4500460"/>
            <a:ext cx="8391388" cy="1208927"/>
          </a:xfrm>
        </p:spPr>
        <p:txBody>
          <a:bodyPr/>
          <a:lstStyle/>
          <a:p>
            <a:pPr algn="r"/>
            <a:r>
              <a:rPr lang="tr-TR" dirty="0">
                <a:latin typeface="Montserrat" panose="00000500000000000000" pitchFamily="2" charset="-94"/>
              </a:rPr>
              <a:t>Eren Ahmet Aygü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89D65C9-D399-43D7-A6D7-BD93802D864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1934" y="2011661"/>
            <a:ext cx="8391388" cy="1901011"/>
          </a:xfrm>
        </p:spPr>
        <p:txBody>
          <a:bodyPr/>
          <a:lstStyle/>
          <a:p>
            <a:pPr marL="0" indent="0">
              <a:buNone/>
            </a:pPr>
            <a:r>
              <a:rPr lang="tr-TR" dirty="0">
                <a:latin typeface="Montserrat" panose="00000500000000000000" pitchFamily="2" charset="-94"/>
              </a:rPr>
              <a:t>DİJİTAL DÖNÜŞÜM </a:t>
            </a:r>
          </a:p>
          <a:p>
            <a:pPr marL="0" indent="0">
              <a:buNone/>
            </a:pPr>
            <a:r>
              <a:rPr lang="tr-TR" dirty="0">
                <a:latin typeface="Montserrat" panose="00000500000000000000" pitchFamily="2" charset="-94"/>
              </a:rPr>
              <a:t>YOL HARİTASI 2023-2025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0EE625E-7523-D384-5B79-89FFB81C02D3}"/>
              </a:ext>
            </a:extLst>
          </p:cNvPr>
          <p:cNvSpPr txBox="1"/>
          <p:nvPr/>
        </p:nvSpPr>
        <p:spPr>
          <a:xfrm>
            <a:off x="6471634" y="1549996"/>
            <a:ext cx="1081706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r-TR" dirty="0" err="1">
                <a:solidFill>
                  <a:srgbClr val="D5DCBA"/>
                </a:solidFill>
              </a:rPr>
              <a:t>Hjkhkh</a:t>
            </a:r>
            <a:endParaRPr lang="tr-TR" dirty="0">
              <a:solidFill>
                <a:srgbClr val="D5DCBA"/>
              </a:solidFill>
            </a:endParaRPr>
          </a:p>
          <a:p>
            <a:endParaRPr lang="tr-TR" dirty="0">
              <a:solidFill>
                <a:srgbClr val="D5DCBA"/>
              </a:solidFill>
            </a:endParaRPr>
          </a:p>
          <a:p>
            <a:r>
              <a:rPr lang="tr-TR" dirty="0">
                <a:solidFill>
                  <a:srgbClr val="D5DCBA"/>
                </a:solidFill>
              </a:rPr>
              <a:t>#D5DCBA</a:t>
            </a:r>
          </a:p>
          <a:p>
            <a:endParaRPr lang="tr-TR" dirty="0">
              <a:solidFill>
                <a:srgbClr val="D5DCBA"/>
              </a:solidFill>
            </a:endParaRPr>
          </a:p>
          <a:p>
            <a:endParaRPr lang="tr-TR" dirty="0">
              <a:solidFill>
                <a:srgbClr val="D5DCBA"/>
              </a:solidFill>
            </a:endParaRPr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340F3E01-C779-6BD3-BC39-E404BCACB2F5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4203" y="3767670"/>
            <a:ext cx="2003425" cy="732790"/>
          </a:xfrm>
          <a:prstGeom prst="rect">
            <a:avLst/>
          </a:prstGeom>
        </p:spPr>
      </p:pic>
      <p:pic>
        <p:nvPicPr>
          <p:cNvPr id="7" name="image-9963d733-6e4d-4674-b1a0-cbc20e07caa2.jpg 7" descr="image-9963d733-6e4d-4674-b1a0-cbc20e07caa2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350000" y="1270000"/>
            <a:ext cx="2108200" cy="1270000"/>
          </a:xfrm>
          <a:prstGeom prst="rect">
            <a:avLst/>
          </a:prstGeom>
        </p:spPr>
      </p:pic>
      <p:pic>
        <p:nvPicPr>
          <p:cNvPr id="7" name="image-83f6ab01-b0aa-424a-8200-27e7cc00cb11.jpg 7" descr="image-83f6ab01-b0aa-424a-8200-27e7cc00cb11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350000" y="6350000"/>
            <a:ext cx="2108200" cy="127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406578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6AD52A-4A9E-4E6E-8206-62352560CB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9936" y="131575"/>
            <a:ext cx="10515600" cy="631571"/>
          </a:xfrm>
        </p:spPr>
        <p:txBody>
          <a:bodyPr>
            <a:normAutofit/>
          </a:bodyPr>
          <a:lstStyle/>
          <a:p>
            <a:pPr defTabSz="457200"/>
            <a:r>
              <a:rPr lang="tr-TR" sz="2000" dirty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rPr>
              <a:t>Beklentiler</a:t>
            </a:r>
          </a:p>
        </p:txBody>
      </p:sp>
      <p:sp>
        <p:nvSpPr>
          <p:cNvPr id="6" name="Text Box 32">
            <a:extLst>
              <a:ext uri="{FF2B5EF4-FFF2-40B4-BE49-F238E27FC236}">
                <a16:creationId xmlns:a16="http://schemas.microsoft.com/office/drawing/2014/main" id="{1063A04F-EA23-364A-3FFE-5052FF22476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92375" y="6549119"/>
            <a:ext cx="338234" cy="123111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</p:spPr>
        <p:txBody>
          <a:bodyPr wrap="none" lIns="0" tIns="0" rIns="0" bIns="0" anchor="ctr" anchorCtr="0">
            <a:spAutoFit/>
          </a:bodyPr>
          <a:lstStyle/>
          <a:p>
            <a:r>
              <a:rPr lang="tr-TR" altLang="ja-JP" sz="800" dirty="0">
                <a:solidFill>
                  <a:srgbClr val="313131"/>
                </a:solidFill>
              </a:rPr>
              <a:t>Yüksek</a:t>
            </a:r>
            <a:endParaRPr lang="en-US" altLang="ja-JP" sz="800" dirty="0">
              <a:solidFill>
                <a:srgbClr val="313131"/>
              </a:solidFill>
            </a:endParaRPr>
          </a:p>
        </p:txBody>
      </p:sp>
      <p:sp>
        <p:nvSpPr>
          <p:cNvPr id="7" name="Text Box 34">
            <a:extLst>
              <a:ext uri="{FF2B5EF4-FFF2-40B4-BE49-F238E27FC236}">
                <a16:creationId xmlns:a16="http://schemas.microsoft.com/office/drawing/2014/main" id="{076D8688-87D6-6E33-1883-8DEA7F196D9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824601" y="6549119"/>
            <a:ext cx="291747" cy="123111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</p:spPr>
        <p:txBody>
          <a:bodyPr wrap="none" lIns="0" tIns="0" rIns="0" bIns="0" anchor="ctr" anchorCtr="0">
            <a:spAutoFit/>
          </a:bodyPr>
          <a:lstStyle/>
          <a:p>
            <a:r>
              <a:rPr lang="tr-TR" altLang="ja-JP" sz="800" dirty="0">
                <a:solidFill>
                  <a:srgbClr val="313131"/>
                </a:solidFill>
              </a:rPr>
              <a:t>Düşük</a:t>
            </a:r>
            <a:endParaRPr lang="en-US" altLang="ja-JP" sz="800" dirty="0">
              <a:solidFill>
                <a:srgbClr val="313131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798B782-2F59-0B1D-F8A2-9C13AEFBA18D}"/>
              </a:ext>
            </a:extLst>
          </p:cNvPr>
          <p:cNvSpPr>
            <a:spLocks noChangeAspect="1" noChangeArrowheads="1"/>
          </p:cNvSpPr>
          <p:nvPr>
            <p:custDataLst>
              <p:tags r:id="rId1"/>
            </p:custDataLst>
          </p:nvPr>
        </p:nvSpPr>
        <p:spPr bwMode="gray">
          <a:xfrm>
            <a:off x="3152160" y="6536739"/>
            <a:ext cx="143855" cy="143224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A1DE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389E0EBB-F634-40D8-E814-EE0298618C66}"/>
              </a:ext>
            </a:extLst>
          </p:cNvPr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gray">
          <a:xfrm>
            <a:off x="3356428" y="6536739"/>
            <a:ext cx="143855" cy="144000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A1DE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0" name="Arc 23">
            <a:extLst>
              <a:ext uri="{FF2B5EF4-FFF2-40B4-BE49-F238E27FC236}">
                <a16:creationId xmlns:a16="http://schemas.microsoft.com/office/drawing/2014/main" id="{DEF1A6C8-0FA1-5A0F-FD1D-895029AE72DA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3428052" y="6536739"/>
            <a:ext cx="72231" cy="72000"/>
          </a:xfrm>
          <a:custGeom>
            <a:avLst/>
            <a:gdLst>
              <a:gd name="T0" fmla="*/ 0 w 21600"/>
              <a:gd name="T1" fmla="*/ 0 h 21600"/>
              <a:gd name="T2" fmla="*/ 0 w 21600"/>
              <a:gd name="T3" fmla="*/ 0 h 21600"/>
              <a:gd name="T4" fmla="*/ 0 w 21600"/>
              <a:gd name="T5" fmla="*/ 0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solidFill>
            <a:srgbClr val="00A1DE"/>
          </a:solidFill>
          <a:ln w="12700">
            <a:solidFill>
              <a:srgbClr val="00A1DE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F7BBBF2-7514-5753-EF47-BC5B7B70A873}"/>
              </a:ext>
            </a:extLst>
          </p:cNvPr>
          <p:cNvSpPr>
            <a:spLocks noChangeAspect="1" noChangeArrowheads="1"/>
          </p:cNvSpPr>
          <p:nvPr>
            <p:custDataLst>
              <p:tags r:id="rId4"/>
            </p:custDataLst>
          </p:nvPr>
        </p:nvSpPr>
        <p:spPr bwMode="gray">
          <a:xfrm>
            <a:off x="3560697" y="6536743"/>
            <a:ext cx="143855" cy="143339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A1DE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Arc 26">
            <a:extLst>
              <a:ext uri="{FF2B5EF4-FFF2-40B4-BE49-F238E27FC236}">
                <a16:creationId xmlns:a16="http://schemas.microsoft.com/office/drawing/2014/main" id="{3718E623-7F31-EE1B-CCA6-F48FADED7F18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 bwMode="gray">
          <a:xfrm>
            <a:off x="3632320" y="6536739"/>
            <a:ext cx="72231" cy="143339"/>
          </a:xfrm>
          <a:custGeom>
            <a:avLst/>
            <a:gdLst>
              <a:gd name="T0" fmla="*/ 0 w 21600"/>
              <a:gd name="T1" fmla="*/ 0 h 43200"/>
              <a:gd name="T2" fmla="*/ 0 w 21600"/>
              <a:gd name="T3" fmla="*/ 0 h 43200"/>
              <a:gd name="T4" fmla="*/ 0 w 21600"/>
              <a:gd name="T5" fmla="*/ 0 h 43200"/>
              <a:gd name="T6" fmla="*/ 0 60000 65536"/>
              <a:gd name="T7" fmla="*/ 0 60000 65536"/>
              <a:gd name="T8" fmla="*/ 0 60000 65536"/>
              <a:gd name="T9" fmla="*/ 0 w 21600"/>
              <a:gd name="T10" fmla="*/ 0 h 43200"/>
              <a:gd name="T11" fmla="*/ 21600 w 21600"/>
              <a:gd name="T12" fmla="*/ 43200 h 432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432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cubicBezTo>
                  <a:pt x="21600" y="33529"/>
                  <a:pt x="11929" y="43199"/>
                  <a:pt x="0" y="43200"/>
                </a:cubicBezTo>
              </a:path>
              <a:path w="21600" h="432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cubicBezTo>
                  <a:pt x="21600" y="33529"/>
                  <a:pt x="11929" y="43199"/>
                  <a:pt x="0" y="43200"/>
                </a:cubicBezTo>
                <a:lnTo>
                  <a:pt x="0" y="21600"/>
                </a:lnTo>
                <a:close/>
              </a:path>
            </a:pathLst>
          </a:custGeom>
          <a:solidFill>
            <a:srgbClr val="00A1DE"/>
          </a:solidFill>
          <a:ln w="12700">
            <a:solidFill>
              <a:srgbClr val="00A1DE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4204D165-1C85-DDE2-0F10-4D61CFAC8D5F}"/>
              </a:ext>
            </a:extLst>
          </p:cNvPr>
          <p:cNvSpPr>
            <a:spLocks noChangeAspect="1" noChangeArrowheads="1"/>
          </p:cNvSpPr>
          <p:nvPr>
            <p:custDataLst>
              <p:tags r:id="rId6"/>
            </p:custDataLst>
          </p:nvPr>
        </p:nvSpPr>
        <p:spPr bwMode="gray">
          <a:xfrm>
            <a:off x="3764964" y="6536739"/>
            <a:ext cx="143855" cy="143947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A1DE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Arc 29">
            <a:extLst>
              <a:ext uri="{FF2B5EF4-FFF2-40B4-BE49-F238E27FC236}">
                <a16:creationId xmlns:a16="http://schemas.microsoft.com/office/drawing/2014/main" id="{02DEC810-9EF1-B11C-C896-1212E9A38AB9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 bwMode="gray">
          <a:xfrm>
            <a:off x="3764964" y="6536739"/>
            <a:ext cx="143855" cy="143947"/>
          </a:xfrm>
          <a:custGeom>
            <a:avLst/>
            <a:gdLst>
              <a:gd name="T0" fmla="*/ 0 w 43200"/>
              <a:gd name="T1" fmla="*/ 0 h 43200"/>
              <a:gd name="T2" fmla="*/ 0 w 43200"/>
              <a:gd name="T3" fmla="*/ 0 h 43200"/>
              <a:gd name="T4" fmla="*/ 0 w 43200"/>
              <a:gd name="T5" fmla="*/ 0 h 43200"/>
              <a:gd name="T6" fmla="*/ 0 60000 65536"/>
              <a:gd name="T7" fmla="*/ 0 60000 65536"/>
              <a:gd name="T8" fmla="*/ 0 60000 65536"/>
              <a:gd name="T9" fmla="*/ 0 w 43200"/>
              <a:gd name="T10" fmla="*/ 0 h 43200"/>
              <a:gd name="T11" fmla="*/ 43200 w 43200"/>
              <a:gd name="T12" fmla="*/ 43200 h 432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3200" h="43200" fill="none" extrusionOk="0">
                <a:moveTo>
                  <a:pt x="21599" y="0"/>
                </a:moveTo>
                <a:cubicBezTo>
                  <a:pt x="33529" y="0"/>
                  <a:pt x="43200" y="9670"/>
                  <a:pt x="43200" y="21600"/>
                </a:cubicBezTo>
                <a:cubicBezTo>
                  <a:pt x="43200" y="33529"/>
                  <a:pt x="33529" y="43200"/>
                  <a:pt x="21600" y="43200"/>
                </a:cubicBezTo>
                <a:cubicBezTo>
                  <a:pt x="9670" y="43200"/>
                  <a:pt x="0" y="33529"/>
                  <a:pt x="0" y="21600"/>
                </a:cubicBezTo>
              </a:path>
              <a:path w="43200" h="43200" stroke="0" extrusionOk="0">
                <a:moveTo>
                  <a:pt x="21599" y="0"/>
                </a:moveTo>
                <a:cubicBezTo>
                  <a:pt x="33529" y="0"/>
                  <a:pt x="43200" y="9670"/>
                  <a:pt x="43200" y="21600"/>
                </a:cubicBezTo>
                <a:cubicBezTo>
                  <a:pt x="43200" y="33529"/>
                  <a:pt x="33529" y="43200"/>
                  <a:pt x="21600" y="43200"/>
                </a:cubicBezTo>
                <a:cubicBezTo>
                  <a:pt x="9670" y="43200"/>
                  <a:pt x="0" y="33529"/>
                  <a:pt x="0" y="21600"/>
                </a:cubicBezTo>
                <a:lnTo>
                  <a:pt x="21600" y="21600"/>
                </a:lnTo>
                <a:close/>
              </a:path>
            </a:pathLst>
          </a:custGeom>
          <a:solidFill>
            <a:srgbClr val="00A1DE"/>
          </a:solidFill>
          <a:ln w="12700">
            <a:solidFill>
              <a:srgbClr val="00A1DE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89EC762-92FC-0EC4-7233-ABB7BA4F90F7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3969231" y="6536739"/>
            <a:ext cx="143855" cy="143855"/>
          </a:xfrm>
          <a:prstGeom prst="ellipse">
            <a:avLst/>
          </a:prstGeom>
          <a:solidFill>
            <a:srgbClr val="00A1DE"/>
          </a:solidFill>
          <a:ln w="12700">
            <a:solidFill>
              <a:srgbClr val="00A1DE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6" name="Text Box 34">
            <a:extLst>
              <a:ext uri="{FF2B5EF4-FFF2-40B4-BE49-F238E27FC236}">
                <a16:creationId xmlns:a16="http://schemas.microsoft.com/office/drawing/2014/main" id="{61107274-AAFA-444A-564D-D1C49C7EBD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81890" y="6363963"/>
            <a:ext cx="1108987" cy="138499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tr-TR" altLang="ja-JP" sz="900" b="1" dirty="0">
                <a:solidFill>
                  <a:srgbClr val="313131"/>
                </a:solidFill>
              </a:rPr>
              <a:t>Yetkinlik Seviyesi</a:t>
            </a:r>
            <a:endParaRPr lang="en-US" altLang="ja-JP" sz="900" b="1" dirty="0">
              <a:solidFill>
                <a:srgbClr val="313131"/>
              </a:solidFill>
            </a:endParaRPr>
          </a:p>
        </p:txBody>
      </p:sp>
      <p:sp>
        <p:nvSpPr>
          <p:cNvPr id="17" name="Text Box 32">
            <a:extLst>
              <a:ext uri="{FF2B5EF4-FFF2-40B4-BE49-F238E27FC236}">
                <a16:creationId xmlns:a16="http://schemas.microsoft.com/office/drawing/2014/main" id="{02467761-E6E2-2168-209D-15BFEB4A031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35944" y="6583134"/>
            <a:ext cx="511358" cy="123111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</p:spPr>
        <p:txBody>
          <a:bodyPr wrap="none" lIns="0" tIns="0" rIns="0" bIns="0" anchor="ctr" anchorCtr="0">
            <a:spAutoFit/>
          </a:bodyPr>
          <a:lstStyle/>
          <a:p>
            <a:r>
              <a:rPr lang="tr-TR" altLang="ja-JP" sz="800" dirty="0">
                <a:solidFill>
                  <a:srgbClr val="313131"/>
                </a:solidFill>
              </a:rPr>
              <a:t>Uzun Vade</a:t>
            </a:r>
            <a:endParaRPr lang="en-US" altLang="ja-JP" sz="800" dirty="0">
              <a:solidFill>
                <a:srgbClr val="313131"/>
              </a:solidFill>
            </a:endParaRPr>
          </a:p>
        </p:txBody>
      </p:sp>
      <p:sp>
        <p:nvSpPr>
          <p:cNvPr id="18" name="Text Box 34">
            <a:extLst>
              <a:ext uri="{FF2B5EF4-FFF2-40B4-BE49-F238E27FC236}">
                <a16:creationId xmlns:a16="http://schemas.microsoft.com/office/drawing/2014/main" id="{DC83B56E-66C3-FF24-BF49-94931B0616A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75406" y="6583134"/>
            <a:ext cx="477695" cy="123111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</p:spPr>
        <p:txBody>
          <a:bodyPr wrap="none" lIns="0" tIns="0" rIns="0" bIns="0" anchor="ctr" anchorCtr="0">
            <a:spAutoFit/>
          </a:bodyPr>
          <a:lstStyle/>
          <a:p>
            <a:r>
              <a:rPr lang="tr-TR" altLang="ja-JP" sz="800" dirty="0">
                <a:solidFill>
                  <a:srgbClr val="313131"/>
                </a:solidFill>
              </a:rPr>
              <a:t>Kısa Vade</a:t>
            </a:r>
            <a:endParaRPr lang="en-US" altLang="ja-JP" sz="800" dirty="0">
              <a:solidFill>
                <a:srgbClr val="313131"/>
              </a:solidFill>
            </a:endParaRPr>
          </a:p>
        </p:txBody>
      </p:sp>
      <p:sp>
        <p:nvSpPr>
          <p:cNvPr id="19" name="Text Box 34">
            <a:extLst>
              <a:ext uri="{FF2B5EF4-FFF2-40B4-BE49-F238E27FC236}">
                <a16:creationId xmlns:a16="http://schemas.microsoft.com/office/drawing/2014/main" id="{53B7F117-0C76-391C-9590-5D1E170DAA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81677" y="6397978"/>
            <a:ext cx="1476063" cy="138499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tr-TR" altLang="ja-JP" sz="900" b="1" dirty="0">
                <a:solidFill>
                  <a:srgbClr val="313131"/>
                </a:solidFill>
              </a:rPr>
              <a:t>Gelişim Önceliği</a:t>
            </a:r>
            <a:endParaRPr lang="en-US" altLang="ja-JP" sz="900" b="1" dirty="0">
              <a:solidFill>
                <a:srgbClr val="31313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330E3CF-EA57-1E25-F050-4ABA55F904E9}"/>
              </a:ext>
            </a:extLst>
          </p:cNvPr>
          <p:cNvSpPr/>
          <p:nvPr/>
        </p:nvSpPr>
        <p:spPr>
          <a:xfrm>
            <a:off x="7983378" y="6577703"/>
            <a:ext cx="252000" cy="144000"/>
          </a:xfrm>
          <a:prstGeom prst="rect">
            <a:avLst/>
          </a:prstGeom>
          <a:solidFill>
            <a:srgbClr val="C0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8B9D97D-A30E-187F-20FC-E945996A2BBF}"/>
              </a:ext>
            </a:extLst>
          </p:cNvPr>
          <p:cNvSpPr/>
          <p:nvPr/>
        </p:nvSpPr>
        <p:spPr>
          <a:xfrm>
            <a:off x="8294802" y="6584330"/>
            <a:ext cx="252000" cy="144000"/>
          </a:xfrm>
          <a:prstGeom prst="rect">
            <a:avLst/>
          </a:prstGeom>
          <a:solidFill>
            <a:srgbClr val="FFC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7317BF2-45E7-5B83-2276-EB740CC08858}"/>
              </a:ext>
            </a:extLst>
          </p:cNvPr>
          <p:cNvSpPr/>
          <p:nvPr/>
        </p:nvSpPr>
        <p:spPr>
          <a:xfrm>
            <a:off x="8606226" y="6577705"/>
            <a:ext cx="252000" cy="1440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813B62-3A85-7C22-6906-D169C2D1697E}"/>
              </a:ext>
            </a:extLst>
          </p:cNvPr>
          <p:cNvSpPr/>
          <p:nvPr/>
        </p:nvSpPr>
        <p:spPr>
          <a:xfrm>
            <a:off x="4665688" y="5255552"/>
            <a:ext cx="252000" cy="144000"/>
          </a:xfrm>
          <a:prstGeom prst="rect">
            <a:avLst/>
          </a:prstGeom>
          <a:solidFill>
            <a:srgbClr val="C0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CC4E7F7-D963-DA57-60CD-BE4329F7CF4C}"/>
              </a:ext>
            </a:extLst>
          </p:cNvPr>
          <p:cNvSpPr/>
          <p:nvPr/>
        </p:nvSpPr>
        <p:spPr>
          <a:xfrm>
            <a:off x="4672275" y="5628711"/>
            <a:ext cx="252000" cy="144000"/>
          </a:xfrm>
          <a:prstGeom prst="rect">
            <a:avLst/>
          </a:prstGeom>
          <a:solidFill>
            <a:srgbClr val="C0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3DFD3A9-80AB-A430-ED0C-35CD64EF7BEE}"/>
              </a:ext>
            </a:extLst>
          </p:cNvPr>
          <p:cNvSpPr/>
          <p:nvPr/>
        </p:nvSpPr>
        <p:spPr>
          <a:xfrm>
            <a:off x="4665688" y="6034505"/>
            <a:ext cx="252000" cy="144000"/>
          </a:xfrm>
          <a:prstGeom prst="rect">
            <a:avLst/>
          </a:prstGeom>
          <a:solidFill>
            <a:srgbClr val="C0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A03CD3D-3B54-BCA3-B4C8-3614014069D8}"/>
              </a:ext>
            </a:extLst>
          </p:cNvPr>
          <p:cNvSpPr/>
          <p:nvPr/>
        </p:nvSpPr>
        <p:spPr>
          <a:xfrm>
            <a:off x="10748800" y="5273796"/>
            <a:ext cx="252000" cy="144000"/>
          </a:xfrm>
          <a:prstGeom prst="rect">
            <a:avLst/>
          </a:prstGeom>
          <a:solidFill>
            <a:srgbClr val="C0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19F2F36-A622-B5E8-B78C-83DA5760632C}"/>
              </a:ext>
            </a:extLst>
          </p:cNvPr>
          <p:cNvSpPr/>
          <p:nvPr/>
        </p:nvSpPr>
        <p:spPr>
          <a:xfrm>
            <a:off x="10748800" y="5645280"/>
            <a:ext cx="252000" cy="144000"/>
          </a:xfrm>
          <a:prstGeom prst="rect">
            <a:avLst/>
          </a:prstGeom>
          <a:solidFill>
            <a:srgbClr val="C0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2E25B02-796A-15C6-1AC2-EE275D0C31EC}"/>
              </a:ext>
            </a:extLst>
          </p:cNvPr>
          <p:cNvSpPr/>
          <p:nvPr/>
        </p:nvSpPr>
        <p:spPr>
          <a:xfrm>
            <a:off x="10748800" y="1671563"/>
            <a:ext cx="252000" cy="144000"/>
          </a:xfrm>
          <a:prstGeom prst="rect">
            <a:avLst/>
          </a:prstGeom>
          <a:solidFill>
            <a:srgbClr val="C0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0FA6FAF-1DF6-DCBE-CAA1-CF53D8278F67}"/>
              </a:ext>
            </a:extLst>
          </p:cNvPr>
          <p:cNvSpPr/>
          <p:nvPr/>
        </p:nvSpPr>
        <p:spPr>
          <a:xfrm>
            <a:off x="10734764" y="1333783"/>
            <a:ext cx="252000" cy="144000"/>
          </a:xfrm>
          <a:prstGeom prst="rect">
            <a:avLst/>
          </a:prstGeom>
          <a:solidFill>
            <a:srgbClr val="C0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257D37F-F9C5-9B9F-8947-A0BB331CC229}"/>
              </a:ext>
            </a:extLst>
          </p:cNvPr>
          <p:cNvSpPr/>
          <p:nvPr/>
        </p:nvSpPr>
        <p:spPr>
          <a:xfrm>
            <a:off x="10748800" y="4892881"/>
            <a:ext cx="252000" cy="1440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B90CA01-A75F-77A0-07C0-14E3AE2CC3B0}"/>
              </a:ext>
            </a:extLst>
          </p:cNvPr>
          <p:cNvSpPr/>
          <p:nvPr/>
        </p:nvSpPr>
        <p:spPr>
          <a:xfrm>
            <a:off x="10748800" y="6024897"/>
            <a:ext cx="252000" cy="1440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3B2848E-BA87-C219-F072-1AE4FEBF2C1B}"/>
              </a:ext>
            </a:extLst>
          </p:cNvPr>
          <p:cNvSpPr/>
          <p:nvPr/>
        </p:nvSpPr>
        <p:spPr>
          <a:xfrm>
            <a:off x="10748800" y="4555101"/>
            <a:ext cx="252000" cy="1440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B6C2C4A-22C4-E92A-8DAC-14E472F9F488}"/>
              </a:ext>
            </a:extLst>
          </p:cNvPr>
          <p:cNvSpPr/>
          <p:nvPr/>
        </p:nvSpPr>
        <p:spPr>
          <a:xfrm>
            <a:off x="10734764" y="3777735"/>
            <a:ext cx="252000" cy="1440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BA042BB-5FB7-C3C5-AEF4-E0C3DE324FAD}"/>
              </a:ext>
            </a:extLst>
          </p:cNvPr>
          <p:cNvSpPr/>
          <p:nvPr/>
        </p:nvSpPr>
        <p:spPr>
          <a:xfrm>
            <a:off x="10748800" y="4149219"/>
            <a:ext cx="252000" cy="144000"/>
          </a:xfrm>
          <a:prstGeom prst="rect">
            <a:avLst/>
          </a:prstGeom>
          <a:solidFill>
            <a:srgbClr val="C0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E4D8DE92-F645-FEC7-BFC0-0B1200D45770}"/>
              </a:ext>
            </a:extLst>
          </p:cNvPr>
          <p:cNvSpPr/>
          <p:nvPr/>
        </p:nvSpPr>
        <p:spPr>
          <a:xfrm>
            <a:off x="10746980" y="3398118"/>
            <a:ext cx="252000" cy="1440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B161D4A-C9CF-0EC3-077D-E50B76C4276B}"/>
              </a:ext>
            </a:extLst>
          </p:cNvPr>
          <p:cNvSpPr/>
          <p:nvPr/>
        </p:nvSpPr>
        <p:spPr>
          <a:xfrm>
            <a:off x="10741086" y="3068376"/>
            <a:ext cx="252000" cy="144000"/>
          </a:xfrm>
          <a:prstGeom prst="rect">
            <a:avLst/>
          </a:prstGeom>
          <a:solidFill>
            <a:srgbClr val="C0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36AFF7C-48A6-49E8-8676-5DF17A32E37C}"/>
              </a:ext>
            </a:extLst>
          </p:cNvPr>
          <p:cNvSpPr/>
          <p:nvPr/>
        </p:nvSpPr>
        <p:spPr>
          <a:xfrm>
            <a:off x="10731561" y="2687461"/>
            <a:ext cx="252000" cy="144000"/>
          </a:xfrm>
          <a:prstGeom prst="rect">
            <a:avLst/>
          </a:prstGeom>
          <a:solidFill>
            <a:srgbClr val="C0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0ECA223-7F75-40A1-8932-C12AD302E634}"/>
              </a:ext>
            </a:extLst>
          </p:cNvPr>
          <p:cNvSpPr/>
          <p:nvPr/>
        </p:nvSpPr>
        <p:spPr>
          <a:xfrm>
            <a:off x="10748800" y="1979180"/>
            <a:ext cx="252000" cy="144000"/>
          </a:xfrm>
          <a:prstGeom prst="rect">
            <a:avLst/>
          </a:prstGeom>
          <a:solidFill>
            <a:srgbClr val="FFC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383A6A66-2161-F8C4-E191-0016774BEFAB}"/>
              </a:ext>
            </a:extLst>
          </p:cNvPr>
          <p:cNvSpPr/>
          <p:nvPr/>
        </p:nvSpPr>
        <p:spPr>
          <a:xfrm>
            <a:off x="10741086" y="2316960"/>
            <a:ext cx="252000" cy="1440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60CA7391-8291-07D1-07CD-7C7E8C9A1F96}"/>
              </a:ext>
            </a:extLst>
          </p:cNvPr>
          <p:cNvSpPr/>
          <p:nvPr/>
        </p:nvSpPr>
        <p:spPr>
          <a:xfrm>
            <a:off x="4674701" y="4899722"/>
            <a:ext cx="252000" cy="144000"/>
          </a:xfrm>
          <a:prstGeom prst="rect">
            <a:avLst/>
          </a:prstGeom>
          <a:solidFill>
            <a:srgbClr val="C0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03271C9D-A50A-B3B5-40F1-06C0F389C598}"/>
              </a:ext>
            </a:extLst>
          </p:cNvPr>
          <p:cNvSpPr/>
          <p:nvPr/>
        </p:nvSpPr>
        <p:spPr>
          <a:xfrm>
            <a:off x="4672275" y="4526563"/>
            <a:ext cx="252000" cy="144000"/>
          </a:xfrm>
          <a:prstGeom prst="rect">
            <a:avLst/>
          </a:prstGeom>
          <a:solidFill>
            <a:srgbClr val="C0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0646FBF0-ACC5-8090-97CB-446E112A30F2}"/>
              </a:ext>
            </a:extLst>
          </p:cNvPr>
          <p:cNvSpPr/>
          <p:nvPr/>
        </p:nvSpPr>
        <p:spPr>
          <a:xfrm>
            <a:off x="4671345" y="2603252"/>
            <a:ext cx="252000" cy="144000"/>
          </a:xfrm>
          <a:prstGeom prst="rect">
            <a:avLst/>
          </a:prstGeom>
          <a:solidFill>
            <a:srgbClr val="C0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1A3D886-F9BD-5FF4-BB56-90707F8BBB21}"/>
              </a:ext>
            </a:extLst>
          </p:cNvPr>
          <p:cNvSpPr/>
          <p:nvPr/>
        </p:nvSpPr>
        <p:spPr>
          <a:xfrm>
            <a:off x="4672275" y="3760893"/>
            <a:ext cx="252000" cy="144000"/>
          </a:xfrm>
          <a:prstGeom prst="rect">
            <a:avLst/>
          </a:prstGeom>
          <a:solidFill>
            <a:srgbClr val="C0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E2711E3C-5FEC-65D8-B6B6-CE5B9FC73227}"/>
              </a:ext>
            </a:extLst>
          </p:cNvPr>
          <p:cNvSpPr/>
          <p:nvPr/>
        </p:nvSpPr>
        <p:spPr>
          <a:xfrm>
            <a:off x="4672275" y="3357000"/>
            <a:ext cx="252000" cy="1440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856C7ED1-B89C-1858-02FC-C02E50326B56}"/>
              </a:ext>
            </a:extLst>
          </p:cNvPr>
          <p:cNvSpPr/>
          <p:nvPr/>
        </p:nvSpPr>
        <p:spPr>
          <a:xfrm>
            <a:off x="4672275" y="2214297"/>
            <a:ext cx="252000" cy="144000"/>
          </a:xfrm>
          <a:prstGeom prst="rect">
            <a:avLst/>
          </a:prstGeom>
          <a:solidFill>
            <a:srgbClr val="C0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490F9257-3AF9-E9F7-D43F-9143775CEAE6}"/>
              </a:ext>
            </a:extLst>
          </p:cNvPr>
          <p:cNvSpPr/>
          <p:nvPr/>
        </p:nvSpPr>
        <p:spPr>
          <a:xfrm>
            <a:off x="4671345" y="1825414"/>
            <a:ext cx="252000" cy="144000"/>
          </a:xfrm>
          <a:prstGeom prst="rect">
            <a:avLst/>
          </a:prstGeom>
          <a:solidFill>
            <a:srgbClr val="C0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BBC32947-429D-52FC-8516-DB60DCA94E9A}"/>
              </a:ext>
            </a:extLst>
          </p:cNvPr>
          <p:cNvSpPr/>
          <p:nvPr/>
        </p:nvSpPr>
        <p:spPr>
          <a:xfrm>
            <a:off x="4672275" y="4107308"/>
            <a:ext cx="252000" cy="144000"/>
          </a:xfrm>
          <a:prstGeom prst="rect">
            <a:avLst/>
          </a:prstGeom>
          <a:solidFill>
            <a:srgbClr val="FFC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CB22D262-6155-7971-33ED-8FEED57D1381}"/>
              </a:ext>
            </a:extLst>
          </p:cNvPr>
          <p:cNvSpPr/>
          <p:nvPr/>
        </p:nvSpPr>
        <p:spPr>
          <a:xfrm>
            <a:off x="4672275" y="2982137"/>
            <a:ext cx="252000" cy="144000"/>
          </a:xfrm>
          <a:prstGeom prst="rect">
            <a:avLst/>
          </a:prstGeom>
          <a:solidFill>
            <a:srgbClr val="FFC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BB94C4FC-4F68-98EA-7C4E-216A55CB77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0121414"/>
              </p:ext>
            </p:extLst>
          </p:nvPr>
        </p:nvGraphicFramePr>
        <p:xfrm>
          <a:off x="208450" y="693696"/>
          <a:ext cx="5784264" cy="5594551"/>
        </p:xfrm>
        <a:graphic>
          <a:graphicData uri="http://schemas.openxmlformats.org/drawingml/2006/table">
            <a:tbl>
              <a:tblPr/>
              <a:tblGrid>
                <a:gridCol w="132401">
                  <a:extLst>
                    <a:ext uri="{9D8B030D-6E8A-4147-A177-3AD203B41FA5}">
                      <a16:colId xmlns:a16="http://schemas.microsoft.com/office/drawing/2014/main" val="1645035876"/>
                    </a:ext>
                  </a:extLst>
                </a:gridCol>
                <a:gridCol w="943357">
                  <a:extLst>
                    <a:ext uri="{9D8B030D-6E8A-4147-A177-3AD203B41FA5}">
                      <a16:colId xmlns:a16="http://schemas.microsoft.com/office/drawing/2014/main" val="1003989733"/>
                    </a:ext>
                  </a:extLst>
                </a:gridCol>
                <a:gridCol w="198601">
                  <a:extLst>
                    <a:ext uri="{9D8B030D-6E8A-4147-A177-3AD203B41FA5}">
                      <a16:colId xmlns:a16="http://schemas.microsoft.com/office/drawing/2014/main" val="1152799508"/>
                    </a:ext>
                  </a:extLst>
                </a:gridCol>
                <a:gridCol w="1894988">
                  <a:extLst>
                    <a:ext uri="{9D8B030D-6E8A-4147-A177-3AD203B41FA5}">
                      <a16:colId xmlns:a16="http://schemas.microsoft.com/office/drawing/2014/main" val="2526988636"/>
                    </a:ext>
                  </a:extLst>
                </a:gridCol>
                <a:gridCol w="2614917">
                  <a:extLst>
                    <a:ext uri="{9D8B030D-6E8A-4147-A177-3AD203B41FA5}">
                      <a16:colId xmlns:a16="http://schemas.microsoft.com/office/drawing/2014/main" val="1086646959"/>
                    </a:ext>
                  </a:extLst>
                </a:gridCol>
              </a:tblGrid>
              <a:tr h="381014"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KM İş kolları</a:t>
                      </a:r>
                    </a:p>
                  </a:txBody>
                  <a:tcPr marL="6757" marR="6757" marT="67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57" marR="6757" marT="67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KM Ana Süreçler</a:t>
                      </a:r>
                    </a:p>
                  </a:txBody>
                  <a:tcPr marL="6757" marR="6757" marT="67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P perspektifinden değerlendirme (iş yapış şeklinde verimli SAP kullanım oranı değerlendirilmiştir)</a:t>
                      </a:r>
                    </a:p>
                  </a:txBody>
                  <a:tcPr marL="6757" marR="6757" marT="67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2336001"/>
                  </a:ext>
                </a:extLst>
              </a:tr>
              <a:tr h="512706">
                <a:tc>
                  <a:txBody>
                    <a:bodyPr/>
                    <a:lstStyle/>
                    <a:p>
                      <a:pPr algn="r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İnsan Kaynakları yönetimi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ğişim yönetimi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İnsan kaynakları iş süreçleri değerlendirmeye alınmamıştır. İK, projede değişim yönetimi sürecini yönetecektir.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1378510"/>
                  </a:ext>
                </a:extLst>
              </a:tr>
              <a:tr h="381014">
                <a:tc>
                  <a:txBody>
                    <a:bodyPr/>
                    <a:lstStyle/>
                    <a:p>
                      <a:pPr algn="r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tış ve iş geliştirme 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tış ve sözleşme yönetimi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3093252"/>
                  </a:ext>
                </a:extLst>
              </a:tr>
              <a:tr h="381014">
                <a:tc>
                  <a:txBody>
                    <a:bodyPr/>
                    <a:lstStyle/>
                    <a:p>
                      <a:pPr algn="r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tış ve iş geliştirme 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2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klif yönetimi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3688962"/>
                  </a:ext>
                </a:extLst>
              </a:tr>
              <a:tr h="381014">
                <a:tc>
                  <a:txBody>
                    <a:bodyPr/>
                    <a:lstStyle/>
                    <a:p>
                      <a:pPr algn="r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yönetimi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yönetimi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1705639"/>
                  </a:ext>
                </a:extLst>
              </a:tr>
              <a:tr h="381014">
                <a:tc>
                  <a:txBody>
                    <a:bodyPr/>
                    <a:lstStyle/>
                    <a:p>
                      <a:pPr algn="r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tınalma 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rek satınalma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7778111"/>
                  </a:ext>
                </a:extLst>
              </a:tr>
              <a:tr h="381014">
                <a:tc>
                  <a:txBody>
                    <a:bodyPr/>
                    <a:lstStyle/>
                    <a:p>
                      <a:pPr algn="r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tınalma 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2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direk satınalma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5647472"/>
                  </a:ext>
                </a:extLst>
              </a:tr>
              <a:tr h="381014">
                <a:tc>
                  <a:txBody>
                    <a:bodyPr/>
                    <a:lstStyle/>
                    <a:p>
                      <a:pPr algn="r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tınalma 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3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zmet </a:t>
                      </a:r>
                      <a:r>
                        <a:rPr lang="tr-TR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tınalma</a:t>
                      </a:r>
                      <a:r>
                        <a:rPr lang="tr-T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ve fason yönetimi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4679018"/>
                  </a:ext>
                </a:extLst>
              </a:tr>
              <a:tr h="381014">
                <a:tc>
                  <a:txBody>
                    <a:bodyPr/>
                    <a:lstStyle/>
                    <a:p>
                      <a:pPr algn="r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ış ticaret yönetimi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İthalat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7485695"/>
                  </a:ext>
                </a:extLst>
              </a:tr>
              <a:tr h="381014">
                <a:tc>
                  <a:txBody>
                    <a:bodyPr/>
                    <a:lstStyle/>
                    <a:p>
                      <a:pPr algn="r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ış ticaret yönetimi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2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İhracat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8337194"/>
                  </a:ext>
                </a:extLst>
              </a:tr>
              <a:tr h="381014">
                <a:tc>
                  <a:txBody>
                    <a:bodyPr/>
                    <a:lstStyle/>
                    <a:p>
                      <a:pPr algn="r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ühendislik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lıp tasarım 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4802895"/>
                  </a:ext>
                </a:extLst>
              </a:tr>
              <a:tr h="381014">
                <a:tc>
                  <a:txBody>
                    <a:bodyPr/>
                    <a:lstStyle/>
                    <a:p>
                      <a:pPr algn="r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ühendislik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2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lıp proses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49969859"/>
                  </a:ext>
                </a:extLst>
              </a:tr>
              <a:tr h="381014">
                <a:tc>
                  <a:txBody>
                    <a:bodyPr/>
                    <a:lstStyle/>
                    <a:p>
                      <a:pPr algn="r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nlama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Üretim planlama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94985220"/>
                  </a:ext>
                </a:extLst>
              </a:tr>
              <a:tr h="381014">
                <a:tc>
                  <a:txBody>
                    <a:bodyPr/>
                    <a:lstStyle/>
                    <a:p>
                      <a:pPr algn="r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nlama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2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darik yönetimi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57" marR="6757" marT="67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5334680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C29B9E9E-0393-1ABB-BED9-554AFEC56F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0458581"/>
              </p:ext>
            </p:extLst>
          </p:nvPr>
        </p:nvGraphicFramePr>
        <p:xfrm>
          <a:off x="6194323" y="689107"/>
          <a:ext cx="5689025" cy="5594547"/>
        </p:xfrm>
        <a:graphic>
          <a:graphicData uri="http://schemas.openxmlformats.org/drawingml/2006/table">
            <a:tbl>
              <a:tblPr/>
              <a:tblGrid>
                <a:gridCol w="167148">
                  <a:extLst>
                    <a:ext uri="{9D8B030D-6E8A-4147-A177-3AD203B41FA5}">
                      <a16:colId xmlns:a16="http://schemas.microsoft.com/office/drawing/2014/main" val="3378609625"/>
                    </a:ext>
                  </a:extLst>
                </a:gridCol>
                <a:gridCol w="890897">
                  <a:extLst>
                    <a:ext uri="{9D8B030D-6E8A-4147-A177-3AD203B41FA5}">
                      <a16:colId xmlns:a16="http://schemas.microsoft.com/office/drawing/2014/main" val="1067125195"/>
                    </a:ext>
                  </a:extLst>
                </a:gridCol>
                <a:gridCol w="301892">
                  <a:extLst>
                    <a:ext uri="{9D8B030D-6E8A-4147-A177-3AD203B41FA5}">
                      <a16:colId xmlns:a16="http://schemas.microsoft.com/office/drawing/2014/main" val="330468053"/>
                    </a:ext>
                  </a:extLst>
                </a:gridCol>
                <a:gridCol w="2160011">
                  <a:extLst>
                    <a:ext uri="{9D8B030D-6E8A-4147-A177-3AD203B41FA5}">
                      <a16:colId xmlns:a16="http://schemas.microsoft.com/office/drawing/2014/main" val="162265567"/>
                    </a:ext>
                  </a:extLst>
                </a:gridCol>
                <a:gridCol w="2169077">
                  <a:extLst>
                    <a:ext uri="{9D8B030D-6E8A-4147-A177-3AD203B41FA5}">
                      <a16:colId xmlns:a16="http://schemas.microsoft.com/office/drawing/2014/main" val="1834471077"/>
                    </a:ext>
                  </a:extLst>
                </a:gridCol>
              </a:tblGrid>
              <a:tr h="554589"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KM İş kolları</a:t>
                      </a:r>
                    </a:p>
                  </a:txBody>
                  <a:tcPr marL="6306" marR="6306" marT="63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06" marR="6306" marT="63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KM Ana Süreçler</a:t>
                      </a:r>
                    </a:p>
                  </a:txBody>
                  <a:tcPr marL="6306" marR="6306" marT="63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P perspektifinden değerlendirme (iş yapış şeklinde verimli SAP kullanım oranı değerlendirilmiştir)</a:t>
                      </a:r>
                    </a:p>
                  </a:txBody>
                  <a:tcPr marL="6306" marR="6306" marT="63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6362691"/>
                  </a:ext>
                </a:extLst>
              </a:tr>
              <a:tr h="315931">
                <a:tc>
                  <a:txBody>
                    <a:bodyPr/>
                    <a:lstStyle/>
                    <a:p>
                      <a:pPr algn="r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Üretim   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1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laşlı üretim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70612087"/>
                  </a:ext>
                </a:extLst>
              </a:tr>
              <a:tr h="315931">
                <a:tc>
                  <a:txBody>
                    <a:bodyPr/>
                    <a:lstStyle/>
                    <a:p>
                      <a:pPr algn="r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Üretim   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2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lıp üretim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3310883"/>
                  </a:ext>
                </a:extLst>
              </a:tr>
              <a:tr h="315931">
                <a:tc>
                  <a:txBody>
                    <a:bodyPr/>
                    <a:lstStyle/>
                    <a:p>
                      <a:pPr algn="r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lite yönetimi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1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lite kontrol &amp; 8D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8978162"/>
                  </a:ext>
                </a:extLst>
              </a:tr>
              <a:tr h="372015">
                <a:tc>
                  <a:txBody>
                    <a:bodyPr/>
                    <a:lstStyle/>
                    <a:p>
                      <a:pPr algn="r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lite yönetimi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2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lite güvence-Yönetim sistemleri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1486764"/>
                  </a:ext>
                </a:extLst>
              </a:tr>
              <a:tr h="372015">
                <a:tc>
                  <a:txBody>
                    <a:bodyPr/>
                    <a:lstStyle/>
                    <a:p>
                      <a:pPr algn="r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lite yönetimi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3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darikçi değerlendirme ve geliştirme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0321461"/>
                  </a:ext>
                </a:extLst>
              </a:tr>
              <a:tr h="372015">
                <a:tc>
                  <a:txBody>
                    <a:bodyPr/>
                    <a:lstStyle/>
                    <a:p>
                      <a:pPr algn="r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kım onarım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knik bakım (Arızi, planlı, </a:t>
                      </a:r>
                      <a:r>
                        <a:rPr lang="tr-TR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estirimci</a:t>
                      </a:r>
                      <a:r>
                        <a:rPr lang="tr-T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otonom)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2009224"/>
                  </a:ext>
                </a:extLst>
              </a:tr>
              <a:tr h="372015">
                <a:tc>
                  <a:txBody>
                    <a:bodyPr/>
                    <a:lstStyle/>
                    <a:p>
                      <a:pPr algn="r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kım onarım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sis ve bina bakım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7305753"/>
                  </a:ext>
                </a:extLst>
              </a:tr>
              <a:tr h="372015">
                <a:tc>
                  <a:txBody>
                    <a:bodyPr/>
                    <a:lstStyle/>
                    <a:p>
                      <a:pPr algn="r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kım onarım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librasyon ve doğrulama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1482103"/>
                  </a:ext>
                </a:extLst>
              </a:tr>
              <a:tr h="372015">
                <a:tc>
                  <a:txBody>
                    <a:bodyPr/>
                    <a:lstStyle/>
                    <a:p>
                      <a:pPr algn="r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li muhasebe ve finans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el muhasebe, finans, müşteriler ve satıcılar muh.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1017228"/>
                  </a:ext>
                </a:extLst>
              </a:tr>
              <a:tr h="372015">
                <a:tc>
                  <a:txBody>
                    <a:bodyPr/>
                    <a:lstStyle/>
                    <a:p>
                      <a:pPr algn="r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li muhasebe ve finans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2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ran varlık yönetimi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067394"/>
                  </a:ext>
                </a:extLst>
              </a:tr>
              <a:tr h="372015">
                <a:tc>
                  <a:txBody>
                    <a:bodyPr/>
                    <a:lstStyle/>
                    <a:p>
                      <a:pPr algn="r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li muhasebe ve finans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3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ütçe yönetimi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543625"/>
                  </a:ext>
                </a:extLst>
              </a:tr>
              <a:tr h="372015">
                <a:tc>
                  <a:txBody>
                    <a:bodyPr/>
                    <a:lstStyle/>
                    <a:p>
                      <a:pPr algn="r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li muhasebe ve finans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4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liyet muhasebesi ve karlılık yönetimi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4275798"/>
                  </a:ext>
                </a:extLst>
              </a:tr>
              <a:tr h="372015">
                <a:tc>
                  <a:txBody>
                    <a:bodyPr/>
                    <a:lstStyle/>
                    <a:p>
                      <a:pPr algn="r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li muhasebe ve finans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5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zine, risk ve nakit akış yönetimi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1216364"/>
                  </a:ext>
                </a:extLst>
              </a:tr>
              <a:tr h="372015">
                <a:tc>
                  <a:txBody>
                    <a:bodyPr/>
                    <a:lstStyle/>
                    <a:p>
                      <a:pPr algn="r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li muhasebe ve finans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6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ergi ve teşvik yönetimi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06" marR="6306" marT="630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0625791"/>
                  </a:ext>
                </a:extLst>
              </a:tr>
            </a:tbl>
          </a:graphicData>
        </a:graphic>
      </p:graphicFrame>
      <p:grpSp>
        <p:nvGrpSpPr>
          <p:cNvPr id="27" name="Group 26">
            <a:extLst>
              <a:ext uri="{FF2B5EF4-FFF2-40B4-BE49-F238E27FC236}">
                <a16:creationId xmlns:a16="http://schemas.microsoft.com/office/drawing/2014/main" id="{C9FD69C1-14F4-28A6-4472-4CA9CCD447E3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10128586" y="1654109"/>
            <a:ext cx="143855" cy="144000"/>
            <a:chOff x="3183626" y="4150742"/>
            <a:chExt cx="360000" cy="360363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A1240233-D031-18BD-F4FB-69C5396C9A55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80"/>
              </p:custDataLst>
            </p:nvPr>
          </p:nvSpPr>
          <p:spPr bwMode="gray">
            <a:xfrm>
              <a:off x="3183626" y="4150742"/>
              <a:ext cx="360000" cy="360363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A1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Arc 23">
              <a:extLst>
                <a:ext uri="{FF2B5EF4-FFF2-40B4-BE49-F238E27FC236}">
                  <a16:creationId xmlns:a16="http://schemas.microsoft.com/office/drawing/2014/main" id="{D1635524-A180-3FE7-5969-C3F4722AB762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 bwMode="gray">
            <a:xfrm>
              <a:off x="3362867" y="4150742"/>
              <a:ext cx="180759" cy="180182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rgbClr val="00A1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255D9ECF-3341-A6C0-4407-9E3B55BE9864}"/>
              </a:ext>
            </a:extLst>
          </p:cNvPr>
          <p:cNvGrpSpPr/>
          <p:nvPr/>
        </p:nvGrpSpPr>
        <p:grpSpPr>
          <a:xfrm>
            <a:off x="10144922" y="2315977"/>
            <a:ext cx="143855" cy="143948"/>
            <a:chOff x="4763481" y="4483126"/>
            <a:chExt cx="143855" cy="143948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78403431-FE88-3B57-8CD1-9983AD2369C4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78"/>
              </p:custDataLst>
            </p:nvPr>
          </p:nvSpPr>
          <p:spPr bwMode="gray">
            <a:xfrm>
              <a:off x="4763481" y="4483127"/>
              <a:ext cx="143855" cy="143947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A1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Arc 29">
              <a:extLst>
                <a:ext uri="{FF2B5EF4-FFF2-40B4-BE49-F238E27FC236}">
                  <a16:creationId xmlns:a16="http://schemas.microsoft.com/office/drawing/2014/main" id="{60BCE6D3-D7A8-79F5-5DB5-7997A4F3A22F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 bwMode="gray">
            <a:xfrm>
              <a:off x="4763481" y="4483126"/>
              <a:ext cx="143855" cy="143947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rgbClr val="00A1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52A5FC78-6225-7D02-4D14-4904717CC12A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10126507" y="1974436"/>
            <a:ext cx="143855" cy="143339"/>
            <a:chOff x="3183626" y="4744250"/>
            <a:chExt cx="360000" cy="358709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ED4F276D-F353-5622-F2E1-862AAC11FAA3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76"/>
              </p:custDataLst>
            </p:nvPr>
          </p:nvSpPr>
          <p:spPr bwMode="gray">
            <a:xfrm>
              <a:off x="3183626" y="4744250"/>
              <a:ext cx="360000" cy="358709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A1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Arc 26">
              <a:extLst>
                <a:ext uri="{FF2B5EF4-FFF2-40B4-BE49-F238E27FC236}">
                  <a16:creationId xmlns:a16="http://schemas.microsoft.com/office/drawing/2014/main" id="{2D1E2AB6-AD27-11D3-5002-4F555DCC13FC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 bwMode="gray">
            <a:xfrm>
              <a:off x="3362867" y="4744250"/>
              <a:ext cx="180759" cy="358709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0 h 43200"/>
                <a:gd name="T4" fmla="*/ 0 w 21600"/>
                <a:gd name="T5" fmla="*/ 0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rgbClr val="00A1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05E8A756-6294-52ED-7B04-F15CD49E6146}"/>
              </a:ext>
            </a:extLst>
          </p:cNvPr>
          <p:cNvGrpSpPr/>
          <p:nvPr>
            <p:custDataLst>
              <p:tags r:id="rId10"/>
            </p:custDataLst>
          </p:nvPr>
        </p:nvGrpSpPr>
        <p:grpSpPr>
          <a:xfrm>
            <a:off x="10150855" y="3053699"/>
            <a:ext cx="143855" cy="143339"/>
            <a:chOff x="3183626" y="4744250"/>
            <a:chExt cx="360000" cy="358709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56117C45-EE8D-A9AB-5C6A-7324F97DF285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74"/>
              </p:custDataLst>
            </p:nvPr>
          </p:nvSpPr>
          <p:spPr bwMode="gray">
            <a:xfrm>
              <a:off x="3183626" y="4744250"/>
              <a:ext cx="360000" cy="358709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A1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1" name="Arc 26">
              <a:extLst>
                <a:ext uri="{FF2B5EF4-FFF2-40B4-BE49-F238E27FC236}">
                  <a16:creationId xmlns:a16="http://schemas.microsoft.com/office/drawing/2014/main" id="{197F6F3B-5706-9C79-2913-13CCEE8A1153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 bwMode="gray">
            <a:xfrm>
              <a:off x="3362867" y="4744250"/>
              <a:ext cx="180759" cy="358709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0 h 43200"/>
                <a:gd name="T4" fmla="*/ 0 w 21600"/>
                <a:gd name="T5" fmla="*/ 0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rgbClr val="00A1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7C0E054D-D702-A075-0CAD-2F7F8018AD6B}"/>
              </a:ext>
            </a:extLst>
          </p:cNvPr>
          <p:cNvGrpSpPr/>
          <p:nvPr>
            <p:custDataLst>
              <p:tags r:id="rId11"/>
            </p:custDataLst>
          </p:nvPr>
        </p:nvGrpSpPr>
        <p:grpSpPr>
          <a:xfrm>
            <a:off x="10151159" y="3809048"/>
            <a:ext cx="143855" cy="143339"/>
            <a:chOff x="3183626" y="4744250"/>
            <a:chExt cx="360000" cy="358709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38E92292-72B5-331F-DB05-C55B8CA17622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72"/>
              </p:custDataLst>
            </p:nvPr>
          </p:nvSpPr>
          <p:spPr bwMode="gray">
            <a:xfrm>
              <a:off x="3183626" y="4744250"/>
              <a:ext cx="360000" cy="358709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A1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4" name="Arc 26">
              <a:extLst>
                <a:ext uri="{FF2B5EF4-FFF2-40B4-BE49-F238E27FC236}">
                  <a16:creationId xmlns:a16="http://schemas.microsoft.com/office/drawing/2014/main" id="{60771CF5-9E58-0CEF-752A-7AC42A2792ED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 bwMode="gray">
            <a:xfrm>
              <a:off x="3362867" y="4744250"/>
              <a:ext cx="180759" cy="358709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0 h 43200"/>
                <a:gd name="T4" fmla="*/ 0 w 21600"/>
                <a:gd name="T5" fmla="*/ 0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rgbClr val="00A1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C0113DEE-1559-3FA6-993B-0195D3B3066B}"/>
              </a:ext>
            </a:extLst>
          </p:cNvPr>
          <p:cNvGrpSpPr/>
          <p:nvPr>
            <p:custDataLst>
              <p:tags r:id="rId12"/>
            </p:custDataLst>
          </p:nvPr>
        </p:nvGrpSpPr>
        <p:grpSpPr>
          <a:xfrm>
            <a:off x="10151159" y="4196059"/>
            <a:ext cx="143855" cy="144000"/>
            <a:chOff x="3183626" y="4150742"/>
            <a:chExt cx="360000" cy="360363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FEE2641C-2D8A-5C71-E484-A7391F75AC41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70"/>
              </p:custDataLst>
            </p:nvPr>
          </p:nvSpPr>
          <p:spPr bwMode="gray">
            <a:xfrm>
              <a:off x="3183626" y="4150742"/>
              <a:ext cx="360000" cy="360363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A1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Arc 23">
              <a:extLst>
                <a:ext uri="{FF2B5EF4-FFF2-40B4-BE49-F238E27FC236}">
                  <a16:creationId xmlns:a16="http://schemas.microsoft.com/office/drawing/2014/main" id="{5287F661-ADAD-4502-12D3-30EEA4647AC0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 bwMode="gray">
            <a:xfrm>
              <a:off x="3362867" y="4150742"/>
              <a:ext cx="180759" cy="180182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rgbClr val="00A1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01D40F18-8F24-ADFB-4E9A-C7B64A5F0120}"/>
              </a:ext>
            </a:extLst>
          </p:cNvPr>
          <p:cNvGrpSpPr/>
          <p:nvPr/>
        </p:nvGrpSpPr>
        <p:grpSpPr>
          <a:xfrm>
            <a:off x="10162318" y="6006951"/>
            <a:ext cx="143855" cy="143948"/>
            <a:chOff x="4763481" y="4483126"/>
            <a:chExt cx="143855" cy="143948"/>
          </a:xfrm>
        </p:grpSpPr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49B9D4AA-55DD-6308-E8F7-1F3637C855B9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68"/>
              </p:custDataLst>
            </p:nvPr>
          </p:nvSpPr>
          <p:spPr bwMode="gray">
            <a:xfrm>
              <a:off x="4763481" y="4483127"/>
              <a:ext cx="143855" cy="143947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A1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Arc 29">
              <a:extLst>
                <a:ext uri="{FF2B5EF4-FFF2-40B4-BE49-F238E27FC236}">
                  <a16:creationId xmlns:a16="http://schemas.microsoft.com/office/drawing/2014/main" id="{9BDC2D5A-7E47-DDEC-0710-694F4131303A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 bwMode="gray">
            <a:xfrm>
              <a:off x="4763481" y="4483126"/>
              <a:ext cx="143855" cy="143947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rgbClr val="00A1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AF760448-6002-148E-D2A0-33392834917E}"/>
              </a:ext>
            </a:extLst>
          </p:cNvPr>
          <p:cNvGrpSpPr/>
          <p:nvPr>
            <p:custDataLst>
              <p:tags r:id="rId13"/>
            </p:custDataLst>
          </p:nvPr>
        </p:nvGrpSpPr>
        <p:grpSpPr>
          <a:xfrm>
            <a:off x="10150855" y="5284384"/>
            <a:ext cx="143855" cy="144000"/>
            <a:chOff x="3183626" y="4150742"/>
            <a:chExt cx="360000" cy="360363"/>
          </a:xfrm>
        </p:grpSpPr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938856AF-9767-09D1-17E4-D24E69842CFF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66"/>
              </p:custDataLst>
            </p:nvPr>
          </p:nvSpPr>
          <p:spPr bwMode="gray">
            <a:xfrm>
              <a:off x="3183626" y="4150742"/>
              <a:ext cx="360000" cy="360363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A1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Arc 23">
              <a:extLst>
                <a:ext uri="{FF2B5EF4-FFF2-40B4-BE49-F238E27FC236}">
                  <a16:creationId xmlns:a16="http://schemas.microsoft.com/office/drawing/2014/main" id="{D7838C0E-7E07-3E69-8878-4DDAFAF0F4C6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 bwMode="gray">
            <a:xfrm>
              <a:off x="3362867" y="4150742"/>
              <a:ext cx="180759" cy="180182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rgbClr val="00A1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F5A36539-A361-44C6-BC97-32FC49467C05}"/>
              </a:ext>
            </a:extLst>
          </p:cNvPr>
          <p:cNvGrpSpPr/>
          <p:nvPr>
            <p:custDataLst>
              <p:tags r:id="rId14"/>
            </p:custDataLst>
          </p:nvPr>
        </p:nvGrpSpPr>
        <p:grpSpPr>
          <a:xfrm>
            <a:off x="3846067" y="1830436"/>
            <a:ext cx="143855" cy="144000"/>
            <a:chOff x="3183626" y="4150742"/>
            <a:chExt cx="360000" cy="360363"/>
          </a:xfrm>
        </p:grpSpPr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866030B8-3AEF-887A-1FB8-E5CCE663EAA2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64"/>
              </p:custDataLst>
            </p:nvPr>
          </p:nvSpPr>
          <p:spPr bwMode="gray">
            <a:xfrm>
              <a:off x="3183626" y="4150742"/>
              <a:ext cx="360000" cy="360363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A1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Arc 23">
              <a:extLst>
                <a:ext uri="{FF2B5EF4-FFF2-40B4-BE49-F238E27FC236}">
                  <a16:creationId xmlns:a16="http://schemas.microsoft.com/office/drawing/2014/main" id="{18CBE9D1-41E6-3912-78AD-205A0FD85E8C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 bwMode="gray">
            <a:xfrm>
              <a:off x="3362867" y="4150742"/>
              <a:ext cx="180759" cy="180182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rgbClr val="00A1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419EA4C1-CACF-FD9D-1071-68A4BA9A09D8}"/>
              </a:ext>
            </a:extLst>
          </p:cNvPr>
          <p:cNvGrpSpPr/>
          <p:nvPr>
            <p:custDataLst>
              <p:tags r:id="rId15"/>
            </p:custDataLst>
          </p:nvPr>
        </p:nvGrpSpPr>
        <p:grpSpPr>
          <a:xfrm>
            <a:off x="3846067" y="4118892"/>
            <a:ext cx="143855" cy="143339"/>
            <a:chOff x="3183626" y="4744250"/>
            <a:chExt cx="360000" cy="358709"/>
          </a:xfrm>
        </p:grpSpPr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8180E222-2ED8-44DB-C9DF-839B9690C714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62"/>
              </p:custDataLst>
            </p:nvPr>
          </p:nvSpPr>
          <p:spPr bwMode="gray">
            <a:xfrm>
              <a:off x="3183626" y="4744250"/>
              <a:ext cx="360000" cy="358709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A1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Arc 26">
              <a:extLst>
                <a:ext uri="{FF2B5EF4-FFF2-40B4-BE49-F238E27FC236}">
                  <a16:creationId xmlns:a16="http://schemas.microsoft.com/office/drawing/2014/main" id="{BAA6C6F9-946D-4DAA-CD4F-C8C911B6FAA7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 bwMode="gray">
            <a:xfrm>
              <a:off x="3362867" y="4744250"/>
              <a:ext cx="180759" cy="358709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0 h 43200"/>
                <a:gd name="T4" fmla="*/ 0 w 21600"/>
                <a:gd name="T5" fmla="*/ 0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rgbClr val="00A1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EFECF141-C0E1-6A81-5D7C-0F52754B385B}"/>
              </a:ext>
            </a:extLst>
          </p:cNvPr>
          <p:cNvGrpSpPr/>
          <p:nvPr>
            <p:custDataLst>
              <p:tags r:id="rId16"/>
            </p:custDataLst>
          </p:nvPr>
        </p:nvGrpSpPr>
        <p:grpSpPr>
          <a:xfrm>
            <a:off x="3846067" y="4515205"/>
            <a:ext cx="143855" cy="143339"/>
            <a:chOff x="3183626" y="4744250"/>
            <a:chExt cx="360000" cy="358709"/>
          </a:xfrm>
        </p:grpSpPr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2E7CFC9D-FB8D-791C-19FB-E787B7F635F4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60"/>
              </p:custDataLst>
            </p:nvPr>
          </p:nvSpPr>
          <p:spPr bwMode="gray">
            <a:xfrm>
              <a:off x="3183626" y="4744250"/>
              <a:ext cx="360000" cy="358709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A1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Arc 26">
              <a:extLst>
                <a:ext uri="{FF2B5EF4-FFF2-40B4-BE49-F238E27FC236}">
                  <a16:creationId xmlns:a16="http://schemas.microsoft.com/office/drawing/2014/main" id="{4C8483EE-4C39-D3B7-C2F6-798A99462837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 bwMode="gray">
            <a:xfrm>
              <a:off x="3362867" y="4744250"/>
              <a:ext cx="180759" cy="358709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0 h 43200"/>
                <a:gd name="T4" fmla="*/ 0 w 21600"/>
                <a:gd name="T5" fmla="*/ 0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rgbClr val="00A1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F32AC08C-8B60-B0C4-AB09-9613392C3AC3}"/>
              </a:ext>
            </a:extLst>
          </p:cNvPr>
          <p:cNvGrpSpPr/>
          <p:nvPr>
            <p:custDataLst>
              <p:tags r:id="rId17"/>
            </p:custDataLst>
          </p:nvPr>
        </p:nvGrpSpPr>
        <p:grpSpPr>
          <a:xfrm>
            <a:off x="3847645" y="2971462"/>
            <a:ext cx="143855" cy="143339"/>
            <a:chOff x="3183626" y="4744250"/>
            <a:chExt cx="360000" cy="358709"/>
          </a:xfrm>
        </p:grpSpPr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969DE1AC-F625-95AC-2B00-E69E86FBFB8F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58"/>
              </p:custDataLst>
            </p:nvPr>
          </p:nvSpPr>
          <p:spPr bwMode="gray">
            <a:xfrm>
              <a:off x="3183626" y="4744250"/>
              <a:ext cx="360000" cy="358709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A1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Arc 26">
              <a:extLst>
                <a:ext uri="{FF2B5EF4-FFF2-40B4-BE49-F238E27FC236}">
                  <a16:creationId xmlns:a16="http://schemas.microsoft.com/office/drawing/2014/main" id="{9A608D06-72F5-D66B-BA91-9CBDE08AA741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 bwMode="gray">
            <a:xfrm>
              <a:off x="3362867" y="4744250"/>
              <a:ext cx="180759" cy="358709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0 h 43200"/>
                <a:gd name="T4" fmla="*/ 0 w 21600"/>
                <a:gd name="T5" fmla="*/ 0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rgbClr val="00A1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96073EF6-F992-8765-8EF9-74321624BCBD}"/>
              </a:ext>
            </a:extLst>
          </p:cNvPr>
          <p:cNvGrpSpPr/>
          <p:nvPr>
            <p:custDataLst>
              <p:tags r:id="rId18"/>
            </p:custDataLst>
          </p:nvPr>
        </p:nvGrpSpPr>
        <p:grpSpPr>
          <a:xfrm>
            <a:off x="3844853" y="2218733"/>
            <a:ext cx="143855" cy="144000"/>
            <a:chOff x="3183626" y="4150742"/>
            <a:chExt cx="360000" cy="360363"/>
          </a:xfrm>
        </p:grpSpPr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E71324E6-41D7-E558-118E-00924535EA61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56"/>
              </p:custDataLst>
            </p:nvPr>
          </p:nvSpPr>
          <p:spPr bwMode="gray">
            <a:xfrm>
              <a:off x="3183626" y="4150742"/>
              <a:ext cx="360000" cy="360363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A1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Arc 23">
              <a:extLst>
                <a:ext uri="{FF2B5EF4-FFF2-40B4-BE49-F238E27FC236}">
                  <a16:creationId xmlns:a16="http://schemas.microsoft.com/office/drawing/2014/main" id="{1FC289EA-7603-D5FB-2763-AF12997FC9D1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 bwMode="gray">
            <a:xfrm>
              <a:off x="3362867" y="4150742"/>
              <a:ext cx="180759" cy="180182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rgbClr val="00A1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4AEB70D0-0594-31F8-5B2D-2D961CA83ADF}"/>
              </a:ext>
            </a:extLst>
          </p:cNvPr>
          <p:cNvGrpSpPr/>
          <p:nvPr>
            <p:custDataLst>
              <p:tags r:id="rId19"/>
            </p:custDataLst>
          </p:nvPr>
        </p:nvGrpSpPr>
        <p:grpSpPr>
          <a:xfrm>
            <a:off x="3836891" y="5260747"/>
            <a:ext cx="143855" cy="144000"/>
            <a:chOff x="3183626" y="4150742"/>
            <a:chExt cx="360000" cy="360363"/>
          </a:xfrm>
        </p:grpSpPr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D3FD47F8-1A3D-C098-9556-A8B5EE839827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54"/>
              </p:custDataLst>
            </p:nvPr>
          </p:nvSpPr>
          <p:spPr bwMode="gray">
            <a:xfrm>
              <a:off x="3183626" y="4150742"/>
              <a:ext cx="360000" cy="360363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A1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Arc 23">
              <a:extLst>
                <a:ext uri="{FF2B5EF4-FFF2-40B4-BE49-F238E27FC236}">
                  <a16:creationId xmlns:a16="http://schemas.microsoft.com/office/drawing/2014/main" id="{34E6CDD3-8837-D85D-5F1F-6D0834204EE6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 bwMode="gray">
            <a:xfrm>
              <a:off x="3362867" y="4150742"/>
              <a:ext cx="180759" cy="180182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rgbClr val="00A1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A525E22B-33F1-5D14-E189-45D9E1E35C9B}"/>
              </a:ext>
            </a:extLst>
          </p:cNvPr>
          <p:cNvGrpSpPr/>
          <p:nvPr>
            <p:custDataLst>
              <p:tags r:id="rId20"/>
            </p:custDataLst>
          </p:nvPr>
        </p:nvGrpSpPr>
        <p:grpSpPr>
          <a:xfrm>
            <a:off x="3845157" y="5645280"/>
            <a:ext cx="143855" cy="144000"/>
            <a:chOff x="3183626" y="4150742"/>
            <a:chExt cx="360000" cy="360363"/>
          </a:xfrm>
        </p:grpSpPr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464E0130-1D41-F3A4-667A-1480D175282E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52"/>
              </p:custDataLst>
            </p:nvPr>
          </p:nvSpPr>
          <p:spPr bwMode="gray">
            <a:xfrm>
              <a:off x="3183626" y="4150742"/>
              <a:ext cx="360000" cy="360363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A1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Arc 23">
              <a:extLst>
                <a:ext uri="{FF2B5EF4-FFF2-40B4-BE49-F238E27FC236}">
                  <a16:creationId xmlns:a16="http://schemas.microsoft.com/office/drawing/2014/main" id="{B2AC48E6-AEEA-B363-E3D3-D34A0F441148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 bwMode="gray">
            <a:xfrm>
              <a:off x="3362867" y="4150742"/>
              <a:ext cx="180759" cy="180182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rgbClr val="00A1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44A37F00-E3D8-DF49-DC83-ED07F7457C5B}"/>
              </a:ext>
            </a:extLst>
          </p:cNvPr>
          <p:cNvGrpSpPr/>
          <p:nvPr>
            <p:custDataLst>
              <p:tags r:id="rId21"/>
            </p:custDataLst>
          </p:nvPr>
        </p:nvGrpSpPr>
        <p:grpSpPr>
          <a:xfrm>
            <a:off x="3846067" y="6006951"/>
            <a:ext cx="143855" cy="144000"/>
            <a:chOff x="3183626" y="4150742"/>
            <a:chExt cx="360000" cy="360363"/>
          </a:xfrm>
        </p:grpSpPr>
        <p:sp>
          <p:nvSpPr>
            <p:cNvPr id="94" name="Oval 93">
              <a:extLst>
                <a:ext uri="{FF2B5EF4-FFF2-40B4-BE49-F238E27FC236}">
                  <a16:creationId xmlns:a16="http://schemas.microsoft.com/office/drawing/2014/main" id="{D879A30B-8E9F-DC99-79E0-A18B9369CF83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50"/>
              </p:custDataLst>
            </p:nvPr>
          </p:nvSpPr>
          <p:spPr bwMode="gray">
            <a:xfrm>
              <a:off x="3183626" y="4150742"/>
              <a:ext cx="360000" cy="360363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A1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5" name="Arc 23">
              <a:extLst>
                <a:ext uri="{FF2B5EF4-FFF2-40B4-BE49-F238E27FC236}">
                  <a16:creationId xmlns:a16="http://schemas.microsoft.com/office/drawing/2014/main" id="{D103B839-B955-506D-D646-EF98D9183E12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 bwMode="gray">
            <a:xfrm>
              <a:off x="3362867" y="4150742"/>
              <a:ext cx="180759" cy="180182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rgbClr val="00A1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id="{ABC145B8-27D6-2058-8F1D-3C4AFF10B715}"/>
              </a:ext>
            </a:extLst>
          </p:cNvPr>
          <p:cNvGrpSpPr/>
          <p:nvPr>
            <p:custDataLst>
              <p:tags r:id="rId22"/>
            </p:custDataLst>
          </p:nvPr>
        </p:nvGrpSpPr>
        <p:grpSpPr>
          <a:xfrm>
            <a:off x="3859456" y="2597070"/>
            <a:ext cx="143855" cy="144000"/>
            <a:chOff x="3183626" y="4150742"/>
            <a:chExt cx="360000" cy="360363"/>
          </a:xfrm>
        </p:grpSpPr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3A018C73-C8E1-BDDC-E843-DD86A464D8C8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48"/>
              </p:custDataLst>
            </p:nvPr>
          </p:nvSpPr>
          <p:spPr bwMode="gray">
            <a:xfrm>
              <a:off x="3183626" y="4150742"/>
              <a:ext cx="360000" cy="360363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A1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8" name="Arc 23">
              <a:extLst>
                <a:ext uri="{FF2B5EF4-FFF2-40B4-BE49-F238E27FC236}">
                  <a16:creationId xmlns:a16="http://schemas.microsoft.com/office/drawing/2014/main" id="{9850AFEA-2943-DE3B-5344-5BF81481F807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 bwMode="gray">
            <a:xfrm>
              <a:off x="3362867" y="4150742"/>
              <a:ext cx="180759" cy="180182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rgbClr val="00A1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0CE99B15-9832-EB4B-9F50-2BD3A0F29F0D}"/>
              </a:ext>
            </a:extLst>
          </p:cNvPr>
          <p:cNvGrpSpPr/>
          <p:nvPr>
            <p:custDataLst>
              <p:tags r:id="rId23"/>
            </p:custDataLst>
          </p:nvPr>
        </p:nvGrpSpPr>
        <p:grpSpPr>
          <a:xfrm>
            <a:off x="3839789" y="3743770"/>
            <a:ext cx="143855" cy="144000"/>
            <a:chOff x="3183626" y="4150742"/>
            <a:chExt cx="360000" cy="360363"/>
          </a:xfrm>
        </p:grpSpPr>
        <p:sp>
          <p:nvSpPr>
            <p:cNvPr id="100" name="Oval 99">
              <a:extLst>
                <a:ext uri="{FF2B5EF4-FFF2-40B4-BE49-F238E27FC236}">
                  <a16:creationId xmlns:a16="http://schemas.microsoft.com/office/drawing/2014/main" id="{505BBBAB-6E95-534A-7902-9DD10418FC1E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46"/>
              </p:custDataLst>
            </p:nvPr>
          </p:nvSpPr>
          <p:spPr bwMode="gray">
            <a:xfrm>
              <a:off x="3183626" y="4150742"/>
              <a:ext cx="360000" cy="360363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A1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1" name="Arc 23">
              <a:extLst>
                <a:ext uri="{FF2B5EF4-FFF2-40B4-BE49-F238E27FC236}">
                  <a16:creationId xmlns:a16="http://schemas.microsoft.com/office/drawing/2014/main" id="{4027A646-2D59-30D4-CC72-0FDB5D7524FD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 bwMode="gray">
            <a:xfrm>
              <a:off x="3362867" y="4150742"/>
              <a:ext cx="180759" cy="180182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rgbClr val="00A1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7A106308-34CC-980B-F60E-2322D1378EA0}"/>
              </a:ext>
            </a:extLst>
          </p:cNvPr>
          <p:cNvGrpSpPr/>
          <p:nvPr>
            <p:custDataLst>
              <p:tags r:id="rId24"/>
            </p:custDataLst>
          </p:nvPr>
        </p:nvGrpSpPr>
        <p:grpSpPr>
          <a:xfrm>
            <a:off x="3833170" y="4892881"/>
            <a:ext cx="143855" cy="144000"/>
            <a:chOff x="3183626" y="4150742"/>
            <a:chExt cx="360000" cy="360363"/>
          </a:xfrm>
        </p:grpSpPr>
        <p:sp>
          <p:nvSpPr>
            <p:cNvPr id="103" name="Oval 102">
              <a:extLst>
                <a:ext uri="{FF2B5EF4-FFF2-40B4-BE49-F238E27FC236}">
                  <a16:creationId xmlns:a16="http://schemas.microsoft.com/office/drawing/2014/main" id="{4D4EB232-AB6A-EF9B-CD99-50B44A54B243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44"/>
              </p:custDataLst>
            </p:nvPr>
          </p:nvSpPr>
          <p:spPr bwMode="gray">
            <a:xfrm>
              <a:off x="3183626" y="4150742"/>
              <a:ext cx="360000" cy="360363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A1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4" name="Arc 23">
              <a:extLst>
                <a:ext uri="{FF2B5EF4-FFF2-40B4-BE49-F238E27FC236}">
                  <a16:creationId xmlns:a16="http://schemas.microsoft.com/office/drawing/2014/main" id="{9C67F46A-ED08-1BD6-DDEE-5A4472A1DBFD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 bwMode="gray">
            <a:xfrm>
              <a:off x="3362867" y="4150742"/>
              <a:ext cx="180759" cy="180182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rgbClr val="00A1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966D8BC7-CD7B-285F-0109-30A672985562}"/>
              </a:ext>
            </a:extLst>
          </p:cNvPr>
          <p:cNvGrpSpPr/>
          <p:nvPr/>
        </p:nvGrpSpPr>
        <p:grpSpPr>
          <a:xfrm>
            <a:off x="3848495" y="3357026"/>
            <a:ext cx="143855" cy="143948"/>
            <a:chOff x="4763481" y="4483126"/>
            <a:chExt cx="143855" cy="143948"/>
          </a:xfrm>
        </p:grpSpPr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3E54D26C-08BB-8685-1095-8E6A1E38ED61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42"/>
              </p:custDataLst>
            </p:nvPr>
          </p:nvSpPr>
          <p:spPr bwMode="gray">
            <a:xfrm>
              <a:off x="4763481" y="4483127"/>
              <a:ext cx="143855" cy="143947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A1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7" name="Arc 29">
              <a:extLst>
                <a:ext uri="{FF2B5EF4-FFF2-40B4-BE49-F238E27FC236}">
                  <a16:creationId xmlns:a16="http://schemas.microsoft.com/office/drawing/2014/main" id="{61A1E9E2-14C7-143F-70F8-38BEE55ACBFE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 bwMode="gray">
            <a:xfrm>
              <a:off x="4763481" y="4483126"/>
              <a:ext cx="143855" cy="143947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rgbClr val="00A1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01B38C06-93DB-B7F9-CBC0-F8739999524B}"/>
              </a:ext>
            </a:extLst>
          </p:cNvPr>
          <p:cNvGrpSpPr/>
          <p:nvPr>
            <p:custDataLst>
              <p:tags r:id="rId25"/>
            </p:custDataLst>
          </p:nvPr>
        </p:nvGrpSpPr>
        <p:grpSpPr>
          <a:xfrm>
            <a:off x="10120726" y="1335153"/>
            <a:ext cx="143855" cy="143339"/>
            <a:chOff x="3183626" y="4744250"/>
            <a:chExt cx="360000" cy="358709"/>
          </a:xfrm>
        </p:grpSpPr>
        <p:sp>
          <p:nvSpPr>
            <p:cNvPr id="110" name="Oval 109">
              <a:extLst>
                <a:ext uri="{FF2B5EF4-FFF2-40B4-BE49-F238E27FC236}">
                  <a16:creationId xmlns:a16="http://schemas.microsoft.com/office/drawing/2014/main" id="{F30D3F9D-58D4-72A5-B89C-0C80C90A752A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40"/>
              </p:custDataLst>
            </p:nvPr>
          </p:nvSpPr>
          <p:spPr bwMode="gray">
            <a:xfrm>
              <a:off x="3183626" y="4744250"/>
              <a:ext cx="360000" cy="358709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A1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1" name="Arc 26">
              <a:extLst>
                <a:ext uri="{FF2B5EF4-FFF2-40B4-BE49-F238E27FC236}">
                  <a16:creationId xmlns:a16="http://schemas.microsoft.com/office/drawing/2014/main" id="{FFABDEBE-E8D2-6D12-57FE-68CDDC210873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 bwMode="gray">
            <a:xfrm>
              <a:off x="3362867" y="4744250"/>
              <a:ext cx="180759" cy="358709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0 h 43200"/>
                <a:gd name="T4" fmla="*/ 0 w 21600"/>
                <a:gd name="T5" fmla="*/ 0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rgbClr val="00A1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1B120F8A-886A-B645-7780-26032666B0F2}"/>
              </a:ext>
            </a:extLst>
          </p:cNvPr>
          <p:cNvGrpSpPr/>
          <p:nvPr>
            <p:custDataLst>
              <p:tags r:id="rId26"/>
            </p:custDataLst>
          </p:nvPr>
        </p:nvGrpSpPr>
        <p:grpSpPr>
          <a:xfrm>
            <a:off x="10155250" y="2679064"/>
            <a:ext cx="143855" cy="143339"/>
            <a:chOff x="3183626" y="4744250"/>
            <a:chExt cx="360000" cy="358709"/>
          </a:xfrm>
        </p:grpSpPr>
        <p:sp>
          <p:nvSpPr>
            <p:cNvPr id="113" name="Oval 112">
              <a:extLst>
                <a:ext uri="{FF2B5EF4-FFF2-40B4-BE49-F238E27FC236}">
                  <a16:creationId xmlns:a16="http://schemas.microsoft.com/office/drawing/2014/main" id="{1CF45071-A859-4AF0-03E6-EACAE7275762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3183626" y="4744250"/>
              <a:ext cx="360000" cy="358709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A1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4" name="Arc 26">
              <a:extLst>
                <a:ext uri="{FF2B5EF4-FFF2-40B4-BE49-F238E27FC236}">
                  <a16:creationId xmlns:a16="http://schemas.microsoft.com/office/drawing/2014/main" id="{CE33BFA7-A051-B82A-3F83-BA5777248640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 bwMode="gray">
            <a:xfrm>
              <a:off x="3362867" y="4744250"/>
              <a:ext cx="180759" cy="358709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0 h 43200"/>
                <a:gd name="T4" fmla="*/ 0 w 21600"/>
                <a:gd name="T5" fmla="*/ 0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rgbClr val="00A1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C2E349BF-BC89-87CB-100C-B9B7FD7EFE20}"/>
              </a:ext>
            </a:extLst>
          </p:cNvPr>
          <p:cNvGrpSpPr/>
          <p:nvPr/>
        </p:nvGrpSpPr>
        <p:grpSpPr>
          <a:xfrm>
            <a:off x="10167693" y="3420152"/>
            <a:ext cx="143855" cy="143948"/>
            <a:chOff x="4763481" y="4483126"/>
            <a:chExt cx="143855" cy="143948"/>
          </a:xfrm>
        </p:grpSpPr>
        <p:sp>
          <p:nvSpPr>
            <p:cNvPr id="116" name="Oval 115">
              <a:extLst>
                <a:ext uri="{FF2B5EF4-FFF2-40B4-BE49-F238E27FC236}">
                  <a16:creationId xmlns:a16="http://schemas.microsoft.com/office/drawing/2014/main" id="{186712C0-2ED3-AC2F-5AFE-912993246B26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4763481" y="4483127"/>
              <a:ext cx="143855" cy="143947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A1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7" name="Arc 29">
              <a:extLst>
                <a:ext uri="{FF2B5EF4-FFF2-40B4-BE49-F238E27FC236}">
                  <a16:creationId xmlns:a16="http://schemas.microsoft.com/office/drawing/2014/main" id="{55752693-6DF7-90E5-0AA5-D243794513C0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 bwMode="gray">
            <a:xfrm>
              <a:off x="4763481" y="4483126"/>
              <a:ext cx="143855" cy="143947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rgbClr val="00A1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F1EEFE49-30FF-3D48-2B5A-5DFB242C432E}"/>
              </a:ext>
            </a:extLst>
          </p:cNvPr>
          <p:cNvGrpSpPr/>
          <p:nvPr>
            <p:custDataLst>
              <p:tags r:id="rId27"/>
            </p:custDataLst>
          </p:nvPr>
        </p:nvGrpSpPr>
        <p:grpSpPr>
          <a:xfrm>
            <a:off x="10144921" y="4928881"/>
            <a:ext cx="143855" cy="144000"/>
            <a:chOff x="3183626" y="4150742"/>
            <a:chExt cx="360000" cy="360363"/>
          </a:xfrm>
        </p:grpSpPr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F8A85FE1-A9D1-4C3B-F8BC-9CDC93269EEF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3183626" y="4150742"/>
              <a:ext cx="360000" cy="360363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A1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0" name="Arc 23">
              <a:extLst>
                <a:ext uri="{FF2B5EF4-FFF2-40B4-BE49-F238E27FC236}">
                  <a16:creationId xmlns:a16="http://schemas.microsoft.com/office/drawing/2014/main" id="{42B17AE6-7EF9-DF0E-AD9C-F32995A62318}"/>
                </a:ext>
              </a:extLst>
            </p:cNvPr>
            <p:cNvSpPr>
              <a:spLocks noChangeAspect="1"/>
            </p:cNvSpPr>
            <p:nvPr>
              <p:custDataLst>
                <p:tags r:id="rId35"/>
              </p:custDataLst>
            </p:nvPr>
          </p:nvSpPr>
          <p:spPr bwMode="gray">
            <a:xfrm>
              <a:off x="3362867" y="4150742"/>
              <a:ext cx="180759" cy="180182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rgbClr val="00A1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93E1F717-1D9B-60AC-DB18-D10ECB15E8A3}"/>
              </a:ext>
            </a:extLst>
          </p:cNvPr>
          <p:cNvGrpSpPr/>
          <p:nvPr>
            <p:custDataLst>
              <p:tags r:id="rId28"/>
            </p:custDataLst>
          </p:nvPr>
        </p:nvGrpSpPr>
        <p:grpSpPr>
          <a:xfrm>
            <a:off x="10160457" y="4560986"/>
            <a:ext cx="143855" cy="143339"/>
            <a:chOff x="3183626" y="4744250"/>
            <a:chExt cx="360000" cy="358709"/>
          </a:xfrm>
        </p:grpSpPr>
        <p:sp>
          <p:nvSpPr>
            <p:cNvPr id="122" name="Oval 121">
              <a:extLst>
                <a:ext uri="{FF2B5EF4-FFF2-40B4-BE49-F238E27FC236}">
                  <a16:creationId xmlns:a16="http://schemas.microsoft.com/office/drawing/2014/main" id="{0D1CCCDF-6E3C-9D5F-7B50-D47BD14317A3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3183626" y="4744250"/>
              <a:ext cx="360000" cy="358709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A1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3" name="Arc 26">
              <a:extLst>
                <a:ext uri="{FF2B5EF4-FFF2-40B4-BE49-F238E27FC236}">
                  <a16:creationId xmlns:a16="http://schemas.microsoft.com/office/drawing/2014/main" id="{F0983C7A-B272-D819-2CCB-78300FDC2533}"/>
                </a:ext>
              </a:extLst>
            </p:cNvPr>
            <p:cNvSpPr>
              <a:spLocks noChangeAspect="1"/>
            </p:cNvSpPr>
            <p:nvPr>
              <p:custDataLst>
                <p:tags r:id="rId33"/>
              </p:custDataLst>
            </p:nvPr>
          </p:nvSpPr>
          <p:spPr bwMode="gray">
            <a:xfrm>
              <a:off x="3362867" y="4744250"/>
              <a:ext cx="180759" cy="358709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0 h 43200"/>
                <a:gd name="T4" fmla="*/ 0 w 21600"/>
                <a:gd name="T5" fmla="*/ 0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rgbClr val="00A1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382C45D0-940D-95B6-AF10-0765AB151326}"/>
              </a:ext>
            </a:extLst>
          </p:cNvPr>
          <p:cNvGrpSpPr/>
          <p:nvPr>
            <p:custDataLst>
              <p:tags r:id="rId29"/>
            </p:custDataLst>
          </p:nvPr>
        </p:nvGrpSpPr>
        <p:grpSpPr>
          <a:xfrm>
            <a:off x="10144617" y="5645280"/>
            <a:ext cx="143855" cy="144000"/>
            <a:chOff x="3183626" y="4150742"/>
            <a:chExt cx="360000" cy="360363"/>
          </a:xfrm>
        </p:grpSpPr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EE6C9C52-5977-8DF3-9104-6E665D22F69E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3183626" y="4150742"/>
              <a:ext cx="360000" cy="360363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A1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6" name="Arc 23">
              <a:extLst>
                <a:ext uri="{FF2B5EF4-FFF2-40B4-BE49-F238E27FC236}">
                  <a16:creationId xmlns:a16="http://schemas.microsoft.com/office/drawing/2014/main" id="{119B7134-AD20-C7AC-CF62-46239700A89E}"/>
                </a:ext>
              </a:extLst>
            </p:cNvPr>
            <p:cNvSpPr>
              <a:spLocks noChangeAspect="1"/>
            </p:cNvSpPr>
            <p:nvPr>
              <p:custDataLst>
                <p:tags r:id="rId31"/>
              </p:custDataLst>
            </p:nvPr>
          </p:nvSpPr>
          <p:spPr bwMode="gray">
            <a:xfrm>
              <a:off x="3362867" y="4150742"/>
              <a:ext cx="180759" cy="180182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rgbClr val="00A1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672448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CF9D1ABD-890B-447C-8F97-340953EE83D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C57EDA-1B8D-4F13-B3C1-034A3BC59D6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3869" y="1439999"/>
            <a:ext cx="11182288" cy="968903"/>
          </a:xfrm>
        </p:spPr>
        <p:txBody>
          <a:bodyPr/>
          <a:lstStyle/>
          <a:p>
            <a:pPr defTabSz="457200"/>
            <a:r>
              <a:rPr lang="tr-TR" sz="2000" dirty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rPr>
              <a:t>Sistem Mimarisi</a:t>
            </a:r>
          </a:p>
        </p:txBody>
      </p:sp>
    </p:spTree>
    <p:extLst>
      <p:ext uri="{BB962C8B-B14F-4D97-AF65-F5344CB8AC3E}">
        <p14:creationId xmlns:p14="http://schemas.microsoft.com/office/powerpoint/2010/main" val="32096245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1" name="Group 110">
            <a:extLst>
              <a:ext uri="{FF2B5EF4-FFF2-40B4-BE49-F238E27FC236}">
                <a16:creationId xmlns:a16="http://schemas.microsoft.com/office/drawing/2014/main" id="{3053FC17-FB0E-4FDB-B003-13677B9C20AE}"/>
              </a:ext>
            </a:extLst>
          </p:cNvPr>
          <p:cNvGrpSpPr/>
          <p:nvPr/>
        </p:nvGrpSpPr>
        <p:grpSpPr>
          <a:xfrm>
            <a:off x="10442814" y="1365931"/>
            <a:ext cx="1108667" cy="491421"/>
            <a:chOff x="22999429" y="7984869"/>
            <a:chExt cx="2512979" cy="1113888"/>
          </a:xfrm>
          <a:solidFill>
            <a:schemeClr val="tx2">
              <a:lumMod val="75000"/>
            </a:schemeClr>
          </a:solidFill>
        </p:grpSpPr>
        <p:sp>
          <p:nvSpPr>
            <p:cNvPr id="61" name="Rectangle: Rounded Corners 60">
              <a:extLst>
                <a:ext uri="{FF2B5EF4-FFF2-40B4-BE49-F238E27FC236}">
                  <a16:creationId xmlns:a16="http://schemas.microsoft.com/office/drawing/2014/main" id="{D887A827-0E3C-4640-BC51-D6ED25AFB39A}"/>
                </a:ext>
              </a:extLst>
            </p:cNvPr>
            <p:cNvSpPr/>
            <p:nvPr/>
          </p:nvSpPr>
          <p:spPr>
            <a:xfrm>
              <a:off x="22999429" y="8079582"/>
              <a:ext cx="2512979" cy="1019175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01696"/>
              <a:endParaRPr lang="en-US" sz="1191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5112C58D-E8A7-4009-B857-E8E4BB884E82}"/>
                </a:ext>
              </a:extLst>
            </p:cNvPr>
            <p:cNvSpPr txBox="1"/>
            <p:nvPr/>
          </p:nvSpPr>
          <p:spPr>
            <a:xfrm>
              <a:off x="23218054" y="7984869"/>
              <a:ext cx="2093321" cy="4402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201696"/>
              <a:endParaRPr lang="en-US" sz="662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D905479F-2318-4645-8F2F-19C5786630BA}"/>
              </a:ext>
            </a:extLst>
          </p:cNvPr>
          <p:cNvGrpSpPr/>
          <p:nvPr/>
        </p:nvGrpSpPr>
        <p:grpSpPr>
          <a:xfrm>
            <a:off x="9597307" y="277901"/>
            <a:ext cx="1108667" cy="449636"/>
            <a:chOff x="20585348" y="966792"/>
            <a:chExt cx="2512979" cy="1019175"/>
          </a:xfrm>
          <a:solidFill>
            <a:schemeClr val="accent2"/>
          </a:solidFill>
        </p:grpSpPr>
        <p:sp>
          <p:nvSpPr>
            <p:cNvPr id="71" name="Rectangle: Rounded Corners 70">
              <a:extLst>
                <a:ext uri="{FF2B5EF4-FFF2-40B4-BE49-F238E27FC236}">
                  <a16:creationId xmlns:a16="http://schemas.microsoft.com/office/drawing/2014/main" id="{7AED35DF-E162-4132-B2DC-B25405879A31}"/>
                </a:ext>
              </a:extLst>
            </p:cNvPr>
            <p:cNvSpPr/>
            <p:nvPr/>
          </p:nvSpPr>
          <p:spPr>
            <a:xfrm>
              <a:off x="20585348" y="966792"/>
              <a:ext cx="2512979" cy="1019175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01696"/>
              <a:endParaRPr lang="en-US" sz="1191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40179377-E0B6-4589-AB2B-D8FFEBD5F739}"/>
                </a:ext>
              </a:extLst>
            </p:cNvPr>
            <p:cNvSpPr txBox="1"/>
            <p:nvPr/>
          </p:nvSpPr>
          <p:spPr>
            <a:xfrm>
              <a:off x="20700807" y="1053950"/>
              <a:ext cx="2294937" cy="440232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201696"/>
              <a:endParaRPr lang="en-US" sz="662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DEC42E35-9B58-4E33-B3CA-B2301D3010D8}"/>
              </a:ext>
            </a:extLst>
          </p:cNvPr>
          <p:cNvGrpSpPr/>
          <p:nvPr/>
        </p:nvGrpSpPr>
        <p:grpSpPr>
          <a:xfrm>
            <a:off x="10639624" y="4659043"/>
            <a:ext cx="1108667" cy="449636"/>
            <a:chOff x="20141929" y="4800601"/>
            <a:chExt cx="2512979" cy="1019175"/>
          </a:xfrm>
          <a:solidFill>
            <a:srgbClr val="7030A0"/>
          </a:solidFill>
        </p:grpSpPr>
        <p:sp>
          <p:nvSpPr>
            <p:cNvPr id="72" name="Rectangle: Rounded Corners 71">
              <a:extLst>
                <a:ext uri="{FF2B5EF4-FFF2-40B4-BE49-F238E27FC236}">
                  <a16:creationId xmlns:a16="http://schemas.microsoft.com/office/drawing/2014/main" id="{425CBAB2-B657-43B6-B04C-426247D6F572}"/>
                </a:ext>
              </a:extLst>
            </p:cNvPr>
            <p:cNvSpPr/>
            <p:nvPr/>
          </p:nvSpPr>
          <p:spPr>
            <a:xfrm>
              <a:off x="20141929" y="4800601"/>
              <a:ext cx="2512979" cy="1019175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01696"/>
              <a:endParaRPr lang="en-US" sz="1191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E46A356F-02F1-4A25-9D5F-61736312A3DC}"/>
                </a:ext>
              </a:extLst>
            </p:cNvPr>
            <p:cNvSpPr txBox="1"/>
            <p:nvPr/>
          </p:nvSpPr>
          <p:spPr>
            <a:xfrm>
              <a:off x="20253798" y="4880696"/>
              <a:ext cx="2261941" cy="594000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201696"/>
              <a:endParaRPr lang="en-US" sz="1103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87E926DF-6CBC-471C-B861-9C299975C9A5}"/>
              </a:ext>
            </a:extLst>
          </p:cNvPr>
          <p:cNvGrpSpPr/>
          <p:nvPr/>
        </p:nvGrpSpPr>
        <p:grpSpPr>
          <a:xfrm>
            <a:off x="9788713" y="5273844"/>
            <a:ext cx="1108667" cy="490707"/>
            <a:chOff x="23442705" y="3875333"/>
            <a:chExt cx="2512979" cy="1112270"/>
          </a:xfrm>
          <a:solidFill>
            <a:schemeClr val="accent2"/>
          </a:solidFill>
        </p:grpSpPr>
        <p:sp>
          <p:nvSpPr>
            <p:cNvPr id="65" name="Rectangle: Rounded Corners 64">
              <a:extLst>
                <a:ext uri="{FF2B5EF4-FFF2-40B4-BE49-F238E27FC236}">
                  <a16:creationId xmlns:a16="http://schemas.microsoft.com/office/drawing/2014/main" id="{E8A27429-56AD-4E27-98FE-42CED476D3A2}"/>
                </a:ext>
              </a:extLst>
            </p:cNvPr>
            <p:cNvSpPr/>
            <p:nvPr/>
          </p:nvSpPr>
          <p:spPr>
            <a:xfrm>
              <a:off x="23442705" y="3968428"/>
              <a:ext cx="2512979" cy="1019175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01696"/>
              <a:endParaRPr lang="en-US" sz="1191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B51D6F12-C1C4-4953-86CA-B20DF5E78192}"/>
                </a:ext>
              </a:extLst>
            </p:cNvPr>
            <p:cNvSpPr txBox="1"/>
            <p:nvPr/>
          </p:nvSpPr>
          <p:spPr>
            <a:xfrm>
              <a:off x="23506097" y="3875333"/>
              <a:ext cx="2442268" cy="440232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201696"/>
              <a:endParaRPr lang="en-US" sz="662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754F6129-9FC4-4C39-8576-7A94F4FA45C9}"/>
              </a:ext>
            </a:extLst>
          </p:cNvPr>
          <p:cNvGrpSpPr/>
          <p:nvPr/>
        </p:nvGrpSpPr>
        <p:grpSpPr>
          <a:xfrm>
            <a:off x="8075388" y="4779577"/>
            <a:ext cx="1108667" cy="449636"/>
            <a:chOff x="19607719" y="10589416"/>
            <a:chExt cx="2512979" cy="1019175"/>
          </a:xfrm>
          <a:solidFill>
            <a:schemeClr val="tx2">
              <a:lumMod val="75000"/>
            </a:schemeClr>
          </a:solidFill>
        </p:grpSpPr>
        <p:sp>
          <p:nvSpPr>
            <p:cNvPr id="67" name="Rectangle: Rounded Corners 66">
              <a:extLst>
                <a:ext uri="{FF2B5EF4-FFF2-40B4-BE49-F238E27FC236}">
                  <a16:creationId xmlns:a16="http://schemas.microsoft.com/office/drawing/2014/main" id="{B1527DF5-59FE-424F-9EC4-FE4C64D69E92}"/>
                </a:ext>
              </a:extLst>
            </p:cNvPr>
            <p:cNvSpPr/>
            <p:nvPr/>
          </p:nvSpPr>
          <p:spPr>
            <a:xfrm>
              <a:off x="19607719" y="10589416"/>
              <a:ext cx="2512979" cy="1019175"/>
            </a:xfrm>
            <a:prstGeom prst="roundRect">
              <a:avLst/>
            </a:prstGeom>
            <a:grpFill/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01696"/>
              <a:endParaRPr lang="en-US" sz="1191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750ADE54-16C9-4CA9-A8E8-8B3E0070B09D}"/>
                </a:ext>
              </a:extLst>
            </p:cNvPr>
            <p:cNvSpPr txBox="1"/>
            <p:nvPr/>
          </p:nvSpPr>
          <p:spPr>
            <a:xfrm>
              <a:off x="19912101" y="10671143"/>
              <a:ext cx="1866900" cy="701844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 defTabSz="201696"/>
              <a:endParaRPr lang="en-US" sz="1412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F3D4A6DA-8422-46AB-9A21-F05BECDA1525}"/>
              </a:ext>
            </a:extLst>
          </p:cNvPr>
          <p:cNvGrpSpPr/>
          <p:nvPr/>
        </p:nvGrpSpPr>
        <p:grpSpPr>
          <a:xfrm>
            <a:off x="2664518" y="5414278"/>
            <a:ext cx="1108667" cy="449636"/>
            <a:chOff x="627029" y="13644561"/>
            <a:chExt cx="2512979" cy="1019175"/>
          </a:xfrm>
          <a:solidFill>
            <a:schemeClr val="accent2">
              <a:lumMod val="50000"/>
            </a:schemeClr>
          </a:solidFill>
        </p:grpSpPr>
        <p:sp>
          <p:nvSpPr>
            <p:cNvPr id="54" name="Rectangle: Rounded Corners 53">
              <a:extLst>
                <a:ext uri="{FF2B5EF4-FFF2-40B4-BE49-F238E27FC236}">
                  <a16:creationId xmlns:a16="http://schemas.microsoft.com/office/drawing/2014/main" id="{C6A0CF00-A22D-4D92-9055-BD94DCC194FF}"/>
                </a:ext>
              </a:extLst>
            </p:cNvPr>
            <p:cNvSpPr/>
            <p:nvPr/>
          </p:nvSpPr>
          <p:spPr>
            <a:xfrm>
              <a:off x="627029" y="13644561"/>
              <a:ext cx="2512979" cy="1019175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01696"/>
              <a:endParaRPr lang="en-US" sz="1191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1852E05D-DD63-4107-A2CD-31DBAFE15AA3}"/>
                </a:ext>
              </a:extLst>
            </p:cNvPr>
            <p:cNvSpPr txBox="1"/>
            <p:nvPr/>
          </p:nvSpPr>
          <p:spPr>
            <a:xfrm>
              <a:off x="904630" y="13801732"/>
              <a:ext cx="1866900" cy="701844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201696"/>
              <a:endParaRPr lang="en-US" sz="1412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730774A1-CC0E-468A-A00D-2E67F4F409BA}"/>
              </a:ext>
            </a:extLst>
          </p:cNvPr>
          <p:cNvGrpSpPr/>
          <p:nvPr/>
        </p:nvGrpSpPr>
        <p:grpSpPr>
          <a:xfrm>
            <a:off x="886816" y="902185"/>
            <a:ext cx="1400811" cy="680757"/>
            <a:chOff x="180290" y="2155576"/>
            <a:chExt cx="3600450" cy="1543050"/>
          </a:xfrm>
          <a:solidFill>
            <a:srgbClr val="002060"/>
          </a:solidFill>
        </p:grpSpPr>
        <p:sp>
          <p:nvSpPr>
            <p:cNvPr id="51" name="Rectangle: Rounded Corners 50">
              <a:extLst>
                <a:ext uri="{FF2B5EF4-FFF2-40B4-BE49-F238E27FC236}">
                  <a16:creationId xmlns:a16="http://schemas.microsoft.com/office/drawing/2014/main" id="{D04CC7AA-E688-4D95-A19E-0237E34DEB01}"/>
                </a:ext>
              </a:extLst>
            </p:cNvPr>
            <p:cNvSpPr/>
            <p:nvPr/>
          </p:nvSpPr>
          <p:spPr>
            <a:xfrm>
              <a:off x="180290" y="2155576"/>
              <a:ext cx="3600450" cy="154305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01696"/>
              <a:endParaRPr lang="en-US" sz="1191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B46514FA-5507-4F55-A167-596593CDAA6E}"/>
                </a:ext>
              </a:extLst>
            </p:cNvPr>
            <p:cNvSpPr txBox="1"/>
            <p:nvPr/>
          </p:nvSpPr>
          <p:spPr>
            <a:xfrm>
              <a:off x="544892" y="2523975"/>
              <a:ext cx="3114735" cy="70184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201696"/>
              <a:endParaRPr lang="en-US" sz="1412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27187FC4-19B9-47A7-90BC-9C54A7021F64}"/>
              </a:ext>
            </a:extLst>
          </p:cNvPr>
          <p:cNvGrpSpPr/>
          <p:nvPr/>
        </p:nvGrpSpPr>
        <p:grpSpPr>
          <a:xfrm>
            <a:off x="1505241" y="2243342"/>
            <a:ext cx="1108667" cy="449636"/>
            <a:chOff x="3812837" y="7100887"/>
            <a:chExt cx="2512979" cy="1019175"/>
          </a:xfrm>
          <a:solidFill>
            <a:schemeClr val="accent2">
              <a:lumMod val="50000"/>
            </a:schemeClr>
          </a:solidFill>
        </p:grpSpPr>
        <p:sp>
          <p:nvSpPr>
            <p:cNvPr id="56" name="Rectangle: Rounded Corners 55">
              <a:extLst>
                <a:ext uri="{FF2B5EF4-FFF2-40B4-BE49-F238E27FC236}">
                  <a16:creationId xmlns:a16="http://schemas.microsoft.com/office/drawing/2014/main" id="{F1EA88E1-EF5E-496C-B26B-C7CDA81B8EB7}"/>
                </a:ext>
              </a:extLst>
            </p:cNvPr>
            <p:cNvSpPr/>
            <p:nvPr/>
          </p:nvSpPr>
          <p:spPr>
            <a:xfrm>
              <a:off x="3812837" y="7100887"/>
              <a:ext cx="2512979" cy="1019175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01696"/>
              <a:endParaRPr lang="en-US" sz="1191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30C2F217-62F9-4724-A133-010EE3FC0899}"/>
                </a:ext>
              </a:extLst>
            </p:cNvPr>
            <p:cNvSpPr txBox="1"/>
            <p:nvPr/>
          </p:nvSpPr>
          <p:spPr>
            <a:xfrm>
              <a:off x="4443877" y="7264751"/>
              <a:ext cx="1866900" cy="701844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201696"/>
              <a:endParaRPr lang="en-US" sz="1412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243E01AB-E8BD-4DF9-8801-6A72C6C1CDAE}"/>
              </a:ext>
            </a:extLst>
          </p:cNvPr>
          <p:cNvGrpSpPr/>
          <p:nvPr/>
        </p:nvGrpSpPr>
        <p:grpSpPr>
          <a:xfrm>
            <a:off x="2773989" y="3017820"/>
            <a:ext cx="1108667" cy="449636"/>
            <a:chOff x="5371289" y="8979694"/>
            <a:chExt cx="2512979" cy="1019175"/>
          </a:xfrm>
          <a:solidFill>
            <a:schemeClr val="accent2">
              <a:lumMod val="50000"/>
            </a:schemeClr>
          </a:solidFill>
        </p:grpSpPr>
        <p:sp>
          <p:nvSpPr>
            <p:cNvPr id="55" name="Rectangle: Rounded Corners 54">
              <a:extLst>
                <a:ext uri="{FF2B5EF4-FFF2-40B4-BE49-F238E27FC236}">
                  <a16:creationId xmlns:a16="http://schemas.microsoft.com/office/drawing/2014/main" id="{59B8185B-618D-49E2-9BBF-CC3211210DC2}"/>
                </a:ext>
              </a:extLst>
            </p:cNvPr>
            <p:cNvSpPr/>
            <p:nvPr/>
          </p:nvSpPr>
          <p:spPr>
            <a:xfrm>
              <a:off x="5371289" y="8979694"/>
              <a:ext cx="2512979" cy="1019175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01696"/>
              <a:endParaRPr lang="en-US" sz="1191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98502AFE-8F6A-4D1A-986E-3A719D1DBB74}"/>
                </a:ext>
              </a:extLst>
            </p:cNvPr>
            <p:cNvSpPr txBox="1"/>
            <p:nvPr/>
          </p:nvSpPr>
          <p:spPr>
            <a:xfrm>
              <a:off x="5575699" y="9011554"/>
              <a:ext cx="2117035" cy="563335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201696"/>
              <a:endParaRPr lang="en-US" sz="1015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9CF6EE78-540D-410A-9D21-6F5D52318ABB}"/>
              </a:ext>
            </a:extLst>
          </p:cNvPr>
          <p:cNvGrpSpPr/>
          <p:nvPr/>
        </p:nvGrpSpPr>
        <p:grpSpPr>
          <a:xfrm>
            <a:off x="3094246" y="3827586"/>
            <a:ext cx="1108667" cy="449636"/>
            <a:chOff x="3808379" y="11099005"/>
            <a:chExt cx="2512979" cy="1019175"/>
          </a:xfrm>
          <a:solidFill>
            <a:schemeClr val="accent2">
              <a:lumMod val="5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57" name="Rectangle: Rounded Corners 56">
              <a:extLst>
                <a:ext uri="{FF2B5EF4-FFF2-40B4-BE49-F238E27FC236}">
                  <a16:creationId xmlns:a16="http://schemas.microsoft.com/office/drawing/2014/main" id="{9594257B-BDA4-4CA7-84C6-AAE6E79ECEE7}"/>
                </a:ext>
              </a:extLst>
            </p:cNvPr>
            <p:cNvSpPr/>
            <p:nvPr/>
          </p:nvSpPr>
          <p:spPr>
            <a:xfrm>
              <a:off x="3808379" y="11099005"/>
              <a:ext cx="2512979" cy="1019175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01696"/>
              <a:endParaRPr lang="en-US" sz="1191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7E03C469-7EE0-4E02-A1F6-28E894F9236C}"/>
                </a:ext>
              </a:extLst>
            </p:cNvPr>
            <p:cNvSpPr txBox="1"/>
            <p:nvPr/>
          </p:nvSpPr>
          <p:spPr>
            <a:xfrm>
              <a:off x="4180563" y="11224096"/>
              <a:ext cx="1866900" cy="4402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201696"/>
              <a:endParaRPr lang="en-US" sz="662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015D2B99-CB13-4458-BDC0-FCD0673B57B2}"/>
              </a:ext>
            </a:extLst>
          </p:cNvPr>
          <p:cNvGrpSpPr/>
          <p:nvPr/>
        </p:nvGrpSpPr>
        <p:grpSpPr>
          <a:xfrm>
            <a:off x="10602295" y="3458102"/>
            <a:ext cx="1145994" cy="461925"/>
            <a:chOff x="23577923" y="5725248"/>
            <a:chExt cx="2597587" cy="1047030"/>
          </a:xfrm>
          <a:solidFill>
            <a:srgbClr val="7030A0"/>
          </a:solidFill>
        </p:grpSpPr>
        <p:sp>
          <p:nvSpPr>
            <p:cNvPr id="66" name="Rectangle: Rounded Corners 65">
              <a:extLst>
                <a:ext uri="{FF2B5EF4-FFF2-40B4-BE49-F238E27FC236}">
                  <a16:creationId xmlns:a16="http://schemas.microsoft.com/office/drawing/2014/main" id="{16C1EBFC-C63F-4C2A-9F2C-812F860DECCC}"/>
                </a:ext>
              </a:extLst>
            </p:cNvPr>
            <p:cNvSpPr/>
            <p:nvPr/>
          </p:nvSpPr>
          <p:spPr>
            <a:xfrm>
              <a:off x="23662531" y="5753103"/>
              <a:ext cx="2512979" cy="1019175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01696"/>
              <a:endParaRPr lang="en-US" sz="1191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84D6AA18-512B-4D7A-AC63-7E080F3DB2B2}"/>
                </a:ext>
              </a:extLst>
            </p:cNvPr>
            <p:cNvSpPr txBox="1"/>
            <p:nvPr/>
          </p:nvSpPr>
          <p:spPr>
            <a:xfrm>
              <a:off x="23577923" y="5725248"/>
              <a:ext cx="2327042" cy="70184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201696"/>
              <a:endParaRPr lang="en-US" sz="1412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69" name="Group 168">
            <a:extLst>
              <a:ext uri="{FF2B5EF4-FFF2-40B4-BE49-F238E27FC236}">
                <a16:creationId xmlns:a16="http://schemas.microsoft.com/office/drawing/2014/main" id="{73F4B584-6C9F-43B0-AF73-51ABCB67B911}"/>
              </a:ext>
            </a:extLst>
          </p:cNvPr>
          <p:cNvGrpSpPr/>
          <p:nvPr/>
        </p:nvGrpSpPr>
        <p:grpSpPr>
          <a:xfrm>
            <a:off x="9334147" y="6267066"/>
            <a:ext cx="1108667" cy="449636"/>
            <a:chOff x="17455069" y="12958761"/>
            <a:chExt cx="2512979" cy="1019175"/>
          </a:xfrm>
          <a:solidFill>
            <a:schemeClr val="accent3">
              <a:lumMod val="75000"/>
            </a:schemeClr>
          </a:solidFill>
        </p:grpSpPr>
        <p:grpSp>
          <p:nvGrpSpPr>
            <p:cNvPr id="108" name="Group 107">
              <a:extLst>
                <a:ext uri="{FF2B5EF4-FFF2-40B4-BE49-F238E27FC236}">
                  <a16:creationId xmlns:a16="http://schemas.microsoft.com/office/drawing/2014/main" id="{477387BF-4E97-4219-9C10-962D1DFE9336}"/>
                </a:ext>
              </a:extLst>
            </p:cNvPr>
            <p:cNvGrpSpPr/>
            <p:nvPr/>
          </p:nvGrpSpPr>
          <p:grpSpPr>
            <a:xfrm>
              <a:off x="17455069" y="12958761"/>
              <a:ext cx="2512979" cy="1019175"/>
              <a:chOff x="17455069" y="12958761"/>
              <a:chExt cx="2512979" cy="1019175"/>
            </a:xfrm>
            <a:grpFill/>
          </p:grpSpPr>
          <p:sp>
            <p:nvSpPr>
              <p:cNvPr id="69" name="Rectangle: Rounded Corners 68">
                <a:extLst>
                  <a:ext uri="{FF2B5EF4-FFF2-40B4-BE49-F238E27FC236}">
                    <a16:creationId xmlns:a16="http://schemas.microsoft.com/office/drawing/2014/main" id="{E594091A-D8C9-4A4B-B7D3-55F756432328}"/>
                  </a:ext>
                </a:extLst>
              </p:cNvPr>
              <p:cNvSpPr/>
              <p:nvPr/>
            </p:nvSpPr>
            <p:spPr>
              <a:xfrm>
                <a:off x="17455069" y="12958761"/>
                <a:ext cx="2512979" cy="1019175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01696"/>
                <a:endParaRPr lang="en-US" sz="1191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84" name="TextBox 83">
                <a:extLst>
                  <a:ext uri="{FF2B5EF4-FFF2-40B4-BE49-F238E27FC236}">
                    <a16:creationId xmlns:a16="http://schemas.microsoft.com/office/drawing/2014/main" id="{B3F1C653-9D7C-43B3-A306-367C73D75C63}"/>
                  </a:ext>
                </a:extLst>
              </p:cNvPr>
              <p:cNvSpPr txBox="1"/>
              <p:nvPr/>
            </p:nvSpPr>
            <p:spPr>
              <a:xfrm>
                <a:off x="17754999" y="13151874"/>
                <a:ext cx="1866900" cy="701844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 defTabSz="201696"/>
                <a:endParaRPr lang="en-US" sz="1412" b="1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  <p:pic>
          <p:nvPicPr>
            <p:cNvPr id="142" name="Picture 141">
              <a:extLst>
                <a:ext uri="{FF2B5EF4-FFF2-40B4-BE49-F238E27FC236}">
                  <a16:creationId xmlns:a16="http://schemas.microsoft.com/office/drawing/2014/main" id="{444A3321-8392-431A-8FFF-97A7001629C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351705" y="13813740"/>
              <a:ext cx="525291" cy="92831"/>
            </a:xfrm>
            <a:prstGeom prst="rect">
              <a:avLst/>
            </a:prstGeom>
            <a:grpFill/>
            <a:ln>
              <a:noFill/>
            </a:ln>
          </p:spPr>
        </p:pic>
      </p:grp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51BFA08D-99FA-4140-8447-41418ED51265}"/>
              </a:ext>
            </a:extLst>
          </p:cNvPr>
          <p:cNvGrpSpPr/>
          <p:nvPr/>
        </p:nvGrpSpPr>
        <p:grpSpPr>
          <a:xfrm>
            <a:off x="1578954" y="1582542"/>
            <a:ext cx="1582190" cy="475745"/>
            <a:chOff x="3477152" y="3588001"/>
            <a:chExt cx="4510228" cy="1078355"/>
          </a:xfrm>
        </p:grpSpPr>
        <p:cxnSp>
          <p:nvCxnSpPr>
            <p:cNvPr id="226" name="Connector: Elbow 225">
              <a:extLst>
                <a:ext uri="{FF2B5EF4-FFF2-40B4-BE49-F238E27FC236}">
                  <a16:creationId xmlns:a16="http://schemas.microsoft.com/office/drawing/2014/main" id="{AC43642D-6CCA-40D8-8435-788CF597AD12}"/>
                </a:ext>
              </a:extLst>
            </p:cNvPr>
            <p:cNvCxnSpPr>
              <a:cxnSpLocks/>
              <a:stCxn id="50" idx="2"/>
              <a:endCxn id="51" idx="2"/>
            </p:cNvCxnSpPr>
            <p:nvPr/>
          </p:nvCxnSpPr>
          <p:spPr>
            <a:xfrm rot="5400000" flipH="1">
              <a:off x="5393920" y="1690182"/>
              <a:ext cx="695642" cy="4491279"/>
            </a:xfrm>
            <a:prstGeom prst="bentConnector3">
              <a:avLst>
                <a:gd name="adj1" fmla="val -32862"/>
              </a:avLst>
            </a:prstGeom>
            <a:ln w="28575">
              <a:solidFill>
                <a:srgbClr val="002060"/>
              </a:solidFill>
              <a:headEnd type="none" w="med" len="med"/>
              <a:tailEnd type="arrow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39" name="TextBox 238">
              <a:extLst>
                <a:ext uri="{FF2B5EF4-FFF2-40B4-BE49-F238E27FC236}">
                  <a16:creationId xmlns:a16="http://schemas.microsoft.com/office/drawing/2014/main" id="{E0B32667-142B-41F2-BDB9-B467A2EA37BA}"/>
                </a:ext>
              </a:extLst>
            </p:cNvPr>
            <p:cNvSpPr txBox="1"/>
            <p:nvPr/>
          </p:nvSpPr>
          <p:spPr>
            <a:xfrm>
              <a:off x="3477152" y="4149384"/>
              <a:ext cx="1561748" cy="5169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201696"/>
              <a:endParaRPr lang="en-US" sz="882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49" name="Group 248">
            <a:extLst>
              <a:ext uri="{FF2B5EF4-FFF2-40B4-BE49-F238E27FC236}">
                <a16:creationId xmlns:a16="http://schemas.microsoft.com/office/drawing/2014/main" id="{C924990B-7803-4A0F-B88F-7E6C79B8C489}"/>
              </a:ext>
            </a:extLst>
          </p:cNvPr>
          <p:cNvGrpSpPr/>
          <p:nvPr/>
        </p:nvGrpSpPr>
        <p:grpSpPr>
          <a:xfrm>
            <a:off x="3548988" y="1889842"/>
            <a:ext cx="1185001" cy="509269"/>
            <a:chOff x="6517458" y="2680581"/>
            <a:chExt cx="5580101" cy="2886176"/>
          </a:xfrm>
        </p:grpSpPr>
        <p:cxnSp>
          <p:nvCxnSpPr>
            <p:cNvPr id="192" name="Connector: Elbow 191">
              <a:extLst>
                <a:ext uri="{FF2B5EF4-FFF2-40B4-BE49-F238E27FC236}">
                  <a16:creationId xmlns:a16="http://schemas.microsoft.com/office/drawing/2014/main" id="{03FFB8C7-273D-4927-98CE-697FE6B563FD}"/>
                </a:ext>
              </a:extLst>
            </p:cNvPr>
            <p:cNvCxnSpPr>
              <a:cxnSpLocks/>
              <a:stCxn id="50" idx="2"/>
            </p:cNvCxnSpPr>
            <p:nvPr/>
          </p:nvCxnSpPr>
          <p:spPr>
            <a:xfrm rot="16200000" flipH="1">
              <a:off x="8027511" y="1170528"/>
              <a:ext cx="2559995" cy="5580101"/>
            </a:xfrm>
            <a:prstGeom prst="bentConnector2">
              <a:avLst/>
            </a:prstGeom>
            <a:ln w="28575">
              <a:solidFill>
                <a:srgbClr val="002060"/>
              </a:solidFill>
              <a:headEnd type="none" w="med" len="med"/>
              <a:tailEnd type="arrow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51" name="TextBox 250">
              <a:extLst>
                <a:ext uri="{FF2B5EF4-FFF2-40B4-BE49-F238E27FC236}">
                  <a16:creationId xmlns:a16="http://schemas.microsoft.com/office/drawing/2014/main" id="{EB4316A7-334B-42D5-BD0E-8F62C86831AD}"/>
                </a:ext>
              </a:extLst>
            </p:cNvPr>
            <p:cNvSpPr txBox="1"/>
            <p:nvPr/>
          </p:nvSpPr>
          <p:spPr>
            <a:xfrm>
              <a:off x="8433889" y="4274184"/>
              <a:ext cx="2987687" cy="12925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201696"/>
              <a:endParaRPr lang="en-US" sz="882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72" name="Group 271">
            <a:extLst>
              <a:ext uri="{FF2B5EF4-FFF2-40B4-BE49-F238E27FC236}">
                <a16:creationId xmlns:a16="http://schemas.microsoft.com/office/drawing/2014/main" id="{D9C8A8E2-FDE4-4A28-B9C0-28AB9C061EC8}"/>
              </a:ext>
            </a:extLst>
          </p:cNvPr>
          <p:cNvGrpSpPr/>
          <p:nvPr/>
        </p:nvGrpSpPr>
        <p:grpSpPr>
          <a:xfrm>
            <a:off x="5659352" y="276217"/>
            <a:ext cx="4070560" cy="1712665"/>
            <a:chOff x="12650738" y="475269"/>
            <a:chExt cx="7652808" cy="4015770"/>
          </a:xfrm>
        </p:grpSpPr>
        <p:cxnSp>
          <p:nvCxnSpPr>
            <p:cNvPr id="131" name="Connector: Elbow 130">
              <a:extLst>
                <a:ext uri="{FF2B5EF4-FFF2-40B4-BE49-F238E27FC236}">
                  <a16:creationId xmlns:a16="http://schemas.microsoft.com/office/drawing/2014/main" id="{4B069E7C-9CEA-462C-9602-4ABA987D07F9}"/>
                </a:ext>
              </a:extLst>
            </p:cNvPr>
            <p:cNvCxnSpPr>
              <a:cxnSpLocks/>
            </p:cNvCxnSpPr>
            <p:nvPr/>
          </p:nvCxnSpPr>
          <p:spPr>
            <a:xfrm rot="10800000" flipV="1">
              <a:off x="12650738" y="1139917"/>
              <a:ext cx="7374173" cy="3351122"/>
            </a:xfrm>
            <a:prstGeom prst="bentConnector2">
              <a:avLst/>
            </a:prstGeom>
            <a:ln w="28575">
              <a:solidFill>
                <a:srgbClr val="C00000"/>
              </a:solidFill>
              <a:headEnd type="none" w="med" len="med"/>
              <a:tailEnd type="arrow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70" name="TextBox 269">
              <a:extLst>
                <a:ext uri="{FF2B5EF4-FFF2-40B4-BE49-F238E27FC236}">
                  <a16:creationId xmlns:a16="http://schemas.microsoft.com/office/drawing/2014/main" id="{BCEFBBFA-0A14-4B08-A613-1068A5DA04C8}"/>
                </a:ext>
              </a:extLst>
            </p:cNvPr>
            <p:cNvSpPr txBox="1"/>
            <p:nvPr/>
          </p:nvSpPr>
          <p:spPr>
            <a:xfrm>
              <a:off x="17783757" y="475269"/>
              <a:ext cx="2519789" cy="5347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201696"/>
              <a:endParaRPr lang="en-US" sz="882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77" name="Group 276">
            <a:extLst>
              <a:ext uri="{FF2B5EF4-FFF2-40B4-BE49-F238E27FC236}">
                <a16:creationId xmlns:a16="http://schemas.microsoft.com/office/drawing/2014/main" id="{73A5D24B-5DB5-46CB-888F-01311B32E2D2}"/>
              </a:ext>
            </a:extLst>
          </p:cNvPr>
          <p:cNvGrpSpPr/>
          <p:nvPr/>
        </p:nvGrpSpPr>
        <p:grpSpPr>
          <a:xfrm>
            <a:off x="7012126" y="724099"/>
            <a:ext cx="2929513" cy="1785715"/>
            <a:chOff x="17349780" y="1649083"/>
            <a:chExt cx="5505093" cy="3641002"/>
          </a:xfrm>
        </p:grpSpPr>
        <p:cxnSp>
          <p:nvCxnSpPr>
            <p:cNvPr id="218" name="Connector: Elbow 217">
              <a:extLst>
                <a:ext uri="{FF2B5EF4-FFF2-40B4-BE49-F238E27FC236}">
                  <a16:creationId xmlns:a16="http://schemas.microsoft.com/office/drawing/2014/main" id="{F56DD4C0-FBE7-4BF8-8AE8-53FE336729C5}"/>
                </a:ext>
              </a:extLst>
            </p:cNvPr>
            <p:cNvCxnSpPr>
              <a:cxnSpLocks/>
              <a:endCxn id="71" idx="2"/>
            </p:cNvCxnSpPr>
            <p:nvPr/>
          </p:nvCxnSpPr>
          <p:spPr>
            <a:xfrm flipV="1">
              <a:off x="17565643" y="1649083"/>
              <a:ext cx="5289230" cy="3509699"/>
            </a:xfrm>
            <a:prstGeom prst="bentConnector2">
              <a:avLst/>
            </a:prstGeom>
            <a:ln w="28575">
              <a:solidFill>
                <a:srgbClr val="5B9BD5"/>
              </a:solidFill>
              <a:headEnd type="none" w="med" len="med"/>
              <a:tailEnd type="arrow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76" name="TextBox 275">
              <a:extLst>
                <a:ext uri="{FF2B5EF4-FFF2-40B4-BE49-F238E27FC236}">
                  <a16:creationId xmlns:a16="http://schemas.microsoft.com/office/drawing/2014/main" id="{15DD1AC5-CB68-42BF-8D2C-E8EB4F866BF3}"/>
                </a:ext>
              </a:extLst>
            </p:cNvPr>
            <p:cNvSpPr txBox="1"/>
            <p:nvPr/>
          </p:nvSpPr>
          <p:spPr>
            <a:xfrm>
              <a:off x="17349780" y="4825047"/>
              <a:ext cx="1561748" cy="4650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201696"/>
              <a:endParaRPr lang="en-US" sz="882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90" name="Group 289">
            <a:extLst>
              <a:ext uri="{FF2B5EF4-FFF2-40B4-BE49-F238E27FC236}">
                <a16:creationId xmlns:a16="http://schemas.microsoft.com/office/drawing/2014/main" id="{5D0C2847-AF96-4FA2-A292-F397A829D6C1}"/>
              </a:ext>
            </a:extLst>
          </p:cNvPr>
          <p:cNvGrpSpPr/>
          <p:nvPr/>
        </p:nvGrpSpPr>
        <p:grpSpPr>
          <a:xfrm>
            <a:off x="3041896" y="3428547"/>
            <a:ext cx="503759" cy="399036"/>
            <a:chOff x="6409941" y="7771374"/>
            <a:chExt cx="835293" cy="904482"/>
          </a:xfrm>
        </p:grpSpPr>
        <p:cxnSp>
          <p:nvCxnSpPr>
            <p:cNvPr id="205" name="Connector: Elbow 204">
              <a:extLst>
                <a:ext uri="{FF2B5EF4-FFF2-40B4-BE49-F238E27FC236}">
                  <a16:creationId xmlns:a16="http://schemas.microsoft.com/office/drawing/2014/main" id="{77B6F1FD-AB4C-453F-A720-03C7A0ADB3FC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6364753" y="7904752"/>
              <a:ext cx="816292" cy="725916"/>
            </a:xfrm>
            <a:prstGeom prst="bentConnector3">
              <a:avLst>
                <a:gd name="adj1" fmla="val 30462"/>
              </a:avLst>
            </a:prstGeom>
            <a:ln w="28575">
              <a:solidFill>
                <a:srgbClr val="843C0C"/>
              </a:solidFill>
              <a:headEnd type="none" w="med" len="med"/>
              <a:tailEnd type="arrow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87" name="TextBox 286">
              <a:extLst>
                <a:ext uri="{FF2B5EF4-FFF2-40B4-BE49-F238E27FC236}">
                  <a16:creationId xmlns:a16="http://schemas.microsoft.com/office/drawing/2014/main" id="{A342165A-2A8B-49F1-B0D2-8EBC0263E07F}"/>
                </a:ext>
              </a:extLst>
            </p:cNvPr>
            <p:cNvSpPr txBox="1"/>
            <p:nvPr/>
          </p:nvSpPr>
          <p:spPr>
            <a:xfrm>
              <a:off x="6418116" y="7771374"/>
              <a:ext cx="827118" cy="5169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201696"/>
              <a:endParaRPr lang="en-US" sz="882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94" name="Group 293">
            <a:extLst>
              <a:ext uri="{FF2B5EF4-FFF2-40B4-BE49-F238E27FC236}">
                <a16:creationId xmlns:a16="http://schemas.microsoft.com/office/drawing/2014/main" id="{EE7CB607-1EA7-4B30-8AB7-BF416BECC856}"/>
              </a:ext>
            </a:extLst>
          </p:cNvPr>
          <p:cNvGrpSpPr/>
          <p:nvPr/>
        </p:nvGrpSpPr>
        <p:grpSpPr>
          <a:xfrm>
            <a:off x="3147778" y="4004787"/>
            <a:ext cx="2200020" cy="1409490"/>
            <a:chOff x="209560" y="9220199"/>
            <a:chExt cx="12178653" cy="3373337"/>
          </a:xfrm>
        </p:grpSpPr>
        <p:cxnSp>
          <p:nvCxnSpPr>
            <p:cNvPr id="219" name="Connector: Elbow 218">
              <a:extLst>
                <a:ext uri="{FF2B5EF4-FFF2-40B4-BE49-F238E27FC236}">
                  <a16:creationId xmlns:a16="http://schemas.microsoft.com/office/drawing/2014/main" id="{08429B5A-81C7-4016-8889-857B9C53DBB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860864" y="5066188"/>
              <a:ext cx="3373337" cy="11681360"/>
            </a:xfrm>
            <a:prstGeom prst="bentConnector3">
              <a:avLst>
                <a:gd name="adj1" fmla="val 72964"/>
              </a:avLst>
            </a:prstGeom>
            <a:ln w="28575">
              <a:solidFill>
                <a:srgbClr val="5B9BD5"/>
              </a:solidFill>
              <a:headEnd type="none" w="med" len="med"/>
              <a:tailEnd type="arrow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93" name="TextBox 292">
              <a:extLst>
                <a:ext uri="{FF2B5EF4-FFF2-40B4-BE49-F238E27FC236}">
                  <a16:creationId xmlns:a16="http://schemas.microsoft.com/office/drawing/2014/main" id="{DF56DFBE-ECA2-4934-A7CD-C2C8F8061F8B}"/>
                </a:ext>
              </a:extLst>
            </p:cNvPr>
            <p:cNvSpPr txBox="1"/>
            <p:nvPr/>
          </p:nvSpPr>
          <p:spPr>
            <a:xfrm>
              <a:off x="209560" y="11659023"/>
              <a:ext cx="3083147" cy="5458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201696"/>
              <a:endParaRPr lang="en-US" sz="882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303" name="Group 302">
            <a:extLst>
              <a:ext uri="{FF2B5EF4-FFF2-40B4-BE49-F238E27FC236}">
                <a16:creationId xmlns:a16="http://schemas.microsoft.com/office/drawing/2014/main" id="{32A51DCD-F6DB-41AE-82A7-7E628A2EED68}"/>
              </a:ext>
            </a:extLst>
          </p:cNvPr>
          <p:cNvGrpSpPr/>
          <p:nvPr/>
        </p:nvGrpSpPr>
        <p:grpSpPr>
          <a:xfrm>
            <a:off x="1944731" y="2796643"/>
            <a:ext cx="2769636" cy="258143"/>
            <a:chOff x="1602361" y="6489506"/>
            <a:chExt cx="8777545" cy="784417"/>
          </a:xfrm>
        </p:grpSpPr>
        <p:cxnSp>
          <p:nvCxnSpPr>
            <p:cNvPr id="198" name="Connector: Elbow 197">
              <a:extLst>
                <a:ext uri="{FF2B5EF4-FFF2-40B4-BE49-F238E27FC236}">
                  <a16:creationId xmlns:a16="http://schemas.microsoft.com/office/drawing/2014/main" id="{F5E8A788-B95F-4828-AC2E-B104E1A2E348}"/>
                </a:ext>
              </a:extLst>
            </p:cNvPr>
            <p:cNvCxnSpPr>
              <a:cxnSpLocks/>
            </p:cNvCxnSpPr>
            <p:nvPr/>
          </p:nvCxnSpPr>
          <p:spPr>
            <a:xfrm rot="10800000" flipV="1">
              <a:off x="1687287" y="6489506"/>
              <a:ext cx="8692619" cy="784417"/>
            </a:xfrm>
            <a:prstGeom prst="bentConnector2">
              <a:avLst/>
            </a:prstGeom>
            <a:ln w="28575">
              <a:solidFill>
                <a:srgbClr val="5B9BD5"/>
              </a:solidFill>
              <a:headEnd type="none" w="med" len="med"/>
              <a:tailEnd type="arrow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02" name="TextBox 301">
              <a:extLst>
                <a:ext uri="{FF2B5EF4-FFF2-40B4-BE49-F238E27FC236}">
                  <a16:creationId xmlns:a16="http://schemas.microsoft.com/office/drawing/2014/main" id="{C141B2FC-8F93-4589-8AA1-C677B94B6C1F}"/>
                </a:ext>
              </a:extLst>
            </p:cNvPr>
            <p:cNvSpPr txBox="1"/>
            <p:nvPr/>
          </p:nvSpPr>
          <p:spPr>
            <a:xfrm>
              <a:off x="1602361" y="6516401"/>
              <a:ext cx="3319803" cy="6930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201696"/>
              <a:endParaRPr lang="en-US" sz="882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317" name="Group 316">
            <a:extLst>
              <a:ext uri="{FF2B5EF4-FFF2-40B4-BE49-F238E27FC236}">
                <a16:creationId xmlns:a16="http://schemas.microsoft.com/office/drawing/2014/main" id="{80353F12-3415-48A3-A488-EAD0BC291CDB}"/>
              </a:ext>
            </a:extLst>
          </p:cNvPr>
          <p:cNvGrpSpPr/>
          <p:nvPr/>
        </p:nvGrpSpPr>
        <p:grpSpPr>
          <a:xfrm>
            <a:off x="7052634" y="2540674"/>
            <a:ext cx="3579570" cy="1154535"/>
            <a:chOff x="15062888" y="4905073"/>
            <a:chExt cx="8976485" cy="3471477"/>
          </a:xfrm>
        </p:grpSpPr>
        <p:cxnSp>
          <p:nvCxnSpPr>
            <p:cNvPr id="258" name="Connector: Elbow 257">
              <a:extLst>
                <a:ext uri="{FF2B5EF4-FFF2-40B4-BE49-F238E27FC236}">
                  <a16:creationId xmlns:a16="http://schemas.microsoft.com/office/drawing/2014/main" id="{719DAA10-9C1E-4729-B2CF-CCDE72A228D9}"/>
                </a:ext>
              </a:extLst>
            </p:cNvPr>
            <p:cNvCxnSpPr>
              <a:cxnSpLocks/>
              <a:endCxn id="66" idx="1"/>
            </p:cNvCxnSpPr>
            <p:nvPr/>
          </p:nvCxnSpPr>
          <p:spPr>
            <a:xfrm>
              <a:off x="15224805" y="5377110"/>
              <a:ext cx="8814568" cy="2999440"/>
            </a:xfrm>
            <a:prstGeom prst="bentConnector3">
              <a:avLst>
                <a:gd name="adj1" fmla="val 41279"/>
              </a:avLst>
            </a:prstGeom>
            <a:ln w="28575">
              <a:solidFill>
                <a:srgbClr val="5B9BD5"/>
              </a:solidFill>
              <a:headEnd type="none" w="med" len="med"/>
              <a:tailEnd type="arrow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16" name="TextBox 315">
              <a:extLst>
                <a:ext uri="{FF2B5EF4-FFF2-40B4-BE49-F238E27FC236}">
                  <a16:creationId xmlns:a16="http://schemas.microsoft.com/office/drawing/2014/main" id="{D68BBFF1-9B00-4C42-B63C-CCDE06B3363D}"/>
                </a:ext>
              </a:extLst>
            </p:cNvPr>
            <p:cNvSpPr txBox="1"/>
            <p:nvPr/>
          </p:nvSpPr>
          <p:spPr>
            <a:xfrm>
              <a:off x="15062888" y="4905073"/>
              <a:ext cx="1833123" cy="6857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201696"/>
              <a:endParaRPr lang="en-US" sz="882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322" name="Group 321">
            <a:extLst>
              <a:ext uri="{FF2B5EF4-FFF2-40B4-BE49-F238E27FC236}">
                <a16:creationId xmlns:a16="http://schemas.microsoft.com/office/drawing/2014/main" id="{3A115B84-07C5-432B-B657-E8F6713CFC73}"/>
              </a:ext>
            </a:extLst>
          </p:cNvPr>
          <p:cNvGrpSpPr/>
          <p:nvPr/>
        </p:nvGrpSpPr>
        <p:grpSpPr>
          <a:xfrm>
            <a:off x="7819205" y="1744729"/>
            <a:ext cx="849213" cy="2307677"/>
            <a:chOff x="16094747" y="4558935"/>
            <a:chExt cx="2777109" cy="4532006"/>
          </a:xfrm>
        </p:grpSpPr>
        <p:cxnSp>
          <p:nvCxnSpPr>
            <p:cNvPr id="189" name="Connector: Elbow 188">
              <a:extLst>
                <a:ext uri="{FF2B5EF4-FFF2-40B4-BE49-F238E27FC236}">
                  <a16:creationId xmlns:a16="http://schemas.microsoft.com/office/drawing/2014/main" id="{7C1DC754-88C9-4F80-A034-8127C87BEAEE}"/>
                </a:ext>
              </a:extLst>
            </p:cNvPr>
            <p:cNvCxnSpPr>
              <a:cxnSpLocks/>
              <a:endCxn id="381" idx="0"/>
            </p:cNvCxnSpPr>
            <p:nvPr/>
          </p:nvCxnSpPr>
          <p:spPr>
            <a:xfrm rot="16200000" flipH="1">
              <a:off x="14382068" y="6768798"/>
              <a:ext cx="4524804" cy="119481"/>
            </a:xfrm>
            <a:prstGeom prst="bentConnector3">
              <a:avLst>
                <a:gd name="adj1" fmla="val 50000"/>
              </a:avLst>
            </a:prstGeom>
            <a:ln w="28575">
              <a:solidFill>
                <a:srgbClr val="C00000"/>
              </a:solidFill>
              <a:headEnd type="none" w="med" len="med"/>
              <a:tailEnd type="arrow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21" name="TextBox 320">
              <a:extLst>
                <a:ext uri="{FF2B5EF4-FFF2-40B4-BE49-F238E27FC236}">
                  <a16:creationId xmlns:a16="http://schemas.microsoft.com/office/drawing/2014/main" id="{A6D48FF4-F39C-4CF0-9B6F-DA7185BC1B8D}"/>
                </a:ext>
              </a:extLst>
            </p:cNvPr>
            <p:cNvSpPr txBox="1"/>
            <p:nvPr/>
          </p:nvSpPr>
          <p:spPr>
            <a:xfrm>
              <a:off x="16094747" y="4558935"/>
              <a:ext cx="2777109" cy="4479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201696"/>
              <a:endParaRPr lang="en-US" sz="882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327" name="Group 326">
            <a:extLst>
              <a:ext uri="{FF2B5EF4-FFF2-40B4-BE49-F238E27FC236}">
                <a16:creationId xmlns:a16="http://schemas.microsoft.com/office/drawing/2014/main" id="{18694030-BE0F-4ACA-B1DA-41D62CEE5C14}"/>
              </a:ext>
            </a:extLst>
          </p:cNvPr>
          <p:cNvGrpSpPr/>
          <p:nvPr/>
        </p:nvGrpSpPr>
        <p:grpSpPr>
          <a:xfrm>
            <a:off x="7009035" y="3618250"/>
            <a:ext cx="942580" cy="426218"/>
            <a:chOff x="15282777" y="-52571069"/>
            <a:chExt cx="3870143" cy="74453233"/>
          </a:xfrm>
        </p:grpSpPr>
        <p:cxnSp>
          <p:nvCxnSpPr>
            <p:cNvPr id="262" name="Connector: Elbow 261">
              <a:extLst>
                <a:ext uri="{FF2B5EF4-FFF2-40B4-BE49-F238E27FC236}">
                  <a16:creationId xmlns:a16="http://schemas.microsoft.com/office/drawing/2014/main" id="{21D6F4DD-FCA4-4C88-93C8-DF3F5C7BB04E}"/>
                </a:ext>
              </a:extLst>
            </p:cNvPr>
            <p:cNvCxnSpPr>
              <a:cxnSpLocks/>
              <a:stCxn id="46" idx="3"/>
              <a:endCxn id="380" idx="0"/>
            </p:cNvCxnSpPr>
            <p:nvPr/>
          </p:nvCxnSpPr>
          <p:spPr>
            <a:xfrm>
              <a:off x="15637051" y="-48618958"/>
              <a:ext cx="3515869" cy="70501122"/>
            </a:xfrm>
            <a:prstGeom prst="bentConnector2">
              <a:avLst/>
            </a:prstGeom>
            <a:ln w="28575">
              <a:solidFill>
                <a:srgbClr val="5B9BD5"/>
              </a:solidFill>
              <a:headEnd type="none" w="med" len="med"/>
              <a:tailEnd type="arrow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24" name="TextBox 323">
              <a:extLst>
                <a:ext uri="{FF2B5EF4-FFF2-40B4-BE49-F238E27FC236}">
                  <a16:creationId xmlns:a16="http://schemas.microsoft.com/office/drawing/2014/main" id="{C9F1C3F5-B219-493C-945E-924252E8528C}"/>
                </a:ext>
              </a:extLst>
            </p:cNvPr>
            <p:cNvSpPr txBox="1"/>
            <p:nvPr/>
          </p:nvSpPr>
          <p:spPr>
            <a:xfrm>
              <a:off x="15282777" y="-52571069"/>
              <a:ext cx="3135100" cy="398411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201696"/>
              <a:endParaRPr lang="tr-TR" sz="882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355" name="Group 354">
            <a:extLst>
              <a:ext uri="{FF2B5EF4-FFF2-40B4-BE49-F238E27FC236}">
                <a16:creationId xmlns:a16="http://schemas.microsoft.com/office/drawing/2014/main" id="{08FD24DD-E30C-4847-AF5E-65FB6CDD0AB5}"/>
              </a:ext>
            </a:extLst>
          </p:cNvPr>
          <p:cNvGrpSpPr/>
          <p:nvPr/>
        </p:nvGrpSpPr>
        <p:grpSpPr>
          <a:xfrm>
            <a:off x="9436109" y="3397916"/>
            <a:ext cx="807041" cy="2869151"/>
            <a:chOff x="18872824" y="8052314"/>
            <a:chExt cx="11489788" cy="6153410"/>
          </a:xfrm>
        </p:grpSpPr>
        <p:cxnSp>
          <p:nvCxnSpPr>
            <p:cNvPr id="203" name="Connector: Elbow 202">
              <a:extLst>
                <a:ext uri="{FF2B5EF4-FFF2-40B4-BE49-F238E27FC236}">
                  <a16:creationId xmlns:a16="http://schemas.microsoft.com/office/drawing/2014/main" id="{FFBB8ED4-8B94-499B-9FA7-D26E371DF82C}"/>
                </a:ext>
              </a:extLst>
            </p:cNvPr>
            <p:cNvCxnSpPr>
              <a:cxnSpLocks/>
              <a:stCxn id="69" idx="0"/>
            </p:cNvCxnSpPr>
            <p:nvPr/>
          </p:nvCxnSpPr>
          <p:spPr>
            <a:xfrm rot="16200000" flipV="1">
              <a:off x="16756775" y="10168363"/>
              <a:ext cx="6153410" cy="1921312"/>
            </a:xfrm>
            <a:prstGeom prst="bentConnector3">
              <a:avLst>
                <a:gd name="adj1" fmla="val 28500"/>
              </a:avLst>
            </a:prstGeom>
            <a:ln w="28575">
              <a:solidFill>
                <a:srgbClr val="7F6000"/>
              </a:solidFill>
              <a:prstDash val="solid"/>
              <a:headEnd type="none" w="med" len="med"/>
              <a:tailEnd type="arrow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51" name="TextBox 350">
              <a:extLst>
                <a:ext uri="{FF2B5EF4-FFF2-40B4-BE49-F238E27FC236}">
                  <a16:creationId xmlns:a16="http://schemas.microsoft.com/office/drawing/2014/main" id="{F1AE74B1-B75C-4F41-9005-20F83ACAA33C}"/>
                </a:ext>
              </a:extLst>
            </p:cNvPr>
            <p:cNvSpPr txBox="1"/>
            <p:nvPr/>
          </p:nvSpPr>
          <p:spPr>
            <a:xfrm>
              <a:off x="19809657" y="13570307"/>
              <a:ext cx="10552955" cy="4891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201696"/>
              <a:endParaRPr lang="en-US" sz="882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375" name="Group 374">
            <a:extLst>
              <a:ext uri="{FF2B5EF4-FFF2-40B4-BE49-F238E27FC236}">
                <a16:creationId xmlns:a16="http://schemas.microsoft.com/office/drawing/2014/main" id="{375D7D4B-6FB2-4A37-91D6-FC780AC6A7C9}"/>
              </a:ext>
            </a:extLst>
          </p:cNvPr>
          <p:cNvGrpSpPr/>
          <p:nvPr/>
        </p:nvGrpSpPr>
        <p:grpSpPr>
          <a:xfrm>
            <a:off x="10124026" y="3186237"/>
            <a:ext cx="562076" cy="1697624"/>
            <a:chOff x="22846192" y="7222136"/>
            <a:chExt cx="1274038" cy="3847948"/>
          </a:xfrm>
        </p:grpSpPr>
        <p:cxnSp>
          <p:nvCxnSpPr>
            <p:cNvPr id="154" name="Connector: Elbow 153">
              <a:extLst>
                <a:ext uri="{FF2B5EF4-FFF2-40B4-BE49-F238E27FC236}">
                  <a16:creationId xmlns:a16="http://schemas.microsoft.com/office/drawing/2014/main" id="{3DA738B2-51C5-4E79-A5F1-980FA26345C7}"/>
                </a:ext>
              </a:extLst>
            </p:cNvPr>
            <p:cNvCxnSpPr>
              <a:cxnSpLocks/>
              <a:stCxn id="68" idx="3"/>
              <a:endCxn id="72" idx="1"/>
            </p:cNvCxnSpPr>
            <p:nvPr/>
          </p:nvCxnSpPr>
          <p:spPr>
            <a:xfrm>
              <a:off x="22846192" y="7222136"/>
              <a:ext cx="1168687" cy="3847948"/>
            </a:xfrm>
            <a:prstGeom prst="bentConnector3">
              <a:avLst>
                <a:gd name="adj1" fmla="val 24526"/>
              </a:avLst>
            </a:prstGeom>
            <a:ln w="28575">
              <a:solidFill>
                <a:srgbClr val="7F6000"/>
              </a:solidFill>
              <a:headEnd type="none" w="med" len="med"/>
              <a:tailEnd type="arrow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65" name="TextBox 364">
              <a:extLst>
                <a:ext uri="{FF2B5EF4-FFF2-40B4-BE49-F238E27FC236}">
                  <a16:creationId xmlns:a16="http://schemas.microsoft.com/office/drawing/2014/main" id="{F5A36F53-F636-4DE4-ACDF-8AA207B610D0}"/>
                </a:ext>
              </a:extLst>
            </p:cNvPr>
            <p:cNvSpPr txBox="1"/>
            <p:nvPr/>
          </p:nvSpPr>
          <p:spPr>
            <a:xfrm>
              <a:off x="23126225" y="10338635"/>
              <a:ext cx="994005" cy="5169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201696"/>
              <a:endParaRPr lang="en-US" sz="882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371" name="Group 370">
            <a:extLst>
              <a:ext uri="{FF2B5EF4-FFF2-40B4-BE49-F238E27FC236}">
                <a16:creationId xmlns:a16="http://schemas.microsoft.com/office/drawing/2014/main" id="{8492A979-9E01-4CA1-9E70-C517A815B067}"/>
              </a:ext>
            </a:extLst>
          </p:cNvPr>
          <p:cNvGrpSpPr/>
          <p:nvPr/>
        </p:nvGrpSpPr>
        <p:grpSpPr>
          <a:xfrm>
            <a:off x="10134538" y="3024412"/>
            <a:ext cx="1110592" cy="437046"/>
            <a:chOff x="24532783" y="6903095"/>
            <a:chExt cx="1757158" cy="1652419"/>
          </a:xfrm>
        </p:grpSpPr>
        <p:cxnSp>
          <p:nvCxnSpPr>
            <p:cNvPr id="187" name="Connector: Elbow 186">
              <a:extLst>
                <a:ext uri="{FF2B5EF4-FFF2-40B4-BE49-F238E27FC236}">
                  <a16:creationId xmlns:a16="http://schemas.microsoft.com/office/drawing/2014/main" id="{EA28B88C-15AE-4287-A04A-8CF5592344DD}"/>
                </a:ext>
              </a:extLst>
            </p:cNvPr>
            <p:cNvCxnSpPr>
              <a:cxnSpLocks/>
            </p:cNvCxnSpPr>
            <p:nvPr/>
          </p:nvCxnSpPr>
          <p:spPr>
            <a:xfrm>
              <a:off x="24532783" y="6972172"/>
              <a:ext cx="1659133" cy="1583342"/>
            </a:xfrm>
            <a:prstGeom prst="bentConnector2">
              <a:avLst/>
            </a:prstGeom>
            <a:ln w="28575">
              <a:solidFill>
                <a:srgbClr val="7F6000"/>
              </a:solidFill>
              <a:headEnd type="none" w="med" len="med"/>
              <a:tailEnd type="arrow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66" name="TextBox 365">
              <a:extLst>
                <a:ext uri="{FF2B5EF4-FFF2-40B4-BE49-F238E27FC236}">
                  <a16:creationId xmlns:a16="http://schemas.microsoft.com/office/drawing/2014/main" id="{C886C77D-63AD-4B72-9D93-849F07BB522F}"/>
                </a:ext>
              </a:extLst>
            </p:cNvPr>
            <p:cNvSpPr txBox="1"/>
            <p:nvPr/>
          </p:nvSpPr>
          <p:spPr>
            <a:xfrm>
              <a:off x="25521385" y="6903095"/>
              <a:ext cx="768556" cy="8623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201696"/>
              <a:endParaRPr lang="en-US" sz="882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369" name="Group 368">
            <a:extLst>
              <a:ext uri="{FF2B5EF4-FFF2-40B4-BE49-F238E27FC236}">
                <a16:creationId xmlns:a16="http://schemas.microsoft.com/office/drawing/2014/main" id="{B4CEE988-AF07-4745-B1F4-4AB5E6A571A0}"/>
              </a:ext>
            </a:extLst>
          </p:cNvPr>
          <p:cNvGrpSpPr/>
          <p:nvPr/>
        </p:nvGrpSpPr>
        <p:grpSpPr>
          <a:xfrm>
            <a:off x="9064044" y="2605825"/>
            <a:ext cx="1929642" cy="355595"/>
            <a:chOff x="21450724" y="5906534"/>
            <a:chExt cx="3366692" cy="806015"/>
          </a:xfrm>
        </p:grpSpPr>
        <p:cxnSp>
          <p:nvCxnSpPr>
            <p:cNvPr id="151" name="Connector: Elbow 150">
              <a:extLst>
                <a:ext uri="{FF2B5EF4-FFF2-40B4-BE49-F238E27FC236}">
                  <a16:creationId xmlns:a16="http://schemas.microsoft.com/office/drawing/2014/main" id="{742FE7BA-1BF5-4503-9166-C6AA5FBC3E03}"/>
                </a:ext>
              </a:extLst>
            </p:cNvPr>
            <p:cNvCxnSpPr>
              <a:cxnSpLocks/>
              <a:stCxn id="68" idx="0"/>
              <a:endCxn id="73" idx="2"/>
            </p:cNvCxnSpPr>
            <p:nvPr/>
          </p:nvCxnSpPr>
          <p:spPr>
            <a:xfrm rot="5400000" flipH="1" flipV="1">
              <a:off x="22800552" y="4695685"/>
              <a:ext cx="806015" cy="3227713"/>
            </a:xfrm>
            <a:prstGeom prst="bentConnector3">
              <a:avLst>
                <a:gd name="adj1" fmla="val 72012"/>
              </a:avLst>
            </a:prstGeom>
            <a:ln w="28575">
              <a:solidFill>
                <a:srgbClr val="7F6000"/>
              </a:solidFill>
              <a:headEnd type="none" w="med" len="med"/>
              <a:tailEnd type="arrow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67" name="TextBox 366">
              <a:extLst>
                <a:ext uri="{FF2B5EF4-FFF2-40B4-BE49-F238E27FC236}">
                  <a16:creationId xmlns:a16="http://schemas.microsoft.com/office/drawing/2014/main" id="{8E718C5A-F23F-4CB1-B57B-EAE215EAED47}"/>
                </a:ext>
              </a:extLst>
            </p:cNvPr>
            <p:cNvSpPr txBox="1"/>
            <p:nvPr/>
          </p:nvSpPr>
          <p:spPr>
            <a:xfrm>
              <a:off x="21450724" y="6103505"/>
              <a:ext cx="940751" cy="5169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201696"/>
              <a:endParaRPr lang="en-US" sz="882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370" name="Group 369">
            <a:extLst>
              <a:ext uri="{FF2B5EF4-FFF2-40B4-BE49-F238E27FC236}">
                <a16:creationId xmlns:a16="http://schemas.microsoft.com/office/drawing/2014/main" id="{CD77F712-5218-4B5E-908E-0E79407DBB6E}"/>
              </a:ext>
            </a:extLst>
          </p:cNvPr>
          <p:cNvGrpSpPr/>
          <p:nvPr/>
        </p:nvGrpSpPr>
        <p:grpSpPr>
          <a:xfrm>
            <a:off x="9610883" y="3436360"/>
            <a:ext cx="526033" cy="1878557"/>
            <a:chOff x="22528543" y="7800504"/>
            <a:chExt cx="1086857" cy="3542915"/>
          </a:xfrm>
        </p:grpSpPr>
        <p:cxnSp>
          <p:nvCxnSpPr>
            <p:cNvPr id="159" name="Connector: Elbow 158">
              <a:extLst>
                <a:ext uri="{FF2B5EF4-FFF2-40B4-BE49-F238E27FC236}">
                  <a16:creationId xmlns:a16="http://schemas.microsoft.com/office/drawing/2014/main" id="{DED204F3-3757-4542-A92F-B4FD1C8B5876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21312274" y="9207073"/>
              <a:ext cx="3542915" cy="729778"/>
            </a:xfrm>
            <a:prstGeom prst="bentConnector3">
              <a:avLst>
                <a:gd name="adj1" fmla="val 50000"/>
              </a:avLst>
            </a:prstGeom>
            <a:ln w="28575">
              <a:solidFill>
                <a:srgbClr val="7F6000"/>
              </a:solidFill>
              <a:headEnd type="none" w="med" len="med"/>
              <a:tailEnd type="arrow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68" name="TextBox 367">
              <a:extLst>
                <a:ext uri="{FF2B5EF4-FFF2-40B4-BE49-F238E27FC236}">
                  <a16:creationId xmlns:a16="http://schemas.microsoft.com/office/drawing/2014/main" id="{BBC157C1-392F-4A8E-A9C2-4AE5E17CCD0F}"/>
                </a:ext>
              </a:extLst>
            </p:cNvPr>
            <p:cNvSpPr txBox="1"/>
            <p:nvPr/>
          </p:nvSpPr>
          <p:spPr>
            <a:xfrm>
              <a:off x="22528543" y="9532840"/>
              <a:ext cx="1086857" cy="4301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201696"/>
              <a:endParaRPr lang="en-US" sz="882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373" name="Group 372">
            <a:extLst>
              <a:ext uri="{FF2B5EF4-FFF2-40B4-BE49-F238E27FC236}">
                <a16:creationId xmlns:a16="http://schemas.microsoft.com/office/drawing/2014/main" id="{26D9432D-569A-4F0A-8D46-4CA65B4C1C73}"/>
              </a:ext>
            </a:extLst>
          </p:cNvPr>
          <p:cNvGrpSpPr/>
          <p:nvPr/>
        </p:nvGrpSpPr>
        <p:grpSpPr>
          <a:xfrm>
            <a:off x="7957484" y="3442002"/>
            <a:ext cx="1387415" cy="2673607"/>
            <a:chOff x="17016584" y="7801870"/>
            <a:chExt cx="7036825" cy="5672302"/>
          </a:xfrm>
        </p:grpSpPr>
        <p:cxnSp>
          <p:nvCxnSpPr>
            <p:cNvPr id="153" name="Connector: Elbow 152">
              <a:extLst>
                <a:ext uri="{FF2B5EF4-FFF2-40B4-BE49-F238E27FC236}">
                  <a16:creationId xmlns:a16="http://schemas.microsoft.com/office/drawing/2014/main" id="{AA794C51-CC50-4456-A239-B38B4CEBE33B}"/>
                </a:ext>
              </a:extLst>
            </p:cNvPr>
            <p:cNvCxnSpPr>
              <a:cxnSpLocks/>
            </p:cNvCxnSpPr>
            <p:nvPr/>
          </p:nvCxnSpPr>
          <p:spPr>
            <a:xfrm rot="10800000" flipV="1">
              <a:off x="17016584" y="7801870"/>
              <a:ext cx="6608989" cy="5672302"/>
            </a:xfrm>
            <a:prstGeom prst="bentConnector3">
              <a:avLst>
                <a:gd name="adj1" fmla="val -554"/>
              </a:avLst>
            </a:prstGeom>
            <a:ln w="28575">
              <a:solidFill>
                <a:srgbClr val="7F6000"/>
              </a:solidFill>
              <a:headEnd type="none" w="med" len="med"/>
              <a:tailEnd type="arrow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72" name="TextBox 371">
              <a:extLst>
                <a:ext uri="{FF2B5EF4-FFF2-40B4-BE49-F238E27FC236}">
                  <a16:creationId xmlns:a16="http://schemas.microsoft.com/office/drawing/2014/main" id="{F58A356E-C2CB-4A7F-A0BD-4085F2F385E7}"/>
                </a:ext>
              </a:extLst>
            </p:cNvPr>
            <p:cNvSpPr txBox="1"/>
            <p:nvPr/>
          </p:nvSpPr>
          <p:spPr>
            <a:xfrm>
              <a:off x="21557296" y="12772188"/>
              <a:ext cx="2496113" cy="4838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201696"/>
              <a:endParaRPr lang="en-US" sz="882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7C9C6BB8-74E9-437F-8E0F-A2D16B347D43}"/>
              </a:ext>
            </a:extLst>
          </p:cNvPr>
          <p:cNvGrpSpPr/>
          <p:nvPr/>
        </p:nvGrpSpPr>
        <p:grpSpPr>
          <a:xfrm>
            <a:off x="2099878" y="6024523"/>
            <a:ext cx="1108667" cy="449636"/>
            <a:chOff x="514350" y="6062662"/>
            <a:chExt cx="2512979" cy="1019175"/>
          </a:xfrm>
          <a:solidFill>
            <a:srgbClr val="5B9BD5"/>
          </a:solidFill>
        </p:grpSpPr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2FB7157E-3D79-4A4A-8B9A-4E616069A8D0}"/>
                </a:ext>
              </a:extLst>
            </p:cNvPr>
            <p:cNvGrpSpPr/>
            <p:nvPr/>
          </p:nvGrpSpPr>
          <p:grpSpPr>
            <a:xfrm>
              <a:off x="514350" y="6062662"/>
              <a:ext cx="2512979" cy="1019175"/>
              <a:chOff x="514350" y="6062662"/>
              <a:chExt cx="2512979" cy="1019175"/>
            </a:xfrm>
            <a:grpFill/>
          </p:grpSpPr>
          <p:sp>
            <p:nvSpPr>
              <p:cNvPr id="53" name="Rectangle: Rounded Corners 52">
                <a:extLst>
                  <a:ext uri="{FF2B5EF4-FFF2-40B4-BE49-F238E27FC236}">
                    <a16:creationId xmlns:a16="http://schemas.microsoft.com/office/drawing/2014/main" id="{5AFC7581-715B-4715-A771-8D4A9D9B5849}"/>
                  </a:ext>
                </a:extLst>
              </p:cNvPr>
              <p:cNvSpPr/>
              <p:nvPr/>
            </p:nvSpPr>
            <p:spPr>
              <a:xfrm>
                <a:off x="514350" y="6062662"/>
                <a:ext cx="2512979" cy="1019175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01696"/>
                <a:endParaRPr lang="en-US" sz="1191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7" name="TextBox 76">
                <a:extLst>
                  <a:ext uri="{FF2B5EF4-FFF2-40B4-BE49-F238E27FC236}">
                    <a16:creationId xmlns:a16="http://schemas.microsoft.com/office/drawing/2014/main" id="{B7DE4399-F616-4521-A746-6DF4D4C680D1}"/>
                  </a:ext>
                </a:extLst>
              </p:cNvPr>
              <p:cNvSpPr txBox="1"/>
              <p:nvPr/>
            </p:nvSpPr>
            <p:spPr>
              <a:xfrm>
                <a:off x="772650" y="6239156"/>
                <a:ext cx="1866900" cy="701844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 defTabSz="201696"/>
                <a:r>
                  <a:rPr lang="tr-TR" sz="1412" b="1" dirty="0">
                    <a:solidFill>
                      <a:prstClr val="white"/>
                    </a:solidFill>
                    <a:latin typeface="Calibri" panose="020F0502020204030204"/>
                  </a:rPr>
                  <a:t>FIORI</a:t>
                </a:r>
                <a:endParaRPr lang="en-US" sz="1412" b="1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  <p:pic>
          <p:nvPicPr>
            <p:cNvPr id="143" name="Picture 142" descr="Logo&#10;&#10;Description automatically generated">
              <a:extLst>
                <a:ext uri="{FF2B5EF4-FFF2-40B4-BE49-F238E27FC236}">
                  <a16:creationId xmlns:a16="http://schemas.microsoft.com/office/drawing/2014/main" id="{F582848D-147C-469B-B8BA-975F63913D6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9193" y="6724797"/>
              <a:ext cx="624855" cy="309484"/>
            </a:xfrm>
            <a:prstGeom prst="rect">
              <a:avLst/>
            </a:prstGeom>
            <a:grpFill/>
            <a:ln>
              <a:noFill/>
            </a:ln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F2C833D3-12A4-4DF9-A49A-8D3A61913F77}"/>
              </a:ext>
            </a:extLst>
          </p:cNvPr>
          <p:cNvGrpSpPr/>
          <p:nvPr/>
        </p:nvGrpSpPr>
        <p:grpSpPr>
          <a:xfrm>
            <a:off x="4153136" y="3476048"/>
            <a:ext cx="647065" cy="533560"/>
            <a:chOff x="9321873" y="8435297"/>
            <a:chExt cx="2025853" cy="923895"/>
          </a:xfrm>
        </p:grpSpPr>
        <p:cxnSp>
          <p:nvCxnSpPr>
            <p:cNvPr id="202" name="Connector: Elbow 201">
              <a:extLst>
                <a:ext uri="{FF2B5EF4-FFF2-40B4-BE49-F238E27FC236}">
                  <a16:creationId xmlns:a16="http://schemas.microsoft.com/office/drawing/2014/main" id="{DCAA24EB-7EC2-4208-8FF9-F1A5ABF83A22}"/>
                </a:ext>
              </a:extLst>
            </p:cNvPr>
            <p:cNvCxnSpPr>
              <a:cxnSpLocks/>
              <a:endCxn id="57" idx="3"/>
            </p:cNvCxnSpPr>
            <p:nvPr/>
          </p:nvCxnSpPr>
          <p:spPr>
            <a:xfrm rot="10800000" flipV="1">
              <a:off x="9461069" y="8435297"/>
              <a:ext cx="1886657" cy="923895"/>
            </a:xfrm>
            <a:prstGeom prst="bentConnector3">
              <a:avLst>
                <a:gd name="adj1" fmla="val 28040"/>
              </a:avLst>
            </a:prstGeom>
            <a:ln w="28575">
              <a:solidFill>
                <a:srgbClr val="5B9BD5"/>
              </a:solidFill>
              <a:headEnd type="none" w="med" len="med"/>
              <a:tailEnd type="arrow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94" name="TextBox 193">
              <a:extLst>
                <a:ext uri="{FF2B5EF4-FFF2-40B4-BE49-F238E27FC236}">
                  <a16:creationId xmlns:a16="http://schemas.microsoft.com/office/drawing/2014/main" id="{634DF8FE-6D3E-4C13-B1DD-A5D4EC2387D7}"/>
                </a:ext>
              </a:extLst>
            </p:cNvPr>
            <p:cNvSpPr txBox="1"/>
            <p:nvPr/>
          </p:nvSpPr>
          <p:spPr>
            <a:xfrm>
              <a:off x="9321873" y="8852175"/>
              <a:ext cx="1561751" cy="3949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201696"/>
              <a:endParaRPr lang="en-US" sz="882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9692EF7-34AA-475E-BFC6-F6D6171FCA41}"/>
              </a:ext>
            </a:extLst>
          </p:cNvPr>
          <p:cNvGrpSpPr/>
          <p:nvPr/>
        </p:nvGrpSpPr>
        <p:grpSpPr>
          <a:xfrm>
            <a:off x="8249540" y="5483618"/>
            <a:ext cx="557689" cy="587791"/>
            <a:chOff x="18259961" y="10617182"/>
            <a:chExt cx="1471773" cy="1622214"/>
          </a:xfrm>
        </p:grpSpPr>
        <p:pic>
          <p:nvPicPr>
            <p:cNvPr id="216" name="Picture 215" descr="Icon&#10;&#10;Description automatically generated">
              <a:extLst>
                <a:ext uri="{FF2B5EF4-FFF2-40B4-BE49-F238E27FC236}">
                  <a16:creationId xmlns:a16="http://schemas.microsoft.com/office/drawing/2014/main" id="{BABCB88D-6289-432C-8C2B-2E9063EF83E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592445" y="10617182"/>
              <a:ext cx="806806" cy="806806"/>
            </a:xfrm>
            <a:prstGeom prst="rect">
              <a:avLst/>
            </a:prstGeom>
          </p:spPr>
        </p:pic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id="{5B2890D2-D4A0-4B2D-B0F4-3FD812D27AC8}"/>
                </a:ext>
              </a:extLst>
            </p:cNvPr>
            <p:cNvSpPr txBox="1"/>
            <p:nvPr/>
          </p:nvSpPr>
          <p:spPr>
            <a:xfrm>
              <a:off x="18259961" y="11422186"/>
              <a:ext cx="1471773" cy="8172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201696"/>
              <a:r>
                <a:rPr lang="tr-TR" sz="662" dirty="0">
                  <a:solidFill>
                    <a:prstClr val="black"/>
                  </a:solidFill>
                  <a:latin typeface="Calibri" panose="020F0502020204030204"/>
                </a:rPr>
                <a:t>Mobile </a:t>
              </a:r>
              <a:r>
                <a:rPr lang="tr-TR" sz="662" dirty="0" err="1">
                  <a:solidFill>
                    <a:prstClr val="black"/>
                  </a:solidFill>
                  <a:latin typeface="Calibri" panose="020F0502020204030204"/>
                </a:rPr>
                <a:t>App</a:t>
              </a:r>
              <a:endParaRPr lang="en-US" sz="662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34" name="Group 233">
            <a:extLst>
              <a:ext uri="{FF2B5EF4-FFF2-40B4-BE49-F238E27FC236}">
                <a16:creationId xmlns:a16="http://schemas.microsoft.com/office/drawing/2014/main" id="{EA095E39-0584-4E51-8F02-55342938B6BC}"/>
              </a:ext>
            </a:extLst>
          </p:cNvPr>
          <p:cNvGrpSpPr/>
          <p:nvPr/>
        </p:nvGrpSpPr>
        <p:grpSpPr>
          <a:xfrm>
            <a:off x="7012807" y="75000"/>
            <a:ext cx="559133" cy="608005"/>
            <a:chOff x="18259961" y="10617182"/>
            <a:chExt cx="1471773" cy="1569255"/>
          </a:xfrm>
        </p:grpSpPr>
        <p:pic>
          <p:nvPicPr>
            <p:cNvPr id="235" name="Picture 234" descr="Icon&#10;&#10;Description automatically generated">
              <a:extLst>
                <a:ext uri="{FF2B5EF4-FFF2-40B4-BE49-F238E27FC236}">
                  <a16:creationId xmlns:a16="http://schemas.microsoft.com/office/drawing/2014/main" id="{A6626B3B-05B0-4FC8-A6E6-8FE0FB546B5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592445" y="10617182"/>
              <a:ext cx="806806" cy="806806"/>
            </a:xfrm>
            <a:prstGeom prst="rect">
              <a:avLst/>
            </a:prstGeom>
          </p:spPr>
        </p:pic>
        <p:sp>
          <p:nvSpPr>
            <p:cNvPr id="238" name="TextBox 237">
              <a:extLst>
                <a:ext uri="{FF2B5EF4-FFF2-40B4-BE49-F238E27FC236}">
                  <a16:creationId xmlns:a16="http://schemas.microsoft.com/office/drawing/2014/main" id="{8728E743-7E0D-4BAF-BA72-50AB36F19EF9}"/>
                </a:ext>
              </a:extLst>
            </p:cNvPr>
            <p:cNvSpPr txBox="1"/>
            <p:nvPr/>
          </p:nvSpPr>
          <p:spPr>
            <a:xfrm>
              <a:off x="18259961" y="11422188"/>
              <a:ext cx="1471773" cy="7642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201696"/>
              <a:r>
                <a:rPr lang="tr-TR" sz="662" dirty="0">
                  <a:solidFill>
                    <a:prstClr val="black"/>
                  </a:solidFill>
                  <a:latin typeface="Calibri" panose="020F0502020204030204"/>
                </a:rPr>
                <a:t>Mobile </a:t>
              </a:r>
              <a:r>
                <a:rPr lang="tr-TR" sz="662" dirty="0" err="1">
                  <a:solidFill>
                    <a:prstClr val="black"/>
                  </a:solidFill>
                  <a:latin typeface="Calibri" panose="020F0502020204030204"/>
                </a:rPr>
                <a:t>App</a:t>
              </a:r>
              <a:endParaRPr lang="en-US" sz="662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40" name="Group 239">
            <a:extLst>
              <a:ext uri="{FF2B5EF4-FFF2-40B4-BE49-F238E27FC236}">
                <a16:creationId xmlns:a16="http://schemas.microsoft.com/office/drawing/2014/main" id="{B248DD8A-BF88-4A6B-BFCA-2207EE581BCD}"/>
              </a:ext>
            </a:extLst>
          </p:cNvPr>
          <p:cNvGrpSpPr/>
          <p:nvPr/>
        </p:nvGrpSpPr>
        <p:grpSpPr>
          <a:xfrm>
            <a:off x="5111246" y="1057526"/>
            <a:ext cx="559133" cy="608005"/>
            <a:chOff x="18259961" y="10617182"/>
            <a:chExt cx="1471773" cy="1569255"/>
          </a:xfrm>
        </p:grpSpPr>
        <p:pic>
          <p:nvPicPr>
            <p:cNvPr id="245" name="Picture 244" descr="Icon&#10;&#10;Description automatically generated">
              <a:extLst>
                <a:ext uri="{FF2B5EF4-FFF2-40B4-BE49-F238E27FC236}">
                  <a16:creationId xmlns:a16="http://schemas.microsoft.com/office/drawing/2014/main" id="{49CBFB83-C3AF-4B2C-8382-35FD5C03B0E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592445" y="10617182"/>
              <a:ext cx="806806" cy="806806"/>
            </a:xfrm>
            <a:prstGeom prst="rect">
              <a:avLst/>
            </a:prstGeom>
          </p:spPr>
        </p:pic>
        <p:sp>
          <p:nvSpPr>
            <p:cNvPr id="248" name="TextBox 247">
              <a:extLst>
                <a:ext uri="{FF2B5EF4-FFF2-40B4-BE49-F238E27FC236}">
                  <a16:creationId xmlns:a16="http://schemas.microsoft.com/office/drawing/2014/main" id="{7D75CBBC-731B-4791-A513-4F8F844AD4D8}"/>
                </a:ext>
              </a:extLst>
            </p:cNvPr>
            <p:cNvSpPr txBox="1"/>
            <p:nvPr/>
          </p:nvSpPr>
          <p:spPr>
            <a:xfrm>
              <a:off x="18259961" y="11422188"/>
              <a:ext cx="1471773" cy="7642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201696"/>
              <a:r>
                <a:rPr lang="tr-TR" sz="662" dirty="0">
                  <a:solidFill>
                    <a:prstClr val="black"/>
                  </a:solidFill>
                  <a:latin typeface="Calibri" panose="020F0502020204030204"/>
                </a:rPr>
                <a:t>Mobile </a:t>
              </a:r>
              <a:r>
                <a:rPr lang="tr-TR" sz="662" dirty="0" err="1">
                  <a:solidFill>
                    <a:prstClr val="black"/>
                  </a:solidFill>
                  <a:latin typeface="Calibri" panose="020F0502020204030204"/>
                </a:rPr>
                <a:t>App</a:t>
              </a:r>
              <a:endParaRPr lang="en-US" sz="662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55" name="Group 254">
            <a:extLst>
              <a:ext uri="{FF2B5EF4-FFF2-40B4-BE49-F238E27FC236}">
                <a16:creationId xmlns:a16="http://schemas.microsoft.com/office/drawing/2014/main" id="{A94C1061-47D6-4337-90B6-61DDBA4334BD}"/>
              </a:ext>
            </a:extLst>
          </p:cNvPr>
          <p:cNvGrpSpPr/>
          <p:nvPr/>
        </p:nvGrpSpPr>
        <p:grpSpPr>
          <a:xfrm>
            <a:off x="503358" y="172213"/>
            <a:ext cx="559133" cy="608005"/>
            <a:chOff x="18259961" y="10617182"/>
            <a:chExt cx="1471773" cy="1569255"/>
          </a:xfrm>
        </p:grpSpPr>
        <p:pic>
          <p:nvPicPr>
            <p:cNvPr id="256" name="Picture 255" descr="Icon&#10;&#10;Description automatically generated">
              <a:extLst>
                <a:ext uri="{FF2B5EF4-FFF2-40B4-BE49-F238E27FC236}">
                  <a16:creationId xmlns:a16="http://schemas.microsoft.com/office/drawing/2014/main" id="{1F5955ED-7504-43A5-8CEF-AEA048B4B53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592445" y="10617182"/>
              <a:ext cx="806806" cy="806806"/>
            </a:xfrm>
            <a:prstGeom prst="rect">
              <a:avLst/>
            </a:prstGeom>
          </p:spPr>
        </p:pic>
        <p:sp>
          <p:nvSpPr>
            <p:cNvPr id="259" name="TextBox 258">
              <a:extLst>
                <a:ext uri="{FF2B5EF4-FFF2-40B4-BE49-F238E27FC236}">
                  <a16:creationId xmlns:a16="http://schemas.microsoft.com/office/drawing/2014/main" id="{346FA259-B398-4807-B741-6A98A6B2E94D}"/>
                </a:ext>
              </a:extLst>
            </p:cNvPr>
            <p:cNvSpPr txBox="1"/>
            <p:nvPr/>
          </p:nvSpPr>
          <p:spPr>
            <a:xfrm>
              <a:off x="18259961" y="11422188"/>
              <a:ext cx="1471773" cy="7642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201696"/>
              <a:r>
                <a:rPr lang="tr-TR" sz="662" dirty="0">
                  <a:solidFill>
                    <a:prstClr val="black"/>
                  </a:solidFill>
                  <a:latin typeface="Calibri" panose="020F0502020204030204"/>
                </a:rPr>
                <a:t>Mobile </a:t>
              </a:r>
              <a:r>
                <a:rPr lang="tr-TR" sz="662" dirty="0" err="1">
                  <a:solidFill>
                    <a:prstClr val="black"/>
                  </a:solidFill>
                  <a:latin typeface="Calibri" panose="020F0502020204030204"/>
                </a:rPr>
                <a:t>App</a:t>
              </a:r>
              <a:endParaRPr lang="en-US" sz="662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63" name="Group 262">
            <a:extLst>
              <a:ext uri="{FF2B5EF4-FFF2-40B4-BE49-F238E27FC236}">
                <a16:creationId xmlns:a16="http://schemas.microsoft.com/office/drawing/2014/main" id="{86878838-9B54-4BD2-BB25-0B353168642D}"/>
              </a:ext>
            </a:extLst>
          </p:cNvPr>
          <p:cNvGrpSpPr/>
          <p:nvPr/>
        </p:nvGrpSpPr>
        <p:grpSpPr>
          <a:xfrm>
            <a:off x="1205902" y="6249341"/>
            <a:ext cx="559133" cy="608005"/>
            <a:chOff x="18259961" y="10617182"/>
            <a:chExt cx="1471773" cy="1569255"/>
          </a:xfrm>
        </p:grpSpPr>
        <p:pic>
          <p:nvPicPr>
            <p:cNvPr id="264" name="Picture 263" descr="Icon&#10;&#10;Description automatically generated">
              <a:extLst>
                <a:ext uri="{FF2B5EF4-FFF2-40B4-BE49-F238E27FC236}">
                  <a16:creationId xmlns:a16="http://schemas.microsoft.com/office/drawing/2014/main" id="{0AFD8D00-994B-477F-A6C3-07138206D3A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592445" y="10617182"/>
              <a:ext cx="806806" cy="806806"/>
            </a:xfrm>
            <a:prstGeom prst="rect">
              <a:avLst/>
            </a:prstGeom>
          </p:spPr>
        </p:pic>
        <p:sp>
          <p:nvSpPr>
            <p:cNvPr id="265" name="TextBox 264">
              <a:extLst>
                <a:ext uri="{FF2B5EF4-FFF2-40B4-BE49-F238E27FC236}">
                  <a16:creationId xmlns:a16="http://schemas.microsoft.com/office/drawing/2014/main" id="{8A01B578-61E7-46B4-993A-CD110FB1AEA9}"/>
                </a:ext>
              </a:extLst>
            </p:cNvPr>
            <p:cNvSpPr txBox="1"/>
            <p:nvPr/>
          </p:nvSpPr>
          <p:spPr>
            <a:xfrm>
              <a:off x="18259961" y="11422188"/>
              <a:ext cx="1471773" cy="7642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201696"/>
              <a:r>
                <a:rPr lang="tr-TR" sz="662" dirty="0">
                  <a:solidFill>
                    <a:prstClr val="black"/>
                  </a:solidFill>
                  <a:latin typeface="Calibri" panose="020F0502020204030204"/>
                </a:rPr>
                <a:t>Mobile </a:t>
              </a:r>
              <a:r>
                <a:rPr lang="tr-TR" sz="662" dirty="0" err="1">
                  <a:solidFill>
                    <a:prstClr val="black"/>
                  </a:solidFill>
                  <a:latin typeface="Calibri" panose="020F0502020204030204"/>
                </a:rPr>
                <a:t>App</a:t>
              </a:r>
              <a:endParaRPr lang="en-US" sz="662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437" name="Group 436">
            <a:extLst>
              <a:ext uri="{FF2B5EF4-FFF2-40B4-BE49-F238E27FC236}">
                <a16:creationId xmlns:a16="http://schemas.microsoft.com/office/drawing/2014/main" id="{BE431A45-E434-45DC-AA7D-327B82662A1D}"/>
              </a:ext>
            </a:extLst>
          </p:cNvPr>
          <p:cNvGrpSpPr/>
          <p:nvPr/>
        </p:nvGrpSpPr>
        <p:grpSpPr>
          <a:xfrm>
            <a:off x="3742646" y="4207225"/>
            <a:ext cx="3851111" cy="1508414"/>
            <a:chOff x="2421316" y="3492602"/>
            <a:chExt cx="41411094" cy="10296090"/>
          </a:xfrm>
        </p:grpSpPr>
        <p:cxnSp>
          <p:nvCxnSpPr>
            <p:cNvPr id="190" name="Connector: Elbow 189">
              <a:extLst>
                <a:ext uri="{FF2B5EF4-FFF2-40B4-BE49-F238E27FC236}">
                  <a16:creationId xmlns:a16="http://schemas.microsoft.com/office/drawing/2014/main" id="{91046052-23D8-403B-A028-1718CB187126}"/>
                </a:ext>
              </a:extLst>
            </p:cNvPr>
            <p:cNvCxnSpPr>
              <a:cxnSpLocks/>
              <a:endCxn id="381" idx="1"/>
            </p:cNvCxnSpPr>
            <p:nvPr/>
          </p:nvCxnSpPr>
          <p:spPr>
            <a:xfrm flipV="1">
              <a:off x="2836168" y="3492602"/>
              <a:ext cx="40996242" cy="9838293"/>
            </a:xfrm>
            <a:prstGeom prst="bentConnector3">
              <a:avLst>
                <a:gd name="adj1" fmla="val 50000"/>
              </a:avLst>
            </a:prstGeom>
            <a:ln w="28575">
              <a:solidFill>
                <a:srgbClr val="843C0C"/>
              </a:solidFill>
              <a:headEnd type="none" w="med" len="med"/>
              <a:tailEnd type="arrow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82" name="TextBox 281">
              <a:extLst>
                <a:ext uri="{FF2B5EF4-FFF2-40B4-BE49-F238E27FC236}">
                  <a16:creationId xmlns:a16="http://schemas.microsoft.com/office/drawing/2014/main" id="{554A6ACA-EBFF-4831-9359-2F5BEB349559}"/>
                </a:ext>
              </a:extLst>
            </p:cNvPr>
            <p:cNvSpPr txBox="1"/>
            <p:nvPr/>
          </p:nvSpPr>
          <p:spPr>
            <a:xfrm>
              <a:off x="2421316" y="12231897"/>
              <a:ext cx="6891259" cy="15567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201696"/>
              <a:endParaRPr lang="tr-TR" sz="882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DE6994E1-322E-4AA7-9E62-69EDB0E5C194}"/>
              </a:ext>
            </a:extLst>
          </p:cNvPr>
          <p:cNvGrpSpPr/>
          <p:nvPr/>
        </p:nvGrpSpPr>
        <p:grpSpPr>
          <a:xfrm>
            <a:off x="6694029" y="4020213"/>
            <a:ext cx="686549" cy="1214786"/>
            <a:chOff x="14959977" y="9260666"/>
            <a:chExt cx="1556178" cy="2619271"/>
          </a:xfrm>
        </p:grpSpPr>
        <p:cxnSp>
          <p:nvCxnSpPr>
            <p:cNvPr id="236" name="Connector: Elbow 235">
              <a:extLst>
                <a:ext uri="{FF2B5EF4-FFF2-40B4-BE49-F238E27FC236}">
                  <a16:creationId xmlns:a16="http://schemas.microsoft.com/office/drawing/2014/main" id="{AE8E5EAC-AEBE-40D0-8A06-240705A12E53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14132838" y="10126470"/>
              <a:ext cx="2619271" cy="887664"/>
            </a:xfrm>
            <a:prstGeom prst="bentConnector3">
              <a:avLst>
                <a:gd name="adj1" fmla="val 33016"/>
              </a:avLst>
            </a:prstGeom>
            <a:ln w="28575">
              <a:solidFill>
                <a:schemeClr val="accent6">
                  <a:lumMod val="75000"/>
                </a:schemeClr>
              </a:solidFill>
              <a:headEnd type="none" w="med" len="med"/>
              <a:tailEnd type="arrow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83" name="TextBox 282">
              <a:extLst>
                <a:ext uri="{FF2B5EF4-FFF2-40B4-BE49-F238E27FC236}">
                  <a16:creationId xmlns:a16="http://schemas.microsoft.com/office/drawing/2014/main" id="{098EE06C-1899-47A2-AC85-048628F3BF35}"/>
                </a:ext>
              </a:extLst>
            </p:cNvPr>
            <p:cNvSpPr txBox="1"/>
            <p:nvPr/>
          </p:nvSpPr>
          <p:spPr>
            <a:xfrm>
              <a:off x="14959977" y="10354468"/>
              <a:ext cx="1556178" cy="4917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201696"/>
              <a:endParaRPr lang="en-US" sz="882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C1780774-BFAF-4814-802A-1664C5D1915C}"/>
              </a:ext>
            </a:extLst>
          </p:cNvPr>
          <p:cNvGrpSpPr/>
          <p:nvPr/>
        </p:nvGrpSpPr>
        <p:grpSpPr>
          <a:xfrm>
            <a:off x="3150232" y="4025602"/>
            <a:ext cx="2446615" cy="2233519"/>
            <a:chOff x="7038924" y="9124696"/>
            <a:chExt cx="5545661" cy="5062643"/>
          </a:xfrm>
        </p:grpSpPr>
        <p:cxnSp>
          <p:nvCxnSpPr>
            <p:cNvPr id="195" name="Connector: Elbow 194">
              <a:extLst>
                <a:ext uri="{FF2B5EF4-FFF2-40B4-BE49-F238E27FC236}">
                  <a16:creationId xmlns:a16="http://schemas.microsoft.com/office/drawing/2014/main" id="{2AFD346D-93C7-41CB-844D-6782D4A9617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229572" y="9124696"/>
              <a:ext cx="5355013" cy="4927369"/>
            </a:xfrm>
            <a:prstGeom prst="bentConnector2">
              <a:avLst/>
            </a:prstGeom>
            <a:ln w="28575">
              <a:solidFill>
                <a:srgbClr val="5B9BD5"/>
              </a:solidFill>
              <a:headEnd type="none" w="med" len="med"/>
              <a:tailEnd type="arrow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91" name="TextBox 290">
              <a:extLst>
                <a:ext uri="{FF2B5EF4-FFF2-40B4-BE49-F238E27FC236}">
                  <a16:creationId xmlns:a16="http://schemas.microsoft.com/office/drawing/2014/main" id="{0C088B97-4E45-474A-8832-6F94D4AB6051}"/>
                </a:ext>
              </a:extLst>
            </p:cNvPr>
            <p:cNvSpPr txBox="1"/>
            <p:nvPr/>
          </p:nvSpPr>
          <p:spPr>
            <a:xfrm>
              <a:off x="7038924" y="13670367"/>
              <a:ext cx="1742369" cy="5169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201696"/>
              <a:endParaRPr lang="en-US" sz="882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162" name="Group 161">
            <a:extLst>
              <a:ext uri="{FF2B5EF4-FFF2-40B4-BE49-F238E27FC236}">
                <a16:creationId xmlns:a16="http://schemas.microsoft.com/office/drawing/2014/main" id="{C6F22887-7147-418E-BF6B-F468BF09CD68}"/>
              </a:ext>
            </a:extLst>
          </p:cNvPr>
          <p:cNvGrpSpPr/>
          <p:nvPr/>
        </p:nvGrpSpPr>
        <p:grpSpPr>
          <a:xfrm>
            <a:off x="3871587" y="3001358"/>
            <a:ext cx="852979" cy="449900"/>
            <a:chOff x="8673996" y="6803082"/>
            <a:chExt cx="1933420" cy="1019773"/>
          </a:xfrm>
        </p:grpSpPr>
        <p:cxnSp>
          <p:nvCxnSpPr>
            <p:cNvPr id="211" name="Connector: Elbow 210">
              <a:extLst>
                <a:ext uri="{FF2B5EF4-FFF2-40B4-BE49-F238E27FC236}">
                  <a16:creationId xmlns:a16="http://schemas.microsoft.com/office/drawing/2014/main" id="{F84A304B-495B-4071-8970-0D67C06E8643}"/>
                </a:ext>
              </a:extLst>
            </p:cNvPr>
            <p:cNvCxnSpPr>
              <a:cxnSpLocks/>
              <a:stCxn id="55" idx="3"/>
              <a:endCxn id="46" idx="1"/>
            </p:cNvCxnSpPr>
            <p:nvPr/>
          </p:nvCxnSpPr>
          <p:spPr>
            <a:xfrm flipV="1">
              <a:off x="8699085" y="6803082"/>
              <a:ext cx="1908331" cy="546895"/>
            </a:xfrm>
            <a:prstGeom prst="bentConnector3">
              <a:avLst>
                <a:gd name="adj1" fmla="val 50000"/>
              </a:avLst>
            </a:prstGeom>
            <a:ln w="28575">
              <a:solidFill>
                <a:srgbClr val="843C0C"/>
              </a:solidFill>
              <a:headEnd type="none" w="med" len="med"/>
              <a:tailEnd type="arrow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95" name="TextBox 294">
              <a:extLst>
                <a:ext uri="{FF2B5EF4-FFF2-40B4-BE49-F238E27FC236}">
                  <a16:creationId xmlns:a16="http://schemas.microsoft.com/office/drawing/2014/main" id="{6A312DA6-A8AB-4397-B853-1F6359E25321}"/>
                </a:ext>
              </a:extLst>
            </p:cNvPr>
            <p:cNvSpPr txBox="1"/>
            <p:nvPr/>
          </p:nvSpPr>
          <p:spPr>
            <a:xfrm>
              <a:off x="8673996" y="7305883"/>
              <a:ext cx="1578244" cy="5169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201696"/>
              <a:endParaRPr lang="en-US" sz="882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325" name="Group 324">
            <a:extLst>
              <a:ext uri="{FF2B5EF4-FFF2-40B4-BE49-F238E27FC236}">
                <a16:creationId xmlns:a16="http://schemas.microsoft.com/office/drawing/2014/main" id="{C0222CA6-AAFD-4C6E-9858-2FAA1E928F5C}"/>
              </a:ext>
            </a:extLst>
          </p:cNvPr>
          <p:cNvGrpSpPr/>
          <p:nvPr/>
        </p:nvGrpSpPr>
        <p:grpSpPr>
          <a:xfrm>
            <a:off x="8087374" y="596097"/>
            <a:ext cx="1046540" cy="449636"/>
            <a:chOff x="16921669" y="2619378"/>
            <a:chExt cx="2512979" cy="1019175"/>
          </a:xfrm>
          <a:solidFill>
            <a:schemeClr val="accent2"/>
          </a:solidFill>
        </p:grpSpPr>
        <p:sp>
          <p:nvSpPr>
            <p:cNvPr id="326" name="Rectangle: Rounded Corners 325">
              <a:extLst>
                <a:ext uri="{FF2B5EF4-FFF2-40B4-BE49-F238E27FC236}">
                  <a16:creationId xmlns:a16="http://schemas.microsoft.com/office/drawing/2014/main" id="{C4D4253F-C3EB-4926-95C4-5592C7154AE6}"/>
                </a:ext>
              </a:extLst>
            </p:cNvPr>
            <p:cNvSpPr/>
            <p:nvPr/>
          </p:nvSpPr>
          <p:spPr>
            <a:xfrm>
              <a:off x="16921669" y="2619378"/>
              <a:ext cx="2512979" cy="1019175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01696"/>
              <a:endParaRPr lang="en-US" sz="1191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29" name="TextBox 328">
              <a:extLst>
                <a:ext uri="{FF2B5EF4-FFF2-40B4-BE49-F238E27FC236}">
                  <a16:creationId xmlns:a16="http://schemas.microsoft.com/office/drawing/2014/main" id="{02C4A86D-7F69-4580-AC34-686C6F67BBAF}"/>
                </a:ext>
              </a:extLst>
            </p:cNvPr>
            <p:cNvSpPr txBox="1"/>
            <p:nvPr/>
          </p:nvSpPr>
          <p:spPr>
            <a:xfrm>
              <a:off x="16932712" y="2620271"/>
              <a:ext cx="2477136" cy="440232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201696"/>
              <a:endParaRPr lang="en-US" sz="662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405" name="Group 404">
            <a:extLst>
              <a:ext uri="{FF2B5EF4-FFF2-40B4-BE49-F238E27FC236}">
                <a16:creationId xmlns:a16="http://schemas.microsoft.com/office/drawing/2014/main" id="{8307D676-254C-4503-9518-1D3315CDB171}"/>
              </a:ext>
            </a:extLst>
          </p:cNvPr>
          <p:cNvGrpSpPr/>
          <p:nvPr/>
        </p:nvGrpSpPr>
        <p:grpSpPr>
          <a:xfrm>
            <a:off x="6338044" y="962174"/>
            <a:ext cx="1387125" cy="1015292"/>
            <a:chOff x="14264632" y="2180927"/>
            <a:chExt cx="3144149" cy="2301329"/>
          </a:xfrm>
        </p:grpSpPr>
        <p:pic>
          <p:nvPicPr>
            <p:cNvPr id="339" name="Picture 338" descr="Icon&#10;&#10;Description automatically generated">
              <a:extLst>
                <a:ext uri="{FF2B5EF4-FFF2-40B4-BE49-F238E27FC236}">
                  <a16:creationId xmlns:a16="http://schemas.microsoft.com/office/drawing/2014/main" id="{18BFF506-989B-418E-9BD4-2E06457F0AD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6200000" flipH="1">
              <a:off x="15014810" y="2180927"/>
              <a:ext cx="458662" cy="458662"/>
            </a:xfrm>
            <a:prstGeom prst="rect">
              <a:avLst/>
            </a:prstGeom>
          </p:spPr>
        </p:pic>
        <p:cxnSp>
          <p:nvCxnSpPr>
            <p:cNvPr id="356" name="Connector: Elbow 355">
              <a:extLst>
                <a:ext uri="{FF2B5EF4-FFF2-40B4-BE49-F238E27FC236}">
                  <a16:creationId xmlns:a16="http://schemas.microsoft.com/office/drawing/2014/main" id="{3CAC2940-229B-40ED-B704-C1665B4219B5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16165888" y="1687030"/>
              <a:ext cx="542752" cy="1943035"/>
            </a:xfrm>
            <a:prstGeom prst="bentConnector2">
              <a:avLst/>
            </a:prstGeom>
            <a:ln w="19050">
              <a:solidFill>
                <a:srgbClr val="C00000"/>
              </a:solidFill>
              <a:prstDash val="dash"/>
              <a:headEnd type="none" w="med" len="med"/>
              <a:tailEnd type="arrow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59" name="Connector: Elbow 358">
              <a:extLst>
                <a:ext uri="{FF2B5EF4-FFF2-40B4-BE49-F238E27FC236}">
                  <a16:creationId xmlns:a16="http://schemas.microsoft.com/office/drawing/2014/main" id="{7F99F329-5105-495A-AD77-2F5A47245E23}"/>
                </a:ext>
              </a:extLst>
            </p:cNvPr>
            <p:cNvCxnSpPr>
              <a:cxnSpLocks/>
              <a:endCxn id="339" idx="3"/>
            </p:cNvCxnSpPr>
            <p:nvPr/>
          </p:nvCxnSpPr>
          <p:spPr>
            <a:xfrm rot="5400000" flipH="1" flipV="1">
              <a:off x="13833053" y="3071168"/>
              <a:ext cx="1842667" cy="979510"/>
            </a:xfrm>
            <a:prstGeom prst="bentConnector3">
              <a:avLst>
                <a:gd name="adj1" fmla="val 80632"/>
              </a:avLst>
            </a:prstGeom>
            <a:ln w="19050">
              <a:solidFill>
                <a:srgbClr val="5B9BD5"/>
              </a:solidFill>
              <a:prstDash val="dash"/>
              <a:headEnd type="none" w="med" len="med"/>
              <a:tailEnd type="arrow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0E4E3F80-1387-49D9-A01F-A1EE805E4DB1}"/>
              </a:ext>
            </a:extLst>
          </p:cNvPr>
          <p:cNvGrpSpPr/>
          <p:nvPr/>
        </p:nvGrpSpPr>
        <p:grpSpPr>
          <a:xfrm>
            <a:off x="1435980" y="3015596"/>
            <a:ext cx="1118018" cy="480231"/>
            <a:chOff x="493154" y="8910345"/>
            <a:chExt cx="2534175" cy="1088524"/>
          </a:xfrm>
          <a:solidFill>
            <a:schemeClr val="accent2">
              <a:lumMod val="50000"/>
            </a:schemeClr>
          </a:solidFill>
        </p:grpSpPr>
        <p:sp>
          <p:nvSpPr>
            <p:cNvPr id="52" name="Rectangle: Rounded Corners 51">
              <a:extLst>
                <a:ext uri="{FF2B5EF4-FFF2-40B4-BE49-F238E27FC236}">
                  <a16:creationId xmlns:a16="http://schemas.microsoft.com/office/drawing/2014/main" id="{5AE2E6F5-59AB-4DE9-ABBB-7289E7D3403A}"/>
                </a:ext>
              </a:extLst>
            </p:cNvPr>
            <p:cNvSpPr/>
            <p:nvPr/>
          </p:nvSpPr>
          <p:spPr>
            <a:xfrm>
              <a:off x="514350" y="8979694"/>
              <a:ext cx="2512979" cy="1019175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01696"/>
              <a:endParaRPr lang="en-US" sz="1191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F7D95084-52A5-4911-B58A-D5F72B0C2CD9}"/>
                </a:ext>
              </a:extLst>
            </p:cNvPr>
            <p:cNvSpPr txBox="1"/>
            <p:nvPr/>
          </p:nvSpPr>
          <p:spPr>
            <a:xfrm>
              <a:off x="493154" y="8910345"/>
              <a:ext cx="2293416" cy="53266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201696"/>
              <a:endParaRPr lang="en-US" sz="927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70A18B40-011B-4CCE-8471-BC77CF39C833}"/>
              </a:ext>
            </a:extLst>
          </p:cNvPr>
          <p:cNvGrpSpPr/>
          <p:nvPr/>
        </p:nvGrpSpPr>
        <p:grpSpPr>
          <a:xfrm>
            <a:off x="10439350" y="2156188"/>
            <a:ext cx="1108667" cy="449636"/>
            <a:chOff x="16788319" y="6346031"/>
            <a:chExt cx="2512979" cy="1019175"/>
          </a:xfrm>
          <a:solidFill>
            <a:schemeClr val="tx2">
              <a:lumMod val="75000"/>
            </a:schemeClr>
          </a:solidFill>
        </p:grpSpPr>
        <p:sp>
          <p:nvSpPr>
            <p:cNvPr id="73" name="Rectangle: Rounded Corners 72">
              <a:extLst>
                <a:ext uri="{FF2B5EF4-FFF2-40B4-BE49-F238E27FC236}">
                  <a16:creationId xmlns:a16="http://schemas.microsoft.com/office/drawing/2014/main" id="{618ABD7A-0484-4840-818A-53C471A9B16A}"/>
                </a:ext>
              </a:extLst>
            </p:cNvPr>
            <p:cNvSpPr/>
            <p:nvPr/>
          </p:nvSpPr>
          <p:spPr>
            <a:xfrm>
              <a:off x="16788319" y="6346031"/>
              <a:ext cx="2512979" cy="1019175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01696"/>
              <a:endParaRPr lang="en-US" sz="1191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3BD399D3-A11D-48B9-8EB2-AA37F9743EEE}"/>
                </a:ext>
              </a:extLst>
            </p:cNvPr>
            <p:cNvSpPr txBox="1"/>
            <p:nvPr/>
          </p:nvSpPr>
          <p:spPr>
            <a:xfrm>
              <a:off x="17089840" y="6485259"/>
              <a:ext cx="1866900" cy="701844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201696"/>
              <a:endParaRPr lang="en-US" sz="1412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F35EC761-C7B5-4924-8B79-112B7994E540}"/>
              </a:ext>
            </a:extLst>
          </p:cNvPr>
          <p:cNvGrpSpPr/>
          <p:nvPr/>
        </p:nvGrpSpPr>
        <p:grpSpPr>
          <a:xfrm>
            <a:off x="2983724" y="78141"/>
            <a:ext cx="1301582" cy="591636"/>
            <a:chOff x="5619750" y="395290"/>
            <a:chExt cx="3600450" cy="1543050"/>
          </a:xfrm>
          <a:solidFill>
            <a:srgbClr val="002060"/>
          </a:solidFill>
        </p:grpSpPr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46C5BA37-D988-45E0-8122-B14BB2318E99}"/>
                </a:ext>
              </a:extLst>
            </p:cNvPr>
            <p:cNvSpPr/>
            <p:nvPr/>
          </p:nvSpPr>
          <p:spPr>
            <a:xfrm>
              <a:off x="5619750" y="395290"/>
              <a:ext cx="3600450" cy="154305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01696"/>
              <a:endParaRPr lang="en-US" sz="119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82395223-B26F-4327-ADFE-B381555B556F}"/>
                </a:ext>
              </a:extLst>
            </p:cNvPr>
            <p:cNvSpPr txBox="1"/>
            <p:nvPr/>
          </p:nvSpPr>
          <p:spPr>
            <a:xfrm>
              <a:off x="6445179" y="753527"/>
              <a:ext cx="1866899" cy="807566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201696"/>
              <a:endParaRPr lang="en-US" sz="1412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B7D82666-6313-49FE-B970-211F88569177}"/>
              </a:ext>
            </a:extLst>
          </p:cNvPr>
          <p:cNvGrpSpPr/>
          <p:nvPr/>
        </p:nvGrpSpPr>
        <p:grpSpPr>
          <a:xfrm>
            <a:off x="2833480" y="1289093"/>
            <a:ext cx="1470373" cy="600749"/>
            <a:chOff x="4152900" y="2947989"/>
            <a:chExt cx="3600450" cy="1543050"/>
          </a:xfrm>
          <a:solidFill>
            <a:srgbClr val="002060"/>
          </a:solidFill>
        </p:grpSpPr>
        <p:sp>
          <p:nvSpPr>
            <p:cNvPr id="50" name="Rectangle: Rounded Corners 49">
              <a:extLst>
                <a:ext uri="{FF2B5EF4-FFF2-40B4-BE49-F238E27FC236}">
                  <a16:creationId xmlns:a16="http://schemas.microsoft.com/office/drawing/2014/main" id="{6B2A12BF-E523-48D4-8618-50F58267C9AF}"/>
                </a:ext>
              </a:extLst>
            </p:cNvPr>
            <p:cNvSpPr/>
            <p:nvPr/>
          </p:nvSpPr>
          <p:spPr>
            <a:xfrm>
              <a:off x="4152900" y="2947989"/>
              <a:ext cx="3600450" cy="154305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01696"/>
              <a:endParaRPr lang="en-US" sz="1191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6F50C55E-C754-4A0E-A211-D84AB01CBEA1}"/>
                </a:ext>
              </a:extLst>
            </p:cNvPr>
            <p:cNvSpPr txBox="1"/>
            <p:nvPr/>
          </p:nvSpPr>
          <p:spPr>
            <a:xfrm>
              <a:off x="4456515" y="3013194"/>
              <a:ext cx="2982410" cy="795316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201696"/>
              <a:endParaRPr lang="en-US" sz="1412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CDB9E2DF-2B61-40F0-BFD9-287B32557A17}"/>
              </a:ext>
            </a:extLst>
          </p:cNvPr>
          <p:cNvGrpSpPr/>
          <p:nvPr/>
        </p:nvGrpSpPr>
        <p:grpSpPr>
          <a:xfrm>
            <a:off x="5929489" y="1478774"/>
            <a:ext cx="1663000" cy="502568"/>
            <a:chOff x="13338575" y="3351886"/>
            <a:chExt cx="3769466" cy="1139153"/>
          </a:xfrm>
        </p:grpSpPr>
        <p:sp>
          <p:nvSpPr>
            <p:cNvPr id="34" name="TextBox 269">
              <a:extLst>
                <a:ext uri="{FF2B5EF4-FFF2-40B4-BE49-F238E27FC236}">
                  <a16:creationId xmlns:a16="http://schemas.microsoft.com/office/drawing/2014/main" id="{3FB75D9C-40FF-A61A-732A-1F00302F87B3}"/>
                </a:ext>
              </a:extLst>
            </p:cNvPr>
            <p:cNvSpPr txBox="1"/>
            <p:nvPr/>
          </p:nvSpPr>
          <p:spPr>
            <a:xfrm>
              <a:off x="14379129" y="3351886"/>
              <a:ext cx="2728912" cy="5169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201696"/>
              <a:endParaRPr lang="en-US" sz="882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cxnSp>
          <p:nvCxnSpPr>
            <p:cNvPr id="315" name="Connector: Elbow 314">
              <a:extLst>
                <a:ext uri="{FF2B5EF4-FFF2-40B4-BE49-F238E27FC236}">
                  <a16:creationId xmlns:a16="http://schemas.microsoft.com/office/drawing/2014/main" id="{7F59C90C-CC30-47A1-A70F-8CCE3C69F109}"/>
                </a:ext>
              </a:extLst>
            </p:cNvPr>
            <p:cNvCxnSpPr>
              <a:cxnSpLocks/>
            </p:cNvCxnSpPr>
            <p:nvPr/>
          </p:nvCxnSpPr>
          <p:spPr>
            <a:xfrm rot="10800000" flipV="1">
              <a:off x="13338575" y="3404225"/>
              <a:ext cx="3723710" cy="1086814"/>
            </a:xfrm>
            <a:prstGeom prst="bentConnector2">
              <a:avLst/>
            </a:prstGeom>
            <a:ln w="28575">
              <a:solidFill>
                <a:srgbClr val="C00000"/>
              </a:solidFill>
              <a:headEnd type="none" w="med" len="med"/>
              <a:tailEnd type="arrow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207" name="Group 206">
            <a:extLst>
              <a:ext uri="{FF2B5EF4-FFF2-40B4-BE49-F238E27FC236}">
                <a16:creationId xmlns:a16="http://schemas.microsoft.com/office/drawing/2014/main" id="{98E758F8-AE9E-4889-9477-4D0AF1484CF4}"/>
              </a:ext>
            </a:extLst>
          </p:cNvPr>
          <p:cNvGrpSpPr/>
          <p:nvPr/>
        </p:nvGrpSpPr>
        <p:grpSpPr>
          <a:xfrm>
            <a:off x="10987942" y="744468"/>
            <a:ext cx="698948" cy="486887"/>
            <a:chOff x="20708388" y="1827398"/>
            <a:chExt cx="1872312" cy="1576414"/>
          </a:xfrm>
        </p:grpSpPr>
        <p:sp>
          <p:nvSpPr>
            <p:cNvPr id="41" name="TextBox 269">
              <a:extLst>
                <a:ext uri="{FF2B5EF4-FFF2-40B4-BE49-F238E27FC236}">
                  <a16:creationId xmlns:a16="http://schemas.microsoft.com/office/drawing/2014/main" id="{48E9020C-E1E5-467F-04D6-82B09F946D02}"/>
                </a:ext>
              </a:extLst>
            </p:cNvPr>
            <p:cNvSpPr txBox="1"/>
            <p:nvPr/>
          </p:nvSpPr>
          <p:spPr>
            <a:xfrm>
              <a:off x="20708388" y="2665361"/>
              <a:ext cx="1872312" cy="7384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201696"/>
              <a:endParaRPr lang="en-US" sz="882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pic>
          <p:nvPicPr>
            <p:cNvPr id="204" name="Picture 203" descr="Background pattern&#10;&#10;Description automatically generated">
              <a:extLst>
                <a:ext uri="{FF2B5EF4-FFF2-40B4-BE49-F238E27FC236}">
                  <a16:creationId xmlns:a16="http://schemas.microsoft.com/office/drawing/2014/main" id="{7F6FA174-BEA7-457F-A4F1-3209FE7823C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030854" y="1827398"/>
              <a:ext cx="960050" cy="960050"/>
            </a:xfrm>
            <a:prstGeom prst="rect">
              <a:avLst/>
            </a:prstGeom>
          </p:spPr>
        </p:pic>
      </p:grpSp>
      <p:grpSp>
        <p:nvGrpSpPr>
          <p:cNvPr id="280" name="Group 279">
            <a:extLst>
              <a:ext uri="{FF2B5EF4-FFF2-40B4-BE49-F238E27FC236}">
                <a16:creationId xmlns:a16="http://schemas.microsoft.com/office/drawing/2014/main" id="{7F5BE957-B8E0-4B20-8FAD-480ED77C9B8B}"/>
              </a:ext>
            </a:extLst>
          </p:cNvPr>
          <p:cNvGrpSpPr/>
          <p:nvPr/>
        </p:nvGrpSpPr>
        <p:grpSpPr>
          <a:xfrm>
            <a:off x="5871541" y="4021380"/>
            <a:ext cx="512805" cy="1225705"/>
            <a:chOff x="14243552" y="9115123"/>
            <a:chExt cx="4122477" cy="2766744"/>
          </a:xfrm>
        </p:grpSpPr>
        <p:sp>
          <p:nvSpPr>
            <p:cNvPr id="121" name="TextBox 282">
              <a:extLst>
                <a:ext uri="{FF2B5EF4-FFF2-40B4-BE49-F238E27FC236}">
                  <a16:creationId xmlns:a16="http://schemas.microsoft.com/office/drawing/2014/main" id="{64577543-6C3A-7F87-C1F8-6AFB03DB744B}"/>
                </a:ext>
              </a:extLst>
            </p:cNvPr>
            <p:cNvSpPr txBox="1"/>
            <p:nvPr/>
          </p:nvSpPr>
          <p:spPr>
            <a:xfrm>
              <a:off x="14243552" y="9770069"/>
              <a:ext cx="3606931" cy="5148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201696"/>
              <a:endParaRPr lang="en-US" sz="882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cxnSp>
          <p:nvCxnSpPr>
            <p:cNvPr id="345" name="Connector: Elbow 344">
              <a:extLst>
                <a:ext uri="{FF2B5EF4-FFF2-40B4-BE49-F238E27FC236}">
                  <a16:creationId xmlns:a16="http://schemas.microsoft.com/office/drawing/2014/main" id="{04757A25-448C-413B-93B5-11D2F8165BEB}"/>
                </a:ext>
              </a:extLst>
            </p:cNvPr>
            <p:cNvCxnSpPr>
              <a:cxnSpLocks/>
              <a:stCxn id="59" idx="0"/>
              <a:endCxn id="46" idx="2"/>
            </p:cNvCxnSpPr>
            <p:nvPr/>
          </p:nvCxnSpPr>
          <p:spPr>
            <a:xfrm rot="16200000" flipV="1">
              <a:off x="14936865" y="8452703"/>
              <a:ext cx="2766744" cy="4091584"/>
            </a:xfrm>
            <a:prstGeom prst="bentConnector3">
              <a:avLst>
                <a:gd name="adj1" fmla="val 50000"/>
              </a:avLst>
            </a:prstGeom>
            <a:ln w="28575">
              <a:prstDash val="solid"/>
              <a:headEnd type="triangle"/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378" name="Group 377">
            <a:extLst>
              <a:ext uri="{FF2B5EF4-FFF2-40B4-BE49-F238E27FC236}">
                <a16:creationId xmlns:a16="http://schemas.microsoft.com/office/drawing/2014/main" id="{ABD20F92-4416-48B7-9FBD-E85A8AC98F06}"/>
              </a:ext>
            </a:extLst>
          </p:cNvPr>
          <p:cNvGrpSpPr/>
          <p:nvPr/>
        </p:nvGrpSpPr>
        <p:grpSpPr>
          <a:xfrm>
            <a:off x="7593757" y="4044469"/>
            <a:ext cx="1148616" cy="449636"/>
            <a:chOff x="19517168" y="10589416"/>
            <a:chExt cx="2603530" cy="1019175"/>
          </a:xfrm>
          <a:solidFill>
            <a:schemeClr val="tx2">
              <a:lumMod val="75000"/>
            </a:schemeClr>
          </a:solidFill>
        </p:grpSpPr>
        <p:sp>
          <p:nvSpPr>
            <p:cNvPr id="380" name="Rectangle: Rounded Corners 379">
              <a:extLst>
                <a:ext uri="{FF2B5EF4-FFF2-40B4-BE49-F238E27FC236}">
                  <a16:creationId xmlns:a16="http://schemas.microsoft.com/office/drawing/2014/main" id="{1BB716A3-E05E-4819-996A-57EAB4B08B78}"/>
                </a:ext>
              </a:extLst>
            </p:cNvPr>
            <p:cNvSpPr/>
            <p:nvPr/>
          </p:nvSpPr>
          <p:spPr>
            <a:xfrm>
              <a:off x="19607719" y="10589416"/>
              <a:ext cx="2512979" cy="1019175"/>
            </a:xfrm>
            <a:prstGeom prst="roundRect">
              <a:avLst/>
            </a:prstGeom>
            <a:grpFill/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01696"/>
              <a:endParaRPr lang="en-US" sz="1191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81" name="TextBox 380">
              <a:extLst>
                <a:ext uri="{FF2B5EF4-FFF2-40B4-BE49-F238E27FC236}">
                  <a16:creationId xmlns:a16="http://schemas.microsoft.com/office/drawing/2014/main" id="{46CCFBC4-10D6-4C0F-9F2C-55E2DD1CA03E}"/>
                </a:ext>
              </a:extLst>
            </p:cNvPr>
            <p:cNvSpPr txBox="1"/>
            <p:nvPr/>
          </p:nvSpPr>
          <p:spPr>
            <a:xfrm>
              <a:off x="19517168" y="10607407"/>
              <a:ext cx="1866899" cy="701844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 defTabSz="201696"/>
              <a:endParaRPr lang="en-US" sz="1412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0A088E07-A6EA-4E42-BF56-211CD046FFA6}"/>
              </a:ext>
            </a:extLst>
          </p:cNvPr>
          <p:cNvGrpSpPr/>
          <p:nvPr/>
        </p:nvGrpSpPr>
        <p:grpSpPr>
          <a:xfrm>
            <a:off x="4724566" y="1981341"/>
            <a:ext cx="2379964" cy="2040038"/>
            <a:chOff x="10607416" y="4491039"/>
            <a:chExt cx="5394584" cy="4624085"/>
          </a:xfrm>
        </p:grpSpPr>
        <p:grpSp>
          <p:nvGrpSpPr>
            <p:cNvPr id="145" name="Group 144">
              <a:extLst>
                <a:ext uri="{FF2B5EF4-FFF2-40B4-BE49-F238E27FC236}">
                  <a16:creationId xmlns:a16="http://schemas.microsoft.com/office/drawing/2014/main" id="{F1407C76-190C-4CD5-BAE3-1F67A2F2A26D}"/>
                </a:ext>
              </a:extLst>
            </p:cNvPr>
            <p:cNvGrpSpPr/>
            <p:nvPr/>
          </p:nvGrpSpPr>
          <p:grpSpPr>
            <a:xfrm>
              <a:off x="10607416" y="4491039"/>
              <a:ext cx="5394584" cy="4624085"/>
              <a:chOff x="10420350" y="4491039"/>
              <a:chExt cx="5581650" cy="4729161"/>
            </a:xfrm>
          </p:grpSpPr>
          <p:grpSp>
            <p:nvGrpSpPr>
              <p:cNvPr id="119" name="Group 118">
                <a:extLst>
                  <a:ext uri="{FF2B5EF4-FFF2-40B4-BE49-F238E27FC236}">
                    <a16:creationId xmlns:a16="http://schemas.microsoft.com/office/drawing/2014/main" id="{18C7B6FE-EA40-45B7-84CA-A89A4E3D5EFE}"/>
                  </a:ext>
                </a:extLst>
              </p:cNvPr>
              <p:cNvGrpSpPr/>
              <p:nvPr/>
            </p:nvGrpSpPr>
            <p:grpSpPr>
              <a:xfrm>
                <a:off x="10420350" y="4491039"/>
                <a:ext cx="5581650" cy="4729161"/>
                <a:chOff x="10420350" y="4491039"/>
                <a:chExt cx="5581650" cy="4729161"/>
              </a:xfrm>
            </p:grpSpPr>
            <p:sp>
              <p:nvSpPr>
                <p:cNvPr id="46" name="Rectangle: Rounded Corners 45">
                  <a:extLst>
                    <a:ext uri="{FF2B5EF4-FFF2-40B4-BE49-F238E27FC236}">
                      <a16:creationId xmlns:a16="http://schemas.microsoft.com/office/drawing/2014/main" id="{DDE7F5AD-7413-48C2-AE7D-2B616939B5BD}"/>
                    </a:ext>
                  </a:extLst>
                </p:cNvPr>
                <p:cNvSpPr/>
                <p:nvPr/>
              </p:nvSpPr>
              <p:spPr>
                <a:xfrm>
                  <a:off x="10420350" y="4491039"/>
                  <a:ext cx="5581650" cy="4729161"/>
                </a:xfrm>
                <a:prstGeom prst="roundRect">
                  <a:avLst/>
                </a:prstGeom>
                <a:ln>
                  <a:noFill/>
                </a:ln>
              </p:spPr>
              <p:style>
                <a:lnRef idx="2">
                  <a:schemeClr val="accent5">
                    <a:shade val="50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201696"/>
                  <a:endParaRPr lang="en-US" sz="1191">
                    <a:solidFill>
                      <a:prstClr val="white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96" name="TextBox 95">
                  <a:extLst>
                    <a:ext uri="{FF2B5EF4-FFF2-40B4-BE49-F238E27FC236}">
                      <a16:creationId xmlns:a16="http://schemas.microsoft.com/office/drawing/2014/main" id="{50BF5FF3-18BD-4FB3-B432-934D07C4D391}"/>
                    </a:ext>
                  </a:extLst>
                </p:cNvPr>
                <p:cNvSpPr txBox="1"/>
                <p:nvPr/>
              </p:nvSpPr>
              <p:spPr>
                <a:xfrm>
                  <a:off x="12315947" y="4632890"/>
                  <a:ext cx="1866900" cy="717792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 defTabSz="201696"/>
                  <a:r>
                    <a:rPr lang="tr-TR" sz="1412" b="1" dirty="0">
                      <a:solidFill>
                        <a:prstClr val="white"/>
                      </a:solidFill>
                      <a:latin typeface="Calibri" panose="020F0502020204030204"/>
                    </a:rPr>
                    <a:t>HANA</a:t>
                  </a:r>
                  <a:endParaRPr lang="en-US" sz="1412" b="1" dirty="0">
                    <a:solidFill>
                      <a:prstClr val="white"/>
                    </a:solidFill>
                    <a:latin typeface="Calibri" panose="020F0502020204030204"/>
                  </a:endParaRPr>
                </a:p>
              </p:txBody>
            </p:sp>
          </p:grpSp>
          <p:pic>
            <p:nvPicPr>
              <p:cNvPr id="126" name="Picture 125" descr="Logo&#10;&#10;Description automatically generated">
                <a:extLst>
                  <a:ext uri="{FF2B5EF4-FFF2-40B4-BE49-F238E27FC236}">
                    <a16:creationId xmlns:a16="http://schemas.microsoft.com/office/drawing/2014/main" id="{F710E36E-4329-44A8-AFFC-646298BAAAE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4767385" y="8609640"/>
                <a:ext cx="989966" cy="490319"/>
              </a:xfrm>
              <a:prstGeom prst="rect">
                <a:avLst/>
              </a:prstGeom>
              <a:ln>
                <a:noFill/>
              </a:ln>
            </p:spPr>
          </p:pic>
        </p:grpSp>
        <p:grpSp>
          <p:nvGrpSpPr>
            <p:cNvPr id="22" name="Grup 21">
              <a:extLst>
                <a:ext uri="{FF2B5EF4-FFF2-40B4-BE49-F238E27FC236}">
                  <a16:creationId xmlns:a16="http://schemas.microsoft.com/office/drawing/2014/main" id="{604736F1-BFE5-5B0E-7CE3-6D894553E29A}"/>
                </a:ext>
              </a:extLst>
            </p:cNvPr>
            <p:cNvGrpSpPr/>
            <p:nvPr/>
          </p:nvGrpSpPr>
          <p:grpSpPr>
            <a:xfrm>
              <a:off x="10867264" y="5421694"/>
              <a:ext cx="4920500" cy="2608426"/>
              <a:chOff x="10755951" y="5421795"/>
              <a:chExt cx="4920500" cy="2608426"/>
            </a:xfrm>
          </p:grpSpPr>
          <p:sp>
            <p:nvSpPr>
              <p:cNvPr id="176" name="Rectangle: Rounded Corners 175">
                <a:extLst>
                  <a:ext uri="{FF2B5EF4-FFF2-40B4-BE49-F238E27FC236}">
                    <a16:creationId xmlns:a16="http://schemas.microsoft.com/office/drawing/2014/main" id="{3BC27CFD-C276-4E2B-973D-DC6D84525AD1}"/>
                  </a:ext>
                </a:extLst>
              </p:cNvPr>
              <p:cNvSpPr/>
              <p:nvPr/>
            </p:nvSpPr>
            <p:spPr>
              <a:xfrm>
                <a:off x="10755951" y="5434907"/>
                <a:ext cx="1459729" cy="702869"/>
              </a:xfrm>
              <a:prstGeom prst="roundRect">
                <a:avLst/>
              </a:prstGeom>
              <a:solidFill>
                <a:schemeClr val="accent5">
                  <a:lumMod val="50000"/>
                </a:schemeClr>
              </a:solidFill>
              <a:ln>
                <a:noFill/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3">
                <a:schemeClr val="lt1"/>
              </a:lnRef>
              <a:fillRef idx="1">
                <a:schemeClr val="accent1"/>
              </a:fillRef>
              <a:effectRef idx="1">
                <a:schemeClr val="accent1"/>
              </a:effectRef>
              <a:fontRef idx="minor">
                <a:schemeClr val="lt1"/>
              </a:fontRef>
            </p:style>
            <p:txBody>
              <a:bodyPr lIns="40341" tIns="20171" rIns="40341" bIns="20171" rtlCol="0" anchor="ctr"/>
              <a:lstStyle/>
              <a:p>
                <a:pPr algn="ctr" defTabSz="201696"/>
                <a:r>
                  <a:rPr lang="tr-TR" sz="882" b="1" dirty="0">
                    <a:solidFill>
                      <a:prstClr val="white"/>
                    </a:solidFill>
                    <a:latin typeface="Calibri" panose="020F0502020204030204"/>
                  </a:rPr>
                  <a:t>FI</a:t>
                </a:r>
                <a:endParaRPr lang="en-US" sz="882" b="1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77" name="Rectangle: Rounded Corners 176">
                <a:extLst>
                  <a:ext uri="{FF2B5EF4-FFF2-40B4-BE49-F238E27FC236}">
                    <a16:creationId xmlns:a16="http://schemas.microsoft.com/office/drawing/2014/main" id="{8C44ADEE-C732-4A45-AB1B-367C52FA000F}"/>
                  </a:ext>
                </a:extLst>
              </p:cNvPr>
              <p:cNvSpPr/>
              <p:nvPr/>
            </p:nvSpPr>
            <p:spPr>
              <a:xfrm>
                <a:off x="12483098" y="5421795"/>
                <a:ext cx="1459729" cy="702869"/>
              </a:xfrm>
              <a:prstGeom prst="roundRect">
                <a:avLst/>
              </a:prstGeom>
              <a:solidFill>
                <a:schemeClr val="accent5">
                  <a:lumMod val="50000"/>
                </a:schemeClr>
              </a:solidFill>
              <a:ln>
                <a:noFill/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3">
                <a:schemeClr val="lt1"/>
              </a:lnRef>
              <a:fillRef idx="1">
                <a:schemeClr val="accent1"/>
              </a:fillRef>
              <a:effectRef idx="1">
                <a:schemeClr val="accent1"/>
              </a:effectRef>
              <a:fontRef idx="minor">
                <a:schemeClr val="lt1"/>
              </a:fontRef>
            </p:style>
            <p:txBody>
              <a:bodyPr lIns="40341" tIns="20171" rIns="40341" bIns="20171" rtlCol="0" anchor="ctr"/>
              <a:lstStyle/>
              <a:p>
                <a:pPr algn="ctr" defTabSz="201696"/>
                <a:r>
                  <a:rPr lang="tr-TR" sz="882" b="1" dirty="0">
                    <a:solidFill>
                      <a:prstClr val="white"/>
                    </a:solidFill>
                    <a:latin typeface="Calibri" panose="020F0502020204030204"/>
                  </a:rPr>
                  <a:t>TR</a:t>
                </a:r>
                <a:endParaRPr lang="en-US" sz="882" b="1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78" name="Rectangle: Rounded Corners 177">
                <a:extLst>
                  <a:ext uri="{FF2B5EF4-FFF2-40B4-BE49-F238E27FC236}">
                    <a16:creationId xmlns:a16="http://schemas.microsoft.com/office/drawing/2014/main" id="{8CC5D9F9-6D58-4EAF-9349-CCBAFB6D8964}"/>
                  </a:ext>
                </a:extLst>
              </p:cNvPr>
              <p:cNvSpPr/>
              <p:nvPr/>
            </p:nvSpPr>
            <p:spPr>
              <a:xfrm>
                <a:off x="14216722" y="5430927"/>
                <a:ext cx="1459729" cy="702869"/>
              </a:xfrm>
              <a:prstGeom prst="roundRect">
                <a:avLst/>
              </a:prstGeom>
              <a:solidFill>
                <a:schemeClr val="accent5">
                  <a:lumMod val="50000"/>
                </a:schemeClr>
              </a:solidFill>
              <a:ln>
                <a:noFill/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3">
                <a:schemeClr val="lt1"/>
              </a:lnRef>
              <a:fillRef idx="1">
                <a:schemeClr val="accent1"/>
              </a:fillRef>
              <a:effectRef idx="1">
                <a:schemeClr val="accent1"/>
              </a:effectRef>
              <a:fontRef idx="minor">
                <a:schemeClr val="lt1"/>
              </a:fontRef>
            </p:style>
            <p:txBody>
              <a:bodyPr lIns="40341" tIns="20171" rIns="40341" bIns="20171" rtlCol="0" anchor="ctr"/>
              <a:lstStyle/>
              <a:p>
                <a:pPr algn="ctr" defTabSz="201696"/>
                <a:r>
                  <a:rPr lang="tr-TR" sz="882" b="1" dirty="0">
                    <a:solidFill>
                      <a:prstClr val="white"/>
                    </a:solidFill>
                    <a:latin typeface="Calibri" panose="020F0502020204030204"/>
                  </a:rPr>
                  <a:t>CO</a:t>
                </a:r>
                <a:endParaRPr lang="en-US" sz="882" b="1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79" name="Rectangle: Rounded Corners 178">
                <a:extLst>
                  <a:ext uri="{FF2B5EF4-FFF2-40B4-BE49-F238E27FC236}">
                    <a16:creationId xmlns:a16="http://schemas.microsoft.com/office/drawing/2014/main" id="{D98D1E90-5746-4BF6-B9E4-8942CD24A4B3}"/>
                  </a:ext>
                </a:extLst>
              </p:cNvPr>
              <p:cNvSpPr/>
              <p:nvPr/>
            </p:nvSpPr>
            <p:spPr>
              <a:xfrm>
                <a:off x="10755951" y="6387489"/>
                <a:ext cx="1459729" cy="702869"/>
              </a:xfrm>
              <a:prstGeom prst="roundRect">
                <a:avLst/>
              </a:prstGeom>
              <a:solidFill>
                <a:schemeClr val="accent5">
                  <a:lumMod val="50000"/>
                </a:schemeClr>
              </a:solidFill>
              <a:ln>
                <a:noFill/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3">
                <a:schemeClr val="lt1"/>
              </a:lnRef>
              <a:fillRef idx="1">
                <a:schemeClr val="accent1"/>
              </a:fillRef>
              <a:effectRef idx="1">
                <a:schemeClr val="accent1"/>
              </a:effectRef>
              <a:fontRef idx="minor">
                <a:schemeClr val="lt1"/>
              </a:fontRef>
            </p:style>
            <p:txBody>
              <a:bodyPr lIns="40341" tIns="20171" rIns="40341" bIns="20171" rtlCol="0" anchor="ctr"/>
              <a:lstStyle/>
              <a:p>
                <a:pPr algn="ctr" defTabSz="201696"/>
                <a:r>
                  <a:rPr lang="tr-TR" sz="882" b="1" dirty="0">
                    <a:solidFill>
                      <a:prstClr val="white"/>
                    </a:solidFill>
                    <a:latin typeface="Calibri" panose="020F0502020204030204"/>
                  </a:rPr>
                  <a:t>WM</a:t>
                </a:r>
                <a:endParaRPr lang="en-US" sz="882" b="1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80" name="Rectangle: Rounded Corners 179">
                <a:extLst>
                  <a:ext uri="{FF2B5EF4-FFF2-40B4-BE49-F238E27FC236}">
                    <a16:creationId xmlns:a16="http://schemas.microsoft.com/office/drawing/2014/main" id="{F038A1DE-30D0-4590-BAF9-31672C896453}"/>
                  </a:ext>
                </a:extLst>
              </p:cNvPr>
              <p:cNvSpPr/>
              <p:nvPr/>
            </p:nvSpPr>
            <p:spPr>
              <a:xfrm>
                <a:off x="12491513" y="6372863"/>
                <a:ext cx="1459729" cy="702869"/>
              </a:xfrm>
              <a:prstGeom prst="roundRect">
                <a:avLst/>
              </a:prstGeom>
              <a:solidFill>
                <a:schemeClr val="accent5">
                  <a:lumMod val="50000"/>
                </a:schemeClr>
              </a:solidFill>
              <a:ln>
                <a:noFill/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3">
                <a:schemeClr val="lt1"/>
              </a:lnRef>
              <a:fillRef idx="1">
                <a:schemeClr val="accent1"/>
              </a:fillRef>
              <a:effectRef idx="1">
                <a:schemeClr val="accent1"/>
              </a:effectRef>
              <a:fontRef idx="minor">
                <a:schemeClr val="lt1"/>
              </a:fontRef>
            </p:style>
            <p:txBody>
              <a:bodyPr lIns="40341" tIns="20171" rIns="40341" bIns="20171" rtlCol="0" anchor="ctr"/>
              <a:lstStyle/>
              <a:p>
                <a:pPr algn="ctr" defTabSz="201696"/>
                <a:r>
                  <a:rPr lang="tr-TR" sz="882" b="1" dirty="0">
                    <a:solidFill>
                      <a:prstClr val="white"/>
                    </a:solidFill>
                    <a:latin typeface="Calibri" panose="020F0502020204030204"/>
                  </a:rPr>
                  <a:t>MM</a:t>
                </a:r>
                <a:endParaRPr lang="en-US" sz="882" b="1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81" name="Rectangle: Rounded Corners 180">
                <a:extLst>
                  <a:ext uri="{FF2B5EF4-FFF2-40B4-BE49-F238E27FC236}">
                    <a16:creationId xmlns:a16="http://schemas.microsoft.com/office/drawing/2014/main" id="{8EE4E85C-B4BC-46F4-A38D-7AD6C20C0422}"/>
                  </a:ext>
                </a:extLst>
              </p:cNvPr>
              <p:cNvSpPr/>
              <p:nvPr/>
            </p:nvSpPr>
            <p:spPr>
              <a:xfrm>
                <a:off x="14214500" y="6361215"/>
                <a:ext cx="1459729" cy="702869"/>
              </a:xfrm>
              <a:prstGeom prst="roundRect">
                <a:avLst/>
              </a:prstGeom>
              <a:solidFill>
                <a:schemeClr val="accent5">
                  <a:lumMod val="50000"/>
                </a:schemeClr>
              </a:solidFill>
              <a:ln>
                <a:noFill/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3">
                <a:schemeClr val="lt1"/>
              </a:lnRef>
              <a:fillRef idx="1">
                <a:schemeClr val="accent1"/>
              </a:fillRef>
              <a:effectRef idx="1">
                <a:schemeClr val="accent1"/>
              </a:effectRef>
              <a:fontRef idx="minor">
                <a:schemeClr val="lt1"/>
              </a:fontRef>
            </p:style>
            <p:txBody>
              <a:bodyPr lIns="40341" tIns="20171" rIns="40341" bIns="20171" rtlCol="0" anchor="ctr"/>
              <a:lstStyle/>
              <a:p>
                <a:pPr algn="ctr" defTabSz="201696"/>
                <a:r>
                  <a:rPr lang="tr-TR" sz="882" b="1" dirty="0">
                    <a:solidFill>
                      <a:prstClr val="white"/>
                    </a:solidFill>
                    <a:latin typeface="Calibri" panose="020F0502020204030204"/>
                  </a:rPr>
                  <a:t>SD</a:t>
                </a:r>
                <a:endParaRPr lang="en-US" sz="882" b="1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7" name="Rectangle: Rounded Corners 178">
                <a:extLst>
                  <a:ext uri="{FF2B5EF4-FFF2-40B4-BE49-F238E27FC236}">
                    <a16:creationId xmlns:a16="http://schemas.microsoft.com/office/drawing/2014/main" id="{5714D99C-18A5-E1E6-6317-AD383872673C}"/>
                  </a:ext>
                </a:extLst>
              </p:cNvPr>
              <p:cNvSpPr/>
              <p:nvPr/>
            </p:nvSpPr>
            <p:spPr>
              <a:xfrm>
                <a:off x="10771218" y="7327352"/>
                <a:ext cx="1459729" cy="702869"/>
              </a:xfrm>
              <a:prstGeom prst="roundRect">
                <a:avLst/>
              </a:prstGeom>
              <a:solidFill>
                <a:schemeClr val="accent5">
                  <a:lumMod val="50000"/>
                </a:schemeClr>
              </a:solidFill>
              <a:ln>
                <a:noFill/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3">
                <a:schemeClr val="lt1"/>
              </a:lnRef>
              <a:fillRef idx="1">
                <a:schemeClr val="accent1"/>
              </a:fillRef>
              <a:effectRef idx="1">
                <a:schemeClr val="accent1"/>
              </a:effectRef>
              <a:fontRef idx="minor">
                <a:schemeClr val="lt1"/>
              </a:fontRef>
            </p:style>
            <p:txBody>
              <a:bodyPr lIns="40341" tIns="20171" rIns="40341" bIns="20171" rtlCol="0" anchor="ctr"/>
              <a:lstStyle/>
              <a:p>
                <a:pPr algn="ctr" defTabSz="201696"/>
                <a:r>
                  <a:rPr lang="tr-TR" sz="882" b="1" dirty="0">
                    <a:solidFill>
                      <a:prstClr val="white"/>
                    </a:solidFill>
                    <a:latin typeface="Calibri" panose="020F0502020204030204"/>
                    <a:cs typeface="Calibri"/>
                  </a:rPr>
                  <a:t>PP</a:t>
                </a:r>
              </a:p>
            </p:txBody>
          </p:sp>
          <p:sp>
            <p:nvSpPr>
              <p:cNvPr id="18" name="Rectangle: Rounded Corners 178">
                <a:extLst>
                  <a:ext uri="{FF2B5EF4-FFF2-40B4-BE49-F238E27FC236}">
                    <a16:creationId xmlns:a16="http://schemas.microsoft.com/office/drawing/2014/main" id="{ABA6FB6D-9F68-4321-A289-85A15E40E257}"/>
                  </a:ext>
                </a:extLst>
              </p:cNvPr>
              <p:cNvSpPr/>
              <p:nvPr/>
            </p:nvSpPr>
            <p:spPr>
              <a:xfrm>
                <a:off x="12499995" y="7303682"/>
                <a:ext cx="1459729" cy="702869"/>
              </a:xfrm>
              <a:prstGeom prst="roundRect">
                <a:avLst/>
              </a:prstGeom>
              <a:solidFill>
                <a:schemeClr val="accent5">
                  <a:lumMod val="50000"/>
                </a:schemeClr>
              </a:solidFill>
              <a:ln>
                <a:noFill/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3">
                <a:schemeClr val="lt1"/>
              </a:lnRef>
              <a:fillRef idx="1">
                <a:schemeClr val="accent1"/>
              </a:fillRef>
              <a:effectRef idx="1">
                <a:schemeClr val="accent1"/>
              </a:effectRef>
              <a:fontRef idx="minor">
                <a:schemeClr val="lt1"/>
              </a:fontRef>
            </p:style>
            <p:txBody>
              <a:bodyPr lIns="40341" tIns="20171" rIns="40341" bIns="20171" rtlCol="0" anchor="ctr"/>
              <a:lstStyle/>
              <a:p>
                <a:pPr algn="ctr" defTabSz="201696"/>
                <a:r>
                  <a:rPr lang="tr-TR" sz="882" b="1" dirty="0">
                    <a:solidFill>
                      <a:prstClr val="white"/>
                    </a:solidFill>
                    <a:latin typeface="Calibri" panose="020F0502020204030204"/>
                    <a:cs typeface="Calibri"/>
                  </a:rPr>
                  <a:t>QM</a:t>
                </a:r>
              </a:p>
            </p:txBody>
          </p:sp>
          <p:sp>
            <p:nvSpPr>
              <p:cNvPr id="19" name="Rectangle: Rounded Corners 178">
                <a:extLst>
                  <a:ext uri="{FF2B5EF4-FFF2-40B4-BE49-F238E27FC236}">
                    <a16:creationId xmlns:a16="http://schemas.microsoft.com/office/drawing/2014/main" id="{6C11D8FD-E739-4647-D085-414129DF422A}"/>
                  </a:ext>
                </a:extLst>
              </p:cNvPr>
              <p:cNvSpPr/>
              <p:nvPr/>
            </p:nvSpPr>
            <p:spPr>
              <a:xfrm>
                <a:off x="14210998" y="7286499"/>
                <a:ext cx="1459729" cy="702869"/>
              </a:xfrm>
              <a:prstGeom prst="roundRect">
                <a:avLst/>
              </a:prstGeom>
              <a:solidFill>
                <a:schemeClr val="accent5">
                  <a:lumMod val="50000"/>
                </a:schemeClr>
              </a:solidFill>
              <a:ln>
                <a:noFill/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3">
                <a:schemeClr val="lt1"/>
              </a:lnRef>
              <a:fillRef idx="1">
                <a:schemeClr val="accent1"/>
              </a:fillRef>
              <a:effectRef idx="1">
                <a:schemeClr val="accent1"/>
              </a:effectRef>
              <a:fontRef idx="minor">
                <a:schemeClr val="lt1"/>
              </a:fontRef>
            </p:style>
            <p:txBody>
              <a:bodyPr lIns="40341" tIns="20171" rIns="40341" bIns="20171" rtlCol="0" anchor="ctr"/>
              <a:lstStyle/>
              <a:p>
                <a:pPr algn="ctr" defTabSz="201696"/>
                <a:r>
                  <a:rPr lang="tr-TR" sz="882" b="1" dirty="0">
                    <a:solidFill>
                      <a:prstClr val="white"/>
                    </a:solidFill>
                    <a:latin typeface="Calibri" panose="020F0502020204030204"/>
                    <a:cs typeface="Calibri"/>
                  </a:rPr>
                  <a:t>PM</a:t>
                </a:r>
              </a:p>
            </p:txBody>
          </p:sp>
        </p:grpSp>
      </p:grpSp>
      <p:grpSp>
        <p:nvGrpSpPr>
          <p:cNvPr id="357" name="Group 356">
            <a:extLst>
              <a:ext uri="{FF2B5EF4-FFF2-40B4-BE49-F238E27FC236}">
                <a16:creationId xmlns:a16="http://schemas.microsoft.com/office/drawing/2014/main" id="{4DDDBFBF-7F85-4C40-B12E-BA17A4282D99}"/>
              </a:ext>
            </a:extLst>
          </p:cNvPr>
          <p:cNvGrpSpPr/>
          <p:nvPr/>
        </p:nvGrpSpPr>
        <p:grpSpPr>
          <a:xfrm>
            <a:off x="6095879" y="1292615"/>
            <a:ext cx="2552121" cy="449636"/>
            <a:chOff x="14386915" y="2929924"/>
            <a:chExt cx="4612732" cy="1019175"/>
          </a:xfrm>
          <a:solidFill>
            <a:schemeClr val="accent2"/>
          </a:solidFill>
        </p:grpSpPr>
        <p:grpSp>
          <p:nvGrpSpPr>
            <p:cNvPr id="117" name="Group 116">
              <a:extLst>
                <a:ext uri="{FF2B5EF4-FFF2-40B4-BE49-F238E27FC236}">
                  <a16:creationId xmlns:a16="http://schemas.microsoft.com/office/drawing/2014/main" id="{36EE2CAA-4D3E-4F2A-A2B7-80B5A1C7F60A}"/>
                </a:ext>
              </a:extLst>
            </p:cNvPr>
            <p:cNvGrpSpPr/>
            <p:nvPr/>
          </p:nvGrpSpPr>
          <p:grpSpPr>
            <a:xfrm>
              <a:off x="17070530" y="2929924"/>
              <a:ext cx="1929117" cy="1019175"/>
              <a:chOff x="16916142" y="2619378"/>
              <a:chExt cx="2518506" cy="1019175"/>
            </a:xfrm>
            <a:grpFill/>
          </p:grpSpPr>
          <p:sp>
            <p:nvSpPr>
              <p:cNvPr id="70" name="Rectangle: Rounded Corners 69">
                <a:extLst>
                  <a:ext uri="{FF2B5EF4-FFF2-40B4-BE49-F238E27FC236}">
                    <a16:creationId xmlns:a16="http://schemas.microsoft.com/office/drawing/2014/main" id="{9D7A2BE7-9F3D-4E07-85A5-4A01F543A6DC}"/>
                  </a:ext>
                </a:extLst>
              </p:cNvPr>
              <p:cNvSpPr/>
              <p:nvPr/>
            </p:nvSpPr>
            <p:spPr>
              <a:xfrm>
                <a:off x="16921669" y="2619378"/>
                <a:ext cx="2512979" cy="1019175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01696"/>
                <a:endParaRPr lang="en-US" sz="1191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94" name="TextBox 93">
                <a:extLst>
                  <a:ext uri="{FF2B5EF4-FFF2-40B4-BE49-F238E27FC236}">
                    <a16:creationId xmlns:a16="http://schemas.microsoft.com/office/drawing/2014/main" id="{7C65C616-92C2-4300-9DCB-2302CDEC121D}"/>
                  </a:ext>
                </a:extLst>
              </p:cNvPr>
              <p:cNvSpPr txBox="1"/>
              <p:nvPr/>
            </p:nvSpPr>
            <p:spPr>
              <a:xfrm>
                <a:off x="16916142" y="2703159"/>
                <a:ext cx="2440042" cy="440232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 defTabSz="201696"/>
                <a:endParaRPr lang="en-US" sz="662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  <p:pic>
          <p:nvPicPr>
            <p:cNvPr id="391" name="Picture 24">
              <a:extLst>
                <a:ext uri="{FF2B5EF4-FFF2-40B4-BE49-F238E27FC236}">
                  <a16:creationId xmlns:a16="http://schemas.microsoft.com/office/drawing/2014/main" id="{BF7C9347-0807-4992-8C6D-2A15F1E659B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386915" y="3196903"/>
              <a:ext cx="253017" cy="468112"/>
            </a:xfrm>
            <a:prstGeom prst="rect">
              <a:avLst/>
            </a:prstGeom>
            <a:grpFill/>
            <a:ln>
              <a:noFill/>
            </a:ln>
          </p:spPr>
        </p:pic>
      </p:grpSp>
      <p:grpSp>
        <p:nvGrpSpPr>
          <p:cNvPr id="196" name="Group 195">
            <a:extLst>
              <a:ext uri="{FF2B5EF4-FFF2-40B4-BE49-F238E27FC236}">
                <a16:creationId xmlns:a16="http://schemas.microsoft.com/office/drawing/2014/main" id="{B609B173-C305-47BC-9AB8-2D02304D64E1}"/>
              </a:ext>
            </a:extLst>
          </p:cNvPr>
          <p:cNvGrpSpPr/>
          <p:nvPr/>
        </p:nvGrpSpPr>
        <p:grpSpPr>
          <a:xfrm>
            <a:off x="5659576" y="5241132"/>
            <a:ext cx="2462493" cy="1142200"/>
            <a:chOff x="12333480" y="11879937"/>
            <a:chExt cx="5581650" cy="2588986"/>
          </a:xfrm>
          <a:solidFill>
            <a:schemeClr val="accent6">
              <a:lumMod val="75000"/>
            </a:schemeClr>
          </a:solidFill>
        </p:grpSpPr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B2B73B84-213F-42DC-967B-9A1D58C872F3}"/>
                </a:ext>
              </a:extLst>
            </p:cNvPr>
            <p:cNvGrpSpPr/>
            <p:nvPr/>
          </p:nvGrpSpPr>
          <p:grpSpPr>
            <a:xfrm>
              <a:off x="12333480" y="11879937"/>
              <a:ext cx="5581650" cy="2588986"/>
              <a:chOff x="12333480" y="11879937"/>
              <a:chExt cx="5581650" cy="2588986"/>
            </a:xfrm>
            <a:grpFill/>
          </p:grpSpPr>
          <p:grpSp>
            <p:nvGrpSpPr>
              <p:cNvPr id="186" name="Group 185">
                <a:extLst>
                  <a:ext uri="{FF2B5EF4-FFF2-40B4-BE49-F238E27FC236}">
                    <a16:creationId xmlns:a16="http://schemas.microsoft.com/office/drawing/2014/main" id="{7498F68B-0987-4F29-A271-B5ECA1B78FD5}"/>
                  </a:ext>
                </a:extLst>
              </p:cNvPr>
              <p:cNvGrpSpPr/>
              <p:nvPr/>
            </p:nvGrpSpPr>
            <p:grpSpPr>
              <a:xfrm>
                <a:off x="12333480" y="11879937"/>
                <a:ext cx="5581650" cy="2588986"/>
                <a:chOff x="10420350" y="9791700"/>
                <a:chExt cx="5581650" cy="2588986"/>
              </a:xfrm>
              <a:grpFill/>
            </p:grpSpPr>
            <p:grpSp>
              <p:nvGrpSpPr>
                <p:cNvPr id="120" name="Group 119">
                  <a:extLst>
                    <a:ext uri="{FF2B5EF4-FFF2-40B4-BE49-F238E27FC236}">
                      <a16:creationId xmlns:a16="http://schemas.microsoft.com/office/drawing/2014/main" id="{3E260604-D8FB-4E6D-B9C6-8D4E3AC8AFBD}"/>
                    </a:ext>
                  </a:extLst>
                </p:cNvPr>
                <p:cNvGrpSpPr/>
                <p:nvPr/>
              </p:nvGrpSpPr>
              <p:grpSpPr>
                <a:xfrm>
                  <a:off x="10420350" y="9791700"/>
                  <a:ext cx="5581650" cy="2588986"/>
                  <a:chOff x="10420350" y="9791700"/>
                  <a:chExt cx="5581650" cy="3181350"/>
                </a:xfrm>
                <a:grpFill/>
              </p:grpSpPr>
              <p:sp>
                <p:nvSpPr>
                  <p:cNvPr id="59" name="Rectangle: Rounded Corners 58">
                    <a:extLst>
                      <a:ext uri="{FF2B5EF4-FFF2-40B4-BE49-F238E27FC236}">
                        <a16:creationId xmlns:a16="http://schemas.microsoft.com/office/drawing/2014/main" id="{D7916E0A-4D93-4D53-8BBC-675273A5BC8D}"/>
                      </a:ext>
                    </a:extLst>
                  </p:cNvPr>
                  <p:cNvSpPr/>
                  <p:nvPr/>
                </p:nvSpPr>
                <p:spPr>
                  <a:xfrm>
                    <a:off x="10420350" y="9791700"/>
                    <a:ext cx="5581650" cy="318135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5">
                      <a:shade val="50000"/>
                    </a:schemeClr>
                  </a:lnRef>
                  <a:fillRef idx="1">
                    <a:schemeClr val="accent5"/>
                  </a:fillRef>
                  <a:effectRef idx="0">
                    <a:schemeClr val="accent5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201696"/>
                    <a:endParaRPr lang="en-US" sz="1191" dirty="0">
                      <a:solidFill>
                        <a:prstClr val="white"/>
                      </a:solidFill>
                      <a:latin typeface="Calibri" panose="020F0502020204030204"/>
                    </a:endParaRPr>
                  </a:p>
                </p:txBody>
              </p:sp>
              <p:sp>
                <p:nvSpPr>
                  <p:cNvPr id="97" name="TextBox 96">
                    <a:extLst>
                      <a:ext uri="{FF2B5EF4-FFF2-40B4-BE49-F238E27FC236}">
                        <a16:creationId xmlns:a16="http://schemas.microsoft.com/office/drawing/2014/main" id="{8AD875E9-F3F3-465E-B7BC-8B1B9C1FB953}"/>
                      </a:ext>
                    </a:extLst>
                  </p:cNvPr>
                  <p:cNvSpPr txBox="1"/>
                  <p:nvPr/>
                </p:nvSpPr>
                <p:spPr>
                  <a:xfrm>
                    <a:off x="11845677" y="9895179"/>
                    <a:ext cx="2626418" cy="86242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 defTabSz="201696"/>
                    <a:endParaRPr lang="en-US" sz="1412" b="1" dirty="0">
                      <a:solidFill>
                        <a:prstClr val="white"/>
                      </a:solidFill>
                      <a:latin typeface="Calibri" panose="020F0502020204030204"/>
                    </a:endParaRPr>
                  </a:p>
                </p:txBody>
              </p:sp>
            </p:grpSp>
            <p:sp>
              <p:nvSpPr>
                <p:cNvPr id="182" name="Rectangle: Rounded Corners 181">
                  <a:extLst>
                    <a:ext uri="{FF2B5EF4-FFF2-40B4-BE49-F238E27FC236}">
                      <a16:creationId xmlns:a16="http://schemas.microsoft.com/office/drawing/2014/main" id="{D3E8B349-CBC4-4E16-8004-B8D54200596A}"/>
                    </a:ext>
                  </a:extLst>
                </p:cNvPr>
                <p:cNvSpPr/>
                <p:nvPr/>
              </p:nvSpPr>
              <p:spPr>
                <a:xfrm>
                  <a:off x="10655437" y="10486953"/>
                  <a:ext cx="1554480" cy="731520"/>
                </a:xfrm>
                <a:prstGeom prst="roundRect">
                  <a:avLst/>
                </a:prstGeom>
                <a:solidFill>
                  <a:schemeClr val="accent6">
                    <a:lumMod val="50000"/>
                  </a:schemeClr>
                </a:solidFill>
                <a:ln>
                  <a:noFill/>
                </a:ln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p:spPr>
              <p:style>
                <a:lnRef idx="3">
                  <a:schemeClr val="lt1"/>
                </a:lnRef>
                <a:fillRef idx="1">
                  <a:schemeClr val="accent1"/>
                </a:fillRef>
                <a:effectRef idx="1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201696"/>
                  <a:endParaRPr lang="en-US" sz="882" dirty="0">
                    <a:solidFill>
                      <a:prstClr val="white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183" name="Rectangle: Rounded Corners 182">
                  <a:extLst>
                    <a:ext uri="{FF2B5EF4-FFF2-40B4-BE49-F238E27FC236}">
                      <a16:creationId xmlns:a16="http://schemas.microsoft.com/office/drawing/2014/main" id="{0EB8FEBD-F497-4A30-911D-EDE491A4FDAD}"/>
                    </a:ext>
                  </a:extLst>
                </p:cNvPr>
                <p:cNvSpPr/>
                <p:nvPr/>
              </p:nvSpPr>
              <p:spPr>
                <a:xfrm>
                  <a:off x="10655437" y="11416741"/>
                  <a:ext cx="1554480" cy="731520"/>
                </a:xfrm>
                <a:prstGeom prst="roundRect">
                  <a:avLst/>
                </a:prstGeom>
                <a:solidFill>
                  <a:schemeClr val="accent6">
                    <a:lumMod val="50000"/>
                  </a:schemeClr>
                </a:solidFill>
                <a:ln>
                  <a:noFill/>
                </a:ln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p:spPr>
              <p:style>
                <a:lnRef idx="3">
                  <a:schemeClr val="lt1"/>
                </a:lnRef>
                <a:fillRef idx="1">
                  <a:schemeClr val="accent1"/>
                </a:fillRef>
                <a:effectRef idx="1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201696"/>
                  <a:endParaRPr lang="en-US" sz="882" dirty="0">
                    <a:solidFill>
                      <a:prstClr val="white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184" name="Rectangle: Rounded Corners 183">
                  <a:extLst>
                    <a:ext uri="{FF2B5EF4-FFF2-40B4-BE49-F238E27FC236}">
                      <a16:creationId xmlns:a16="http://schemas.microsoft.com/office/drawing/2014/main" id="{D73F8D00-D277-4D68-A374-2DE07846A807}"/>
                    </a:ext>
                  </a:extLst>
                </p:cNvPr>
                <p:cNvSpPr/>
                <p:nvPr/>
              </p:nvSpPr>
              <p:spPr>
                <a:xfrm>
                  <a:off x="12464981" y="10514808"/>
                  <a:ext cx="1554480" cy="731520"/>
                </a:xfrm>
                <a:prstGeom prst="roundRect">
                  <a:avLst/>
                </a:prstGeom>
                <a:solidFill>
                  <a:schemeClr val="accent6">
                    <a:lumMod val="50000"/>
                  </a:schemeClr>
                </a:solidFill>
                <a:ln>
                  <a:noFill/>
                </a:ln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p:spPr>
              <p:style>
                <a:lnRef idx="3">
                  <a:schemeClr val="lt1"/>
                </a:lnRef>
                <a:fillRef idx="1">
                  <a:schemeClr val="accent1"/>
                </a:fillRef>
                <a:effectRef idx="1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201696"/>
                  <a:endParaRPr lang="en-US" sz="882" dirty="0">
                    <a:solidFill>
                      <a:prstClr val="white"/>
                    </a:solidFill>
                    <a:latin typeface="Calibri" panose="020F0502020204030204"/>
                  </a:endParaRPr>
                </a:p>
              </p:txBody>
            </p:sp>
          </p:grpSp>
          <p:sp>
            <p:nvSpPr>
              <p:cNvPr id="271" name="Rectangle: Rounded Corners 270">
                <a:extLst>
                  <a:ext uri="{FF2B5EF4-FFF2-40B4-BE49-F238E27FC236}">
                    <a16:creationId xmlns:a16="http://schemas.microsoft.com/office/drawing/2014/main" id="{42769A7E-08F6-44B6-89EE-DED1E6D500FA}"/>
                  </a:ext>
                </a:extLst>
              </p:cNvPr>
              <p:cNvSpPr/>
              <p:nvPr/>
            </p:nvSpPr>
            <p:spPr>
              <a:xfrm>
                <a:off x="16189449" y="12594668"/>
                <a:ext cx="1554480" cy="731520"/>
              </a:xfrm>
              <a:prstGeom prst="roundRect">
                <a:avLst/>
              </a:prstGeom>
              <a:solidFill>
                <a:schemeClr val="accent6">
                  <a:lumMod val="50000"/>
                </a:schemeClr>
              </a:solidFill>
              <a:ln>
                <a:noFill/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3">
                <a:schemeClr val="lt1"/>
              </a:lnRef>
              <a:fillRef idx="1">
                <a:schemeClr val="accent1"/>
              </a:fillRef>
              <a:effectRef idx="1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01696"/>
                <a:endParaRPr lang="en-US" sz="882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304" name="Rectangle: Rounded Corners 303">
              <a:extLst>
                <a:ext uri="{FF2B5EF4-FFF2-40B4-BE49-F238E27FC236}">
                  <a16:creationId xmlns:a16="http://schemas.microsoft.com/office/drawing/2014/main" id="{C5695A7A-FCC2-4854-81D9-DA2172DDE23A}"/>
                </a:ext>
              </a:extLst>
            </p:cNvPr>
            <p:cNvSpPr/>
            <p:nvPr/>
          </p:nvSpPr>
          <p:spPr>
            <a:xfrm>
              <a:off x="14364732" y="13504978"/>
              <a:ext cx="1554480" cy="731520"/>
            </a:xfrm>
            <a:prstGeom prst="round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01696"/>
              <a:endParaRPr lang="en-US" sz="882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296" name="Group 295">
            <a:extLst>
              <a:ext uri="{FF2B5EF4-FFF2-40B4-BE49-F238E27FC236}">
                <a16:creationId xmlns:a16="http://schemas.microsoft.com/office/drawing/2014/main" id="{2C4CA4FF-2273-43B6-A15F-6058890CA5E6}"/>
              </a:ext>
            </a:extLst>
          </p:cNvPr>
          <p:cNvGrpSpPr/>
          <p:nvPr/>
        </p:nvGrpSpPr>
        <p:grpSpPr>
          <a:xfrm>
            <a:off x="1823819" y="4232332"/>
            <a:ext cx="1108667" cy="449636"/>
            <a:chOff x="3808379" y="11099005"/>
            <a:chExt cx="2512979" cy="1019175"/>
          </a:xfrm>
          <a:solidFill>
            <a:schemeClr val="accent2">
              <a:lumMod val="50000"/>
            </a:schemeClr>
          </a:solidFill>
        </p:grpSpPr>
        <p:sp>
          <p:nvSpPr>
            <p:cNvPr id="297" name="Rectangle: Rounded Corners 296">
              <a:extLst>
                <a:ext uri="{FF2B5EF4-FFF2-40B4-BE49-F238E27FC236}">
                  <a16:creationId xmlns:a16="http://schemas.microsoft.com/office/drawing/2014/main" id="{70C9BFE7-2C1A-4856-8C8B-4363DDF243FF}"/>
                </a:ext>
              </a:extLst>
            </p:cNvPr>
            <p:cNvSpPr/>
            <p:nvPr/>
          </p:nvSpPr>
          <p:spPr>
            <a:xfrm>
              <a:off x="3808379" y="11099005"/>
              <a:ext cx="2512979" cy="1019175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01696"/>
              <a:endParaRPr lang="en-US" sz="1191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98" name="TextBox 297">
              <a:extLst>
                <a:ext uri="{FF2B5EF4-FFF2-40B4-BE49-F238E27FC236}">
                  <a16:creationId xmlns:a16="http://schemas.microsoft.com/office/drawing/2014/main" id="{1D60A482-48A6-408C-A3F8-D8DBF955B688}"/>
                </a:ext>
              </a:extLst>
            </p:cNvPr>
            <p:cNvSpPr txBox="1"/>
            <p:nvPr/>
          </p:nvSpPr>
          <p:spPr>
            <a:xfrm>
              <a:off x="4180563" y="11224096"/>
              <a:ext cx="1866900" cy="4402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201696"/>
              <a:endParaRPr lang="en-US" sz="662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461" name="Group 460">
            <a:extLst>
              <a:ext uri="{FF2B5EF4-FFF2-40B4-BE49-F238E27FC236}">
                <a16:creationId xmlns:a16="http://schemas.microsoft.com/office/drawing/2014/main" id="{B67E3DD1-49AA-431D-AFD3-BE243A1E86E2}"/>
              </a:ext>
            </a:extLst>
          </p:cNvPr>
          <p:cNvGrpSpPr/>
          <p:nvPr/>
        </p:nvGrpSpPr>
        <p:grpSpPr>
          <a:xfrm>
            <a:off x="896410" y="3046817"/>
            <a:ext cx="548920" cy="224193"/>
            <a:chOff x="1930264" y="6906116"/>
            <a:chExt cx="1244218" cy="508171"/>
          </a:xfrm>
        </p:grpSpPr>
        <p:cxnSp>
          <p:nvCxnSpPr>
            <p:cNvPr id="455" name="Connector: Elbow 454">
              <a:extLst>
                <a:ext uri="{FF2B5EF4-FFF2-40B4-BE49-F238E27FC236}">
                  <a16:creationId xmlns:a16="http://schemas.microsoft.com/office/drawing/2014/main" id="{7BDEA715-2B32-4654-958C-5216CEA3B364}"/>
                </a:ext>
              </a:extLst>
            </p:cNvPr>
            <p:cNvCxnSpPr>
              <a:cxnSpLocks/>
              <a:stCxn id="454" idx="3"/>
              <a:endCxn id="52" idx="1"/>
            </p:cNvCxnSpPr>
            <p:nvPr/>
          </p:nvCxnSpPr>
          <p:spPr>
            <a:xfrm>
              <a:off x="1930264" y="6906116"/>
              <a:ext cx="1244218" cy="508171"/>
            </a:xfrm>
            <a:prstGeom prst="bentConnector3">
              <a:avLst>
                <a:gd name="adj1" fmla="val 50000"/>
              </a:avLst>
            </a:prstGeom>
            <a:ln w="28575">
              <a:prstDash val="solid"/>
              <a:headEnd type="triangle"/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460" name="Graphic 459" descr="Email with solid fill">
              <a:extLst>
                <a:ext uri="{FF2B5EF4-FFF2-40B4-BE49-F238E27FC236}">
                  <a16:creationId xmlns:a16="http://schemas.microsoft.com/office/drawing/2014/main" id="{6991CD92-68C5-46BD-A4D6-9F831408DF7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2310880" y="6912563"/>
              <a:ext cx="430972" cy="430972"/>
            </a:xfrm>
            <a:prstGeom prst="rect">
              <a:avLst/>
            </a:prstGeom>
          </p:spPr>
        </p:pic>
      </p:grpSp>
      <p:grpSp>
        <p:nvGrpSpPr>
          <p:cNvPr id="476" name="Group 475">
            <a:extLst>
              <a:ext uri="{FF2B5EF4-FFF2-40B4-BE49-F238E27FC236}">
                <a16:creationId xmlns:a16="http://schemas.microsoft.com/office/drawing/2014/main" id="{562E1709-3892-4430-AD07-BE470611E790}"/>
              </a:ext>
            </a:extLst>
          </p:cNvPr>
          <p:cNvGrpSpPr/>
          <p:nvPr/>
        </p:nvGrpSpPr>
        <p:grpSpPr>
          <a:xfrm>
            <a:off x="878726" y="3732288"/>
            <a:ext cx="1042456" cy="1047289"/>
            <a:chOff x="558250" y="9021907"/>
            <a:chExt cx="2362900" cy="2373855"/>
          </a:xfrm>
        </p:grpSpPr>
        <p:pic>
          <p:nvPicPr>
            <p:cNvPr id="399" name="Picture 398" descr="A picture containing transport&#10;&#10;Description automatically generated">
              <a:extLst>
                <a:ext uri="{FF2B5EF4-FFF2-40B4-BE49-F238E27FC236}">
                  <a16:creationId xmlns:a16="http://schemas.microsoft.com/office/drawing/2014/main" id="{2F28A991-4C5C-4FD7-8662-DE127E9135A1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8250" y="10809085"/>
              <a:ext cx="586677" cy="586677"/>
            </a:xfrm>
            <a:prstGeom prst="rect">
              <a:avLst/>
            </a:prstGeom>
          </p:spPr>
        </p:pic>
        <p:sp>
          <p:nvSpPr>
            <p:cNvPr id="475" name="TextBox 474">
              <a:extLst>
                <a:ext uri="{FF2B5EF4-FFF2-40B4-BE49-F238E27FC236}">
                  <a16:creationId xmlns:a16="http://schemas.microsoft.com/office/drawing/2014/main" id="{E204A3F0-16BA-48BB-8A51-28597FAAFEA1}"/>
                </a:ext>
              </a:extLst>
            </p:cNvPr>
            <p:cNvSpPr txBox="1"/>
            <p:nvPr/>
          </p:nvSpPr>
          <p:spPr>
            <a:xfrm>
              <a:off x="1468518" y="9021907"/>
              <a:ext cx="1452632" cy="8246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201696"/>
              <a:r>
                <a:rPr lang="tr-TR" sz="882" dirty="0" err="1">
                  <a:solidFill>
                    <a:prstClr val="black"/>
                  </a:solidFill>
                  <a:latin typeface="Calibri" panose="020F0502020204030204"/>
                </a:rPr>
                <a:t>Customs</a:t>
              </a:r>
              <a:r>
                <a:rPr lang="tr-TR" sz="882" dirty="0">
                  <a:solidFill>
                    <a:prstClr val="black"/>
                  </a:solidFill>
                  <a:latin typeface="Calibri" panose="020F0502020204030204"/>
                </a:rPr>
                <a:t> </a:t>
              </a:r>
              <a:r>
                <a:rPr lang="tr-TR" sz="882" dirty="0" err="1">
                  <a:solidFill>
                    <a:prstClr val="black"/>
                  </a:solidFill>
                  <a:latin typeface="Calibri" panose="020F0502020204030204"/>
                </a:rPr>
                <a:t>Agency</a:t>
              </a:r>
              <a:endParaRPr lang="tr-TR" sz="882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310" name="Group 309">
            <a:extLst>
              <a:ext uri="{FF2B5EF4-FFF2-40B4-BE49-F238E27FC236}">
                <a16:creationId xmlns:a16="http://schemas.microsoft.com/office/drawing/2014/main" id="{27BAC269-5448-4616-B90C-D37E306DB1FA}"/>
              </a:ext>
            </a:extLst>
          </p:cNvPr>
          <p:cNvGrpSpPr/>
          <p:nvPr/>
        </p:nvGrpSpPr>
        <p:grpSpPr>
          <a:xfrm>
            <a:off x="7007490" y="2845123"/>
            <a:ext cx="2748150" cy="341112"/>
            <a:chOff x="17596712" y="6103505"/>
            <a:chExt cx="4794763" cy="773187"/>
          </a:xfrm>
        </p:grpSpPr>
        <p:cxnSp>
          <p:nvCxnSpPr>
            <p:cNvPr id="311" name="Connector: Elbow 310">
              <a:extLst>
                <a:ext uri="{FF2B5EF4-FFF2-40B4-BE49-F238E27FC236}">
                  <a16:creationId xmlns:a16="http://schemas.microsoft.com/office/drawing/2014/main" id="{57A88D42-DEC2-4467-83A0-FDC1F34481AC}"/>
                </a:ext>
              </a:extLst>
            </p:cNvPr>
            <p:cNvCxnSpPr>
              <a:cxnSpLocks/>
              <a:stCxn id="68" idx="1"/>
            </p:cNvCxnSpPr>
            <p:nvPr/>
          </p:nvCxnSpPr>
          <p:spPr>
            <a:xfrm rot="10800000">
              <a:off x="17596712" y="6718538"/>
              <a:ext cx="3503179" cy="158154"/>
            </a:xfrm>
            <a:prstGeom prst="bentConnector3">
              <a:avLst>
                <a:gd name="adj1" fmla="val 50000"/>
              </a:avLst>
            </a:prstGeom>
            <a:ln w="28575">
              <a:solidFill>
                <a:srgbClr val="7F6000"/>
              </a:solidFill>
              <a:headEnd type="none" w="med" len="med"/>
              <a:tailEnd type="arrow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12" name="TextBox 311">
              <a:extLst>
                <a:ext uri="{FF2B5EF4-FFF2-40B4-BE49-F238E27FC236}">
                  <a16:creationId xmlns:a16="http://schemas.microsoft.com/office/drawing/2014/main" id="{1EE55C1F-7606-4FF3-976C-1EA928E4222B}"/>
                </a:ext>
              </a:extLst>
            </p:cNvPr>
            <p:cNvSpPr txBox="1"/>
            <p:nvPr/>
          </p:nvSpPr>
          <p:spPr>
            <a:xfrm>
              <a:off x="21450724" y="6103505"/>
              <a:ext cx="940751" cy="5169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201696"/>
              <a:endParaRPr lang="en-US" sz="882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cxnSp>
        <p:nvCxnSpPr>
          <p:cNvPr id="223" name="Connector: Elbow 222">
            <a:extLst>
              <a:ext uri="{FF2B5EF4-FFF2-40B4-BE49-F238E27FC236}">
                <a16:creationId xmlns:a16="http://schemas.microsoft.com/office/drawing/2014/main" id="{BCCA97F0-C52B-4964-8740-6DE941AC9B45}"/>
              </a:ext>
            </a:extLst>
          </p:cNvPr>
          <p:cNvCxnSpPr>
            <a:cxnSpLocks/>
            <a:stCxn id="47" idx="1"/>
            <a:endCxn id="51" idx="0"/>
          </p:cNvCxnSpPr>
          <p:nvPr/>
        </p:nvCxnSpPr>
        <p:spPr>
          <a:xfrm rot="10800000" flipV="1">
            <a:off x="1587221" y="452362"/>
            <a:ext cx="1386175" cy="449822"/>
          </a:xfrm>
          <a:prstGeom prst="bentConnector2">
            <a:avLst/>
          </a:prstGeom>
          <a:ln w="28575">
            <a:solidFill>
              <a:srgbClr val="002060"/>
            </a:solidFill>
            <a:headEnd type="none" w="med" len="med"/>
            <a:tailEnd type="arrow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9" name="Connector: Elbow 228">
            <a:extLst>
              <a:ext uri="{FF2B5EF4-FFF2-40B4-BE49-F238E27FC236}">
                <a16:creationId xmlns:a16="http://schemas.microsoft.com/office/drawing/2014/main" id="{28285303-A7AB-4EFB-AEAE-8AEB89AC095F}"/>
              </a:ext>
            </a:extLst>
          </p:cNvPr>
          <p:cNvCxnSpPr>
            <a:cxnSpLocks/>
          </p:cNvCxnSpPr>
          <p:nvPr/>
        </p:nvCxnSpPr>
        <p:spPr>
          <a:xfrm rot="16200000" flipV="1">
            <a:off x="2868179" y="937070"/>
            <a:ext cx="606294" cy="97560"/>
          </a:xfrm>
          <a:prstGeom prst="bentConnector3">
            <a:avLst>
              <a:gd name="adj1" fmla="val 50000"/>
            </a:avLst>
          </a:prstGeom>
          <a:ln w="28575">
            <a:solidFill>
              <a:srgbClr val="002060"/>
            </a:solidFill>
            <a:headEnd type="none" w="med" len="med"/>
            <a:tailEnd type="arrow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2" name="Connector: Elbow 231">
            <a:extLst>
              <a:ext uri="{FF2B5EF4-FFF2-40B4-BE49-F238E27FC236}">
                <a16:creationId xmlns:a16="http://schemas.microsoft.com/office/drawing/2014/main" id="{E7EC7016-B590-4E4C-AE2F-BBDBB1445C03}"/>
              </a:ext>
            </a:extLst>
          </p:cNvPr>
          <p:cNvCxnSpPr>
            <a:cxnSpLocks/>
          </p:cNvCxnSpPr>
          <p:nvPr/>
        </p:nvCxnSpPr>
        <p:spPr>
          <a:xfrm rot="5400000">
            <a:off x="3739460" y="875926"/>
            <a:ext cx="640734" cy="227977"/>
          </a:xfrm>
          <a:prstGeom prst="bentConnector3">
            <a:avLst>
              <a:gd name="adj1" fmla="val 50000"/>
            </a:avLst>
          </a:prstGeom>
          <a:ln w="28575">
            <a:solidFill>
              <a:srgbClr val="002060"/>
            </a:solidFill>
            <a:headEnd type="none" w="med" len="med"/>
            <a:tailEnd type="arrow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2" name="Connector: Elbow 151">
            <a:extLst>
              <a:ext uri="{FF2B5EF4-FFF2-40B4-BE49-F238E27FC236}">
                <a16:creationId xmlns:a16="http://schemas.microsoft.com/office/drawing/2014/main" id="{90982167-3E71-45AB-8F9F-C5FB6A855FE3}"/>
              </a:ext>
            </a:extLst>
          </p:cNvPr>
          <p:cNvCxnSpPr>
            <a:cxnSpLocks/>
            <a:stCxn id="47" idx="3"/>
          </p:cNvCxnSpPr>
          <p:nvPr/>
        </p:nvCxnSpPr>
        <p:spPr>
          <a:xfrm>
            <a:off x="4271978" y="373958"/>
            <a:ext cx="815268" cy="1620034"/>
          </a:xfrm>
          <a:prstGeom prst="bentConnector2">
            <a:avLst/>
          </a:prstGeom>
          <a:ln w="28575">
            <a:solidFill>
              <a:srgbClr val="002060"/>
            </a:solidFill>
            <a:headEnd type="none" w="med" len="med"/>
            <a:tailEnd type="arrow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8" name="Connector: Elbow 187">
            <a:extLst>
              <a:ext uri="{FF2B5EF4-FFF2-40B4-BE49-F238E27FC236}">
                <a16:creationId xmlns:a16="http://schemas.microsoft.com/office/drawing/2014/main" id="{B3F68932-9E44-4A5C-A513-1B694D5A3D6C}"/>
              </a:ext>
            </a:extLst>
          </p:cNvPr>
          <p:cNvCxnSpPr>
            <a:cxnSpLocks/>
          </p:cNvCxnSpPr>
          <p:nvPr/>
        </p:nvCxnSpPr>
        <p:spPr>
          <a:xfrm rot="10800000" flipV="1">
            <a:off x="8895063" y="1594914"/>
            <a:ext cx="1543946" cy="3196170"/>
          </a:xfrm>
          <a:prstGeom prst="bentConnector2">
            <a:avLst/>
          </a:prstGeom>
          <a:ln w="28575">
            <a:solidFill>
              <a:srgbClr val="333F50"/>
            </a:solidFill>
            <a:headEnd type="none" w="med" len="med"/>
            <a:tailEnd type="arrow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0D8247D1-D1B1-49F1-B2FE-4EEDB4C4FAEE}"/>
              </a:ext>
            </a:extLst>
          </p:cNvPr>
          <p:cNvCxnSpPr>
            <a:cxnSpLocks/>
            <a:stCxn id="50" idx="3"/>
            <a:endCxn id="248" idx="2"/>
          </p:cNvCxnSpPr>
          <p:nvPr/>
        </p:nvCxnSpPr>
        <p:spPr>
          <a:xfrm>
            <a:off x="4303853" y="1589468"/>
            <a:ext cx="1086960" cy="76063"/>
          </a:xfrm>
          <a:prstGeom prst="bentConnector4">
            <a:avLst>
              <a:gd name="adj1" fmla="val 37140"/>
              <a:gd name="adj2" fmla="val 400540"/>
            </a:avLst>
          </a:prstGeom>
          <a:ln>
            <a:solidFill>
              <a:srgbClr val="333F50"/>
            </a:solidFill>
            <a:prstDash val="dash"/>
            <a:headEnd type="triangle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60" name="Connector: Elbow 259">
            <a:extLst>
              <a:ext uri="{FF2B5EF4-FFF2-40B4-BE49-F238E27FC236}">
                <a16:creationId xmlns:a16="http://schemas.microsoft.com/office/drawing/2014/main" id="{324834F3-43D7-44F2-BCE1-8F28837F67E1}"/>
              </a:ext>
            </a:extLst>
          </p:cNvPr>
          <p:cNvCxnSpPr>
            <a:cxnSpLocks/>
          </p:cNvCxnSpPr>
          <p:nvPr/>
        </p:nvCxnSpPr>
        <p:spPr>
          <a:xfrm flipV="1">
            <a:off x="936179" y="327076"/>
            <a:ext cx="2021293" cy="1434"/>
          </a:xfrm>
          <a:prstGeom prst="bentConnector3">
            <a:avLst>
              <a:gd name="adj1" fmla="val 50000"/>
            </a:avLst>
          </a:prstGeom>
          <a:ln>
            <a:prstDash val="dash"/>
            <a:headEnd type="triangle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61" name="Connector: Elbow 260">
            <a:extLst>
              <a:ext uri="{FF2B5EF4-FFF2-40B4-BE49-F238E27FC236}">
                <a16:creationId xmlns:a16="http://schemas.microsoft.com/office/drawing/2014/main" id="{A6FD4165-D8CB-4512-8EC9-32B4286E1F23}"/>
              </a:ext>
            </a:extLst>
          </p:cNvPr>
          <p:cNvCxnSpPr>
            <a:cxnSpLocks/>
            <a:stCxn id="259" idx="2"/>
            <a:endCxn id="51" idx="1"/>
          </p:cNvCxnSpPr>
          <p:nvPr/>
        </p:nvCxnSpPr>
        <p:spPr>
          <a:xfrm rot="16200000" flipH="1">
            <a:off x="603697" y="959445"/>
            <a:ext cx="462346" cy="103891"/>
          </a:xfrm>
          <a:prstGeom prst="bentConnector2">
            <a:avLst/>
          </a:prstGeom>
          <a:ln>
            <a:solidFill>
              <a:srgbClr val="002060"/>
            </a:solidFill>
            <a:prstDash val="dash"/>
            <a:headEnd type="triangle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66" name="Connector: Elbow 265">
            <a:extLst>
              <a:ext uri="{FF2B5EF4-FFF2-40B4-BE49-F238E27FC236}">
                <a16:creationId xmlns:a16="http://schemas.microsoft.com/office/drawing/2014/main" id="{3B585EC6-A744-4053-924F-B9D45CC9C4B3}"/>
              </a:ext>
            </a:extLst>
          </p:cNvPr>
          <p:cNvCxnSpPr>
            <a:cxnSpLocks/>
            <a:stCxn id="264" idx="3"/>
            <a:endCxn id="53" idx="1"/>
          </p:cNvCxnSpPr>
          <p:nvPr/>
        </p:nvCxnSpPr>
        <p:spPr>
          <a:xfrm flipV="1">
            <a:off x="1638723" y="6249341"/>
            <a:ext cx="461154" cy="156297"/>
          </a:xfrm>
          <a:prstGeom prst="bentConnector3">
            <a:avLst>
              <a:gd name="adj1" fmla="val 50000"/>
            </a:avLst>
          </a:prstGeom>
          <a:ln>
            <a:prstDash val="dash"/>
            <a:headEnd type="triangle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68" name="Connector: Elbow 267">
            <a:extLst>
              <a:ext uri="{FF2B5EF4-FFF2-40B4-BE49-F238E27FC236}">
                <a16:creationId xmlns:a16="http://schemas.microsoft.com/office/drawing/2014/main" id="{910C86C0-F184-49CD-A4C6-1E0651E0D847}"/>
              </a:ext>
            </a:extLst>
          </p:cNvPr>
          <p:cNvCxnSpPr>
            <a:cxnSpLocks/>
            <a:stCxn id="216" idx="0"/>
            <a:endCxn id="67" idx="2"/>
          </p:cNvCxnSpPr>
          <p:nvPr/>
        </p:nvCxnSpPr>
        <p:spPr>
          <a:xfrm rot="5400000" flipH="1" flipV="1">
            <a:off x="8451851" y="5305747"/>
            <a:ext cx="254404" cy="101337"/>
          </a:xfrm>
          <a:prstGeom prst="bentConnector3">
            <a:avLst>
              <a:gd name="adj1" fmla="val 50000"/>
            </a:avLst>
          </a:prstGeom>
          <a:ln>
            <a:prstDash val="dash"/>
            <a:headEnd type="triangle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75" name="Connector: Elbow 274">
            <a:extLst>
              <a:ext uri="{FF2B5EF4-FFF2-40B4-BE49-F238E27FC236}">
                <a16:creationId xmlns:a16="http://schemas.microsoft.com/office/drawing/2014/main" id="{F79BA607-4ECF-43BC-8298-42116A88C25E}"/>
              </a:ext>
            </a:extLst>
          </p:cNvPr>
          <p:cNvCxnSpPr>
            <a:cxnSpLocks/>
            <a:stCxn id="235" idx="3"/>
            <a:endCxn id="71" idx="0"/>
          </p:cNvCxnSpPr>
          <p:nvPr/>
        </p:nvCxnSpPr>
        <p:spPr>
          <a:xfrm>
            <a:off x="7445629" y="231297"/>
            <a:ext cx="2706011" cy="46604"/>
          </a:xfrm>
          <a:prstGeom prst="bentConnector2">
            <a:avLst/>
          </a:prstGeom>
          <a:ln>
            <a:prstDash val="dash"/>
            <a:headEnd type="triangle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78" name="Connector: Elbow 277">
            <a:extLst>
              <a:ext uri="{FF2B5EF4-FFF2-40B4-BE49-F238E27FC236}">
                <a16:creationId xmlns:a16="http://schemas.microsoft.com/office/drawing/2014/main" id="{D8BB7043-1CD0-4459-97F3-411F3149DCB1}"/>
              </a:ext>
            </a:extLst>
          </p:cNvPr>
          <p:cNvCxnSpPr>
            <a:cxnSpLocks/>
            <a:stCxn id="245" idx="0"/>
            <a:endCxn id="450" idx="2"/>
          </p:cNvCxnSpPr>
          <p:nvPr/>
        </p:nvCxnSpPr>
        <p:spPr>
          <a:xfrm rot="5400000" flipH="1" flipV="1">
            <a:off x="5074225" y="736651"/>
            <a:ext cx="637463" cy="4285"/>
          </a:xfrm>
          <a:prstGeom prst="bentConnector3">
            <a:avLst>
              <a:gd name="adj1" fmla="val 50000"/>
            </a:avLst>
          </a:prstGeom>
          <a:ln>
            <a:prstDash val="dash"/>
            <a:headEnd type="triangle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79" name="Connector: Elbow 278">
            <a:extLst>
              <a:ext uri="{FF2B5EF4-FFF2-40B4-BE49-F238E27FC236}">
                <a16:creationId xmlns:a16="http://schemas.microsoft.com/office/drawing/2014/main" id="{1F7C032E-BF59-4239-979A-6843E1E2F43A}"/>
              </a:ext>
            </a:extLst>
          </p:cNvPr>
          <p:cNvCxnSpPr>
            <a:cxnSpLocks/>
            <a:stCxn id="235" idx="1"/>
            <a:endCxn id="450" idx="3"/>
          </p:cNvCxnSpPr>
          <p:nvPr/>
        </p:nvCxnSpPr>
        <p:spPr>
          <a:xfrm rot="10800000" flipV="1">
            <a:off x="5595825" y="231297"/>
            <a:ext cx="1543296" cy="1017"/>
          </a:xfrm>
          <a:prstGeom prst="bentConnector3">
            <a:avLst>
              <a:gd name="adj1" fmla="val 50000"/>
            </a:avLst>
          </a:prstGeom>
          <a:ln>
            <a:prstDash val="dash"/>
            <a:headEnd type="triangle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32" name="Connector: Elbow 331">
            <a:extLst>
              <a:ext uri="{FF2B5EF4-FFF2-40B4-BE49-F238E27FC236}">
                <a16:creationId xmlns:a16="http://schemas.microsoft.com/office/drawing/2014/main" id="{145FC6F8-ACC3-4FA5-966D-A855226878A1}"/>
              </a:ext>
            </a:extLst>
          </p:cNvPr>
          <p:cNvCxnSpPr>
            <a:cxnSpLocks/>
            <a:stCxn id="70" idx="0"/>
            <a:endCxn id="329" idx="2"/>
          </p:cNvCxnSpPr>
          <p:nvPr/>
        </p:nvCxnSpPr>
        <p:spPr>
          <a:xfrm rot="5400000" flipH="1" flipV="1">
            <a:off x="8110689" y="795525"/>
            <a:ext cx="501904" cy="492277"/>
          </a:xfrm>
          <a:prstGeom prst="bentConnector3">
            <a:avLst>
              <a:gd name="adj1" fmla="val 50000"/>
            </a:avLst>
          </a:prstGeom>
          <a:ln w="25400">
            <a:solidFill>
              <a:srgbClr val="C00000"/>
            </a:solidFill>
            <a:prstDash val="solid"/>
            <a:headEnd type="triangle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43" name="Connector: Elbow 342">
            <a:extLst>
              <a:ext uri="{FF2B5EF4-FFF2-40B4-BE49-F238E27FC236}">
                <a16:creationId xmlns:a16="http://schemas.microsoft.com/office/drawing/2014/main" id="{C2BBC486-CDA6-4211-BD91-24DA20AFC9BA}"/>
              </a:ext>
            </a:extLst>
          </p:cNvPr>
          <p:cNvCxnSpPr>
            <a:cxnSpLocks/>
            <a:endCxn id="46" idx="0"/>
          </p:cNvCxnSpPr>
          <p:nvPr/>
        </p:nvCxnSpPr>
        <p:spPr>
          <a:xfrm rot="10800000" flipV="1">
            <a:off x="5817896" y="765573"/>
            <a:ext cx="2269712" cy="1215768"/>
          </a:xfrm>
          <a:prstGeom prst="bentConnector2">
            <a:avLst/>
          </a:prstGeom>
          <a:ln w="28575">
            <a:solidFill>
              <a:srgbClr val="C00000"/>
            </a:solidFill>
            <a:headEnd type="none" w="med" len="med"/>
            <a:tailEnd type="arrow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7" name="Connector: Elbow 416">
            <a:extLst>
              <a:ext uri="{FF2B5EF4-FFF2-40B4-BE49-F238E27FC236}">
                <a16:creationId xmlns:a16="http://schemas.microsoft.com/office/drawing/2014/main" id="{D193F949-8626-4AED-B4C4-3F1FC4FC113D}"/>
              </a:ext>
            </a:extLst>
          </p:cNvPr>
          <p:cNvCxnSpPr>
            <a:cxnSpLocks/>
            <a:stCxn id="414" idx="2"/>
            <a:endCxn id="61" idx="0"/>
          </p:cNvCxnSpPr>
          <p:nvPr/>
        </p:nvCxnSpPr>
        <p:spPr>
          <a:xfrm rot="5400000">
            <a:off x="10911339" y="716384"/>
            <a:ext cx="777142" cy="605524"/>
          </a:xfrm>
          <a:prstGeom prst="bentConnector3">
            <a:avLst>
              <a:gd name="adj1" fmla="val 50000"/>
            </a:avLst>
          </a:prstGeom>
          <a:ln w="19050">
            <a:headEnd type="none" w="med" len="med"/>
            <a:tailEnd type="arrow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8" name="Connector: Elbow 357">
            <a:extLst>
              <a:ext uri="{FF2B5EF4-FFF2-40B4-BE49-F238E27FC236}">
                <a16:creationId xmlns:a16="http://schemas.microsoft.com/office/drawing/2014/main" id="{05D66D72-371B-4BA0-B593-F9F953FFA7BD}"/>
              </a:ext>
            </a:extLst>
          </p:cNvPr>
          <p:cNvCxnSpPr>
            <a:cxnSpLocks/>
            <a:stCxn id="380" idx="2"/>
            <a:endCxn id="67" idx="0"/>
          </p:cNvCxnSpPr>
          <p:nvPr/>
        </p:nvCxnSpPr>
        <p:spPr>
          <a:xfrm rot="16200000" flipH="1">
            <a:off x="8266145" y="4415999"/>
            <a:ext cx="285473" cy="441681"/>
          </a:xfrm>
          <a:prstGeom prst="bentConnector3">
            <a:avLst>
              <a:gd name="adj1" fmla="val 50000"/>
            </a:avLst>
          </a:prstGeom>
          <a:ln w="28575">
            <a:solidFill>
              <a:srgbClr val="203864"/>
            </a:solidFill>
            <a:headEnd type="none" w="med" len="med"/>
            <a:tailEnd type="arrow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8" name="Connector: Elbow 397">
            <a:extLst>
              <a:ext uri="{FF2B5EF4-FFF2-40B4-BE49-F238E27FC236}">
                <a16:creationId xmlns:a16="http://schemas.microsoft.com/office/drawing/2014/main" id="{5E62CD0F-9C68-4318-A72D-FA2DF149A51A}"/>
              </a:ext>
            </a:extLst>
          </p:cNvPr>
          <p:cNvCxnSpPr>
            <a:cxnSpLocks/>
            <a:stCxn id="37" idx="3"/>
            <a:endCxn id="56" idx="1"/>
          </p:cNvCxnSpPr>
          <p:nvPr/>
        </p:nvCxnSpPr>
        <p:spPr>
          <a:xfrm>
            <a:off x="1050675" y="2259240"/>
            <a:ext cx="454566" cy="208920"/>
          </a:xfrm>
          <a:prstGeom prst="bentConnector3">
            <a:avLst>
              <a:gd name="adj1" fmla="val 50000"/>
            </a:avLst>
          </a:prstGeom>
          <a:ln w="28575">
            <a:prstDash val="solid"/>
            <a:headEnd type="triangle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12" name="Connector: Elbow 411">
            <a:extLst>
              <a:ext uri="{FF2B5EF4-FFF2-40B4-BE49-F238E27FC236}">
                <a16:creationId xmlns:a16="http://schemas.microsoft.com/office/drawing/2014/main" id="{5F2CABFD-0CCD-48A7-A4B4-357FEBD2A010}"/>
              </a:ext>
            </a:extLst>
          </p:cNvPr>
          <p:cNvCxnSpPr>
            <a:cxnSpLocks/>
          </p:cNvCxnSpPr>
          <p:nvPr/>
        </p:nvCxnSpPr>
        <p:spPr>
          <a:xfrm flipV="1">
            <a:off x="2943695" y="4021379"/>
            <a:ext cx="2178424" cy="435770"/>
          </a:xfrm>
          <a:prstGeom prst="bentConnector2">
            <a:avLst/>
          </a:prstGeom>
          <a:ln w="28575">
            <a:prstDash val="solid"/>
            <a:headEnd type="triangle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63" name="Connector: Curved 462">
            <a:extLst>
              <a:ext uri="{FF2B5EF4-FFF2-40B4-BE49-F238E27FC236}">
                <a16:creationId xmlns:a16="http://schemas.microsoft.com/office/drawing/2014/main" id="{B682C5CA-7A78-410E-9C3A-B78A8121F207}"/>
              </a:ext>
            </a:extLst>
          </p:cNvPr>
          <p:cNvCxnSpPr>
            <a:cxnSpLocks/>
          </p:cNvCxnSpPr>
          <p:nvPr/>
        </p:nvCxnSpPr>
        <p:spPr>
          <a:xfrm rot="16200000" flipV="1">
            <a:off x="2131359" y="3748479"/>
            <a:ext cx="339244" cy="628459"/>
          </a:xfrm>
          <a:prstGeom prst="curvedConnector2">
            <a:avLst/>
          </a:prstGeom>
          <a:ln w="28575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5" name="Connector: Curved 464">
            <a:extLst>
              <a:ext uri="{FF2B5EF4-FFF2-40B4-BE49-F238E27FC236}">
                <a16:creationId xmlns:a16="http://schemas.microsoft.com/office/drawing/2014/main" id="{D2D9C6A7-E387-46C2-95FF-B50F8E38A6F9}"/>
              </a:ext>
            </a:extLst>
          </p:cNvPr>
          <p:cNvCxnSpPr>
            <a:cxnSpLocks/>
            <a:endCxn id="399" idx="2"/>
          </p:cNvCxnSpPr>
          <p:nvPr/>
        </p:nvCxnSpPr>
        <p:spPr>
          <a:xfrm rot="5400000">
            <a:off x="1593959" y="4166191"/>
            <a:ext cx="27566" cy="1199203"/>
          </a:xfrm>
          <a:prstGeom prst="curvedConnector3">
            <a:avLst>
              <a:gd name="adj1" fmla="val 465865"/>
            </a:avLst>
          </a:prstGeom>
          <a:ln w="28575">
            <a:solidFill>
              <a:srgbClr val="843C0C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9" name="Connector: Curved 468">
            <a:extLst>
              <a:ext uri="{FF2B5EF4-FFF2-40B4-BE49-F238E27FC236}">
                <a16:creationId xmlns:a16="http://schemas.microsoft.com/office/drawing/2014/main" id="{3DAFB9A9-D126-4C49-9B63-0A7239BFAEA2}"/>
              </a:ext>
            </a:extLst>
          </p:cNvPr>
          <p:cNvCxnSpPr>
            <a:cxnSpLocks/>
            <a:stCxn id="399" idx="1"/>
          </p:cNvCxnSpPr>
          <p:nvPr/>
        </p:nvCxnSpPr>
        <p:spPr>
          <a:xfrm rot="10800000" flipH="1">
            <a:off x="878725" y="3963130"/>
            <a:ext cx="359408" cy="687032"/>
          </a:xfrm>
          <a:prstGeom prst="curvedConnector3">
            <a:avLst>
              <a:gd name="adj1" fmla="val -25301"/>
            </a:avLst>
          </a:prstGeom>
          <a:ln w="28575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or: Elbow 6">
            <a:extLst>
              <a:ext uri="{FF2B5EF4-FFF2-40B4-BE49-F238E27FC236}">
                <a16:creationId xmlns:a16="http://schemas.microsoft.com/office/drawing/2014/main" id="{ABFC3272-7483-41C7-BB89-4A30C41B231A}"/>
              </a:ext>
            </a:extLst>
          </p:cNvPr>
          <p:cNvCxnSpPr>
            <a:cxnSpLocks/>
          </p:cNvCxnSpPr>
          <p:nvPr/>
        </p:nvCxnSpPr>
        <p:spPr>
          <a:xfrm rot="16200000" flipV="1">
            <a:off x="4614660" y="1372241"/>
            <a:ext cx="301557" cy="927847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onnector: Elbow 57">
            <a:extLst>
              <a:ext uri="{FF2B5EF4-FFF2-40B4-BE49-F238E27FC236}">
                <a16:creationId xmlns:a16="http://schemas.microsoft.com/office/drawing/2014/main" id="{E50AB501-E6C7-4150-9252-2CF887A0B9EF}"/>
              </a:ext>
            </a:extLst>
          </p:cNvPr>
          <p:cNvCxnSpPr/>
          <p:nvPr/>
        </p:nvCxnSpPr>
        <p:spPr>
          <a:xfrm>
            <a:off x="2613908" y="2475601"/>
            <a:ext cx="2110658" cy="91314"/>
          </a:xfrm>
          <a:prstGeom prst="bentConnector3">
            <a:avLst/>
          </a:prstGeom>
          <a:ln w="28575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8" name="TextBox 407">
            <a:extLst>
              <a:ext uri="{FF2B5EF4-FFF2-40B4-BE49-F238E27FC236}">
                <a16:creationId xmlns:a16="http://schemas.microsoft.com/office/drawing/2014/main" id="{A4CCAF45-216F-45DB-BF0F-34F059A0EE2C}"/>
              </a:ext>
            </a:extLst>
          </p:cNvPr>
          <p:cNvSpPr txBox="1"/>
          <p:nvPr/>
        </p:nvSpPr>
        <p:spPr>
          <a:xfrm>
            <a:off x="6765907" y="871057"/>
            <a:ext cx="503283" cy="296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201696"/>
            <a:r>
              <a:rPr lang="tr-TR" sz="662" dirty="0">
                <a:solidFill>
                  <a:prstClr val="black"/>
                </a:solidFill>
                <a:latin typeface="Calibri" panose="020F0502020204030204"/>
              </a:rPr>
              <a:t>Web service</a:t>
            </a:r>
            <a:endParaRPr lang="en-US" sz="662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B4C9DEC8-A466-4B55-AD2C-FA43FACE4CD5}"/>
              </a:ext>
            </a:extLst>
          </p:cNvPr>
          <p:cNvSpPr/>
          <p:nvPr/>
        </p:nvSpPr>
        <p:spPr>
          <a:xfrm>
            <a:off x="9015359" y="2961419"/>
            <a:ext cx="1108667" cy="449636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01696"/>
            <a:endParaRPr lang="en-US" sz="1191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414" name="Picture 413">
            <a:extLst>
              <a:ext uri="{FF2B5EF4-FFF2-40B4-BE49-F238E27FC236}">
                <a16:creationId xmlns:a16="http://schemas.microsoft.com/office/drawing/2014/main" id="{42A5BBAA-4E00-4DC5-92F1-FCFCA555EAC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42171" y="109573"/>
            <a:ext cx="521003" cy="521003"/>
          </a:xfrm>
          <a:prstGeom prst="rect">
            <a:avLst/>
          </a:prstGeom>
        </p:spPr>
      </p:pic>
      <p:pic>
        <p:nvPicPr>
          <p:cNvPr id="37" name="Picture 36" descr="Icon&#10;&#10;Description automatically generated">
            <a:extLst>
              <a:ext uri="{FF2B5EF4-FFF2-40B4-BE49-F238E27FC236}">
                <a16:creationId xmlns:a16="http://schemas.microsoft.com/office/drawing/2014/main" id="{2AD227E8-5C5C-451C-92B5-500DBC2DF21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044" y="2094925"/>
            <a:ext cx="328631" cy="328631"/>
          </a:xfrm>
          <a:prstGeom prst="rect">
            <a:avLst/>
          </a:prstGeom>
        </p:spPr>
      </p:pic>
      <p:pic>
        <p:nvPicPr>
          <p:cNvPr id="450" name="Picture 449" descr="Icon&#10;&#10;Description automatically generated">
            <a:extLst>
              <a:ext uri="{FF2B5EF4-FFF2-40B4-BE49-F238E27FC236}">
                <a16:creationId xmlns:a16="http://schemas.microsoft.com/office/drawing/2014/main" id="{B1ECF1B4-8D7C-4381-983F-6A99027F4A9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4372" y="44566"/>
            <a:ext cx="401453" cy="375496"/>
          </a:xfrm>
          <a:prstGeom prst="rect">
            <a:avLst/>
          </a:prstGeom>
        </p:spPr>
      </p:pic>
      <p:pic>
        <p:nvPicPr>
          <p:cNvPr id="454" name="Picture 453" descr="Icon&#10;&#10;Description automatically generated">
            <a:extLst>
              <a:ext uri="{FF2B5EF4-FFF2-40B4-BE49-F238E27FC236}">
                <a16:creationId xmlns:a16="http://schemas.microsoft.com/office/drawing/2014/main" id="{2DF94096-4F68-461E-8851-C67C0A22D1F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959" y="2859068"/>
            <a:ext cx="401453" cy="375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333065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CF9D1ABD-890B-447C-8F97-340953EE83D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C57EDA-1B8D-4F13-B3C1-034A3BC59D6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3869" y="1439999"/>
            <a:ext cx="11182288" cy="968903"/>
          </a:xfrm>
        </p:spPr>
        <p:txBody>
          <a:bodyPr/>
          <a:lstStyle/>
          <a:p>
            <a:pPr defTabSz="457200"/>
            <a:r>
              <a:rPr lang="tr-TR" sz="2000" dirty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rPr>
              <a:t>Dijital dönüşüm yol haritası</a:t>
            </a:r>
          </a:p>
        </p:txBody>
      </p:sp>
    </p:spTree>
    <p:extLst>
      <p:ext uri="{BB962C8B-B14F-4D97-AF65-F5344CB8AC3E}">
        <p14:creationId xmlns:p14="http://schemas.microsoft.com/office/powerpoint/2010/main" val="139636545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903892" y="156777"/>
            <a:ext cx="830041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tr-TR" sz="2000" dirty="0" err="1">
                <a:solidFill>
                  <a:schemeClr val="accent1"/>
                </a:solidFill>
                <a:latin typeface="Century Gothic" panose="020B0502020202020204" pitchFamily="34" charset="0"/>
              </a:rPr>
              <a:t>Digital</a:t>
            </a:r>
            <a:r>
              <a:rPr lang="tr-TR" sz="2000" dirty="0">
                <a:solidFill>
                  <a:schemeClr val="accent1"/>
                </a:solidFill>
                <a:latin typeface="Century Gothic" panose="020B0502020202020204" pitchFamily="34" charset="0"/>
              </a:rPr>
              <a:t> Dönüşüm Yol haritası - Projeler</a:t>
            </a:r>
          </a:p>
        </p:txBody>
      </p:sp>
      <p:sp>
        <p:nvSpPr>
          <p:cNvPr id="140" name="AutoShape 14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070152" y="1182056"/>
            <a:ext cx="464906" cy="144000"/>
          </a:xfrm>
          <a:prstGeom prst="homePlate">
            <a:avLst>
              <a:gd name="adj" fmla="val 66748"/>
            </a:avLst>
          </a:prstGeom>
          <a:solidFill>
            <a:srgbClr val="00A1DE"/>
          </a:solidFill>
          <a:ln w="6350" algn="ctr">
            <a:noFill/>
            <a:miter lim="800000"/>
            <a:headEnd/>
            <a:tailEnd/>
          </a:ln>
        </p:spPr>
        <p:txBody>
          <a:bodyPr lIns="18000" tIns="10800" rIns="18000" bIns="10800" anchor="ctr"/>
          <a:lstStyle/>
          <a:p>
            <a:pPr algn="ctr" defTabSz="945829" eaLnBrk="0" hangingPunct="0">
              <a:lnSpc>
                <a:spcPct val="90000"/>
              </a:lnSpc>
              <a:buClr>
                <a:srgbClr val="000000"/>
              </a:buClr>
              <a:defRPr/>
            </a:pPr>
            <a:r>
              <a:rPr lang="tr-TR" sz="800" b="1" kern="0" dirty="0">
                <a:solidFill>
                  <a:srgbClr val="FFFFFF"/>
                </a:solidFill>
                <a:latin typeface="Arial"/>
                <a:cs typeface="Arial"/>
              </a:rPr>
              <a:t>2</a:t>
            </a:r>
          </a:p>
        </p:txBody>
      </p:sp>
      <p:sp>
        <p:nvSpPr>
          <p:cNvPr id="141" name="Text Box 257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547277" y="1145033"/>
            <a:ext cx="3723559" cy="2350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46800" tIns="46800" rIns="46800" bIns="46800">
            <a:spAutoFit/>
          </a:bodyPr>
          <a:lstStyle/>
          <a:p>
            <a:pPr defTabSz="945829">
              <a:lnSpc>
                <a:spcPct val="110000"/>
              </a:lnSpc>
              <a:buClr>
                <a:srgbClr val="000000"/>
              </a:buClr>
              <a:defRPr/>
            </a:pPr>
            <a:r>
              <a:rPr lang="tr-TR" sz="900" b="1" dirty="0">
                <a:solidFill>
                  <a:srgbClr val="002776"/>
                </a:solidFill>
                <a:latin typeface="Arial"/>
              </a:rPr>
              <a:t>1. Proje A</a:t>
            </a:r>
          </a:p>
        </p:txBody>
      </p:sp>
      <p:sp>
        <p:nvSpPr>
          <p:cNvPr id="142" name="AutoShape 147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312458" y="1454890"/>
            <a:ext cx="697359" cy="144000"/>
          </a:xfrm>
          <a:prstGeom prst="homePlate">
            <a:avLst>
              <a:gd name="adj" fmla="val 66748"/>
            </a:avLst>
          </a:prstGeom>
          <a:solidFill>
            <a:srgbClr val="00A1DE"/>
          </a:solidFill>
          <a:ln w="6350" algn="ctr">
            <a:noFill/>
            <a:miter lim="800000"/>
            <a:headEnd/>
            <a:tailEnd/>
          </a:ln>
        </p:spPr>
        <p:txBody>
          <a:bodyPr lIns="18000" tIns="10800" rIns="18000" bIns="10800" anchor="ctr"/>
          <a:lstStyle/>
          <a:p>
            <a:pPr algn="ctr" defTabSz="945829" eaLnBrk="0" hangingPunct="0">
              <a:lnSpc>
                <a:spcPct val="90000"/>
              </a:lnSpc>
              <a:buClr>
                <a:srgbClr val="000000"/>
              </a:buClr>
              <a:defRPr/>
            </a:pPr>
            <a:r>
              <a:rPr lang="tr-TR" sz="800" b="1" kern="0" dirty="0">
                <a:solidFill>
                  <a:srgbClr val="FFFFFF"/>
                </a:solidFill>
                <a:latin typeface="Arial"/>
                <a:cs typeface="Arial"/>
              </a:rPr>
              <a:t>3</a:t>
            </a:r>
          </a:p>
        </p:txBody>
      </p:sp>
      <p:sp>
        <p:nvSpPr>
          <p:cNvPr id="143" name="Text Box 25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059470" y="1404699"/>
            <a:ext cx="3723559" cy="2350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46800" tIns="46800" rIns="46800" bIns="46800">
            <a:spAutoFit/>
          </a:bodyPr>
          <a:lstStyle/>
          <a:p>
            <a:pPr defTabSz="945829">
              <a:lnSpc>
                <a:spcPct val="110000"/>
              </a:lnSpc>
              <a:buClr>
                <a:srgbClr val="000000"/>
              </a:buClr>
              <a:defRPr/>
            </a:pPr>
            <a:r>
              <a:rPr lang="tr-TR" sz="900" b="1" dirty="0">
                <a:solidFill>
                  <a:srgbClr val="002776"/>
                </a:solidFill>
                <a:latin typeface="Arial"/>
              </a:rPr>
              <a:t>2. Proje B</a:t>
            </a:r>
          </a:p>
        </p:txBody>
      </p:sp>
      <p:sp>
        <p:nvSpPr>
          <p:cNvPr id="144" name="AutoShape 147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059741" y="1988160"/>
            <a:ext cx="929812" cy="144000"/>
          </a:xfrm>
          <a:prstGeom prst="homePlate">
            <a:avLst>
              <a:gd name="adj" fmla="val 66748"/>
            </a:avLst>
          </a:prstGeom>
          <a:solidFill>
            <a:srgbClr val="00A1DE"/>
          </a:solidFill>
          <a:ln w="6350" algn="ctr">
            <a:noFill/>
            <a:miter lim="800000"/>
            <a:headEnd/>
            <a:tailEnd/>
          </a:ln>
        </p:spPr>
        <p:txBody>
          <a:bodyPr lIns="18000" tIns="10800" rIns="18000" bIns="10800" anchor="ctr"/>
          <a:lstStyle/>
          <a:p>
            <a:pPr algn="ctr" defTabSz="945829" eaLnBrk="0" hangingPunct="0">
              <a:lnSpc>
                <a:spcPct val="90000"/>
              </a:lnSpc>
              <a:buClr>
                <a:srgbClr val="000000"/>
              </a:buClr>
              <a:defRPr/>
            </a:pPr>
            <a:r>
              <a:rPr lang="tr-TR" sz="800" b="1" kern="0" dirty="0">
                <a:solidFill>
                  <a:srgbClr val="FFFFFF"/>
                </a:solidFill>
                <a:latin typeface="Arial"/>
                <a:cs typeface="Arial"/>
              </a:rPr>
              <a:t>4</a:t>
            </a:r>
          </a:p>
        </p:txBody>
      </p:sp>
      <p:sp>
        <p:nvSpPr>
          <p:cNvPr id="145" name="Text Box 257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307445" y="1937970"/>
            <a:ext cx="3723559" cy="2350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46800" tIns="46800" rIns="46800" bIns="46800">
            <a:spAutoFit/>
          </a:bodyPr>
          <a:lstStyle/>
          <a:p>
            <a:pPr defTabSz="945829">
              <a:lnSpc>
                <a:spcPct val="110000"/>
              </a:lnSpc>
              <a:buClr>
                <a:srgbClr val="000000"/>
              </a:buClr>
              <a:defRPr/>
            </a:pPr>
            <a:r>
              <a:rPr lang="tr-TR" sz="900" b="1" dirty="0">
                <a:solidFill>
                  <a:srgbClr val="002776"/>
                </a:solidFill>
                <a:latin typeface="Arial"/>
              </a:rPr>
              <a:t>3. Proje D</a:t>
            </a:r>
          </a:p>
        </p:txBody>
      </p:sp>
      <p:sp>
        <p:nvSpPr>
          <p:cNvPr id="146" name="AutoShape 147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064950" y="2218586"/>
            <a:ext cx="697359" cy="144000"/>
          </a:xfrm>
          <a:prstGeom prst="homePlate">
            <a:avLst>
              <a:gd name="adj" fmla="val 66748"/>
            </a:avLst>
          </a:prstGeom>
          <a:solidFill>
            <a:srgbClr val="00A1DE"/>
          </a:solidFill>
          <a:ln w="6350" algn="ctr">
            <a:noFill/>
            <a:miter lim="800000"/>
            <a:headEnd/>
            <a:tailEnd/>
          </a:ln>
        </p:spPr>
        <p:txBody>
          <a:bodyPr lIns="18000" tIns="10800" rIns="18000" bIns="10800" anchor="ctr"/>
          <a:lstStyle/>
          <a:p>
            <a:pPr algn="ctr" defTabSz="945829" eaLnBrk="0" hangingPunct="0">
              <a:lnSpc>
                <a:spcPct val="90000"/>
              </a:lnSpc>
              <a:buClr>
                <a:srgbClr val="000000"/>
              </a:buClr>
              <a:defRPr/>
            </a:pPr>
            <a:r>
              <a:rPr lang="tr-TR" sz="800" b="1" kern="0" dirty="0">
                <a:solidFill>
                  <a:srgbClr val="FFFFFF"/>
                </a:solidFill>
                <a:latin typeface="Arial"/>
                <a:cs typeface="Arial"/>
              </a:rPr>
              <a:t>3</a:t>
            </a:r>
          </a:p>
        </p:txBody>
      </p:sp>
      <p:sp>
        <p:nvSpPr>
          <p:cNvPr id="147" name="Text Box 257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969016" y="2168396"/>
            <a:ext cx="3723559" cy="2350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46800" tIns="46800" rIns="46800" bIns="46800">
            <a:spAutoFit/>
          </a:bodyPr>
          <a:lstStyle/>
          <a:p>
            <a:pPr defTabSz="945829">
              <a:lnSpc>
                <a:spcPct val="110000"/>
              </a:lnSpc>
              <a:buClr>
                <a:srgbClr val="000000"/>
              </a:buClr>
              <a:defRPr/>
            </a:pPr>
            <a:r>
              <a:rPr lang="tr-TR" sz="900" b="1" dirty="0">
                <a:solidFill>
                  <a:srgbClr val="002776"/>
                </a:solidFill>
                <a:latin typeface="Arial"/>
              </a:rPr>
              <a:t>4. Proje E</a:t>
            </a:r>
          </a:p>
        </p:txBody>
      </p:sp>
      <p:sp>
        <p:nvSpPr>
          <p:cNvPr id="148" name="AutoShape 147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059741" y="2475346"/>
            <a:ext cx="464906" cy="144000"/>
          </a:xfrm>
          <a:prstGeom prst="homePlate">
            <a:avLst>
              <a:gd name="adj" fmla="val 66748"/>
            </a:avLst>
          </a:prstGeom>
          <a:solidFill>
            <a:srgbClr val="00A1DE"/>
          </a:solidFill>
          <a:ln w="6350" algn="ctr">
            <a:noFill/>
            <a:miter lim="800000"/>
            <a:headEnd/>
            <a:tailEnd/>
          </a:ln>
        </p:spPr>
        <p:txBody>
          <a:bodyPr lIns="18000" tIns="10800" rIns="18000" bIns="10800" anchor="ctr"/>
          <a:lstStyle/>
          <a:p>
            <a:pPr algn="ctr" defTabSz="945829" eaLnBrk="0" hangingPunct="0">
              <a:lnSpc>
                <a:spcPct val="90000"/>
              </a:lnSpc>
              <a:buClr>
                <a:srgbClr val="000000"/>
              </a:buClr>
              <a:defRPr/>
            </a:pPr>
            <a:r>
              <a:rPr lang="tr-TR" sz="800" b="1" kern="0" dirty="0">
                <a:solidFill>
                  <a:srgbClr val="FFFFFF"/>
                </a:solidFill>
                <a:latin typeface="Arial"/>
                <a:cs typeface="Arial"/>
              </a:rPr>
              <a:t>2</a:t>
            </a:r>
          </a:p>
        </p:txBody>
      </p:sp>
      <p:sp>
        <p:nvSpPr>
          <p:cNvPr id="149" name="Text Box 257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963808" y="2425155"/>
            <a:ext cx="3723559" cy="2350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46800" tIns="46800" rIns="46800" bIns="46800">
            <a:spAutoFit/>
          </a:bodyPr>
          <a:lstStyle/>
          <a:p>
            <a:pPr defTabSz="945829">
              <a:lnSpc>
                <a:spcPct val="110000"/>
              </a:lnSpc>
              <a:buClr>
                <a:srgbClr val="000000"/>
              </a:buClr>
              <a:defRPr/>
            </a:pPr>
            <a:r>
              <a:rPr lang="tr-TR" sz="900" b="1" dirty="0">
                <a:solidFill>
                  <a:srgbClr val="002776"/>
                </a:solidFill>
                <a:latin typeface="Arial"/>
              </a:rPr>
              <a:t>5. Proje F</a:t>
            </a:r>
          </a:p>
        </p:txBody>
      </p:sp>
      <p:sp>
        <p:nvSpPr>
          <p:cNvPr id="150" name="AutoShape 147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291378" y="2714593"/>
            <a:ext cx="1188093" cy="144000"/>
          </a:xfrm>
          <a:prstGeom prst="homePlate">
            <a:avLst>
              <a:gd name="adj" fmla="val 66748"/>
            </a:avLst>
          </a:prstGeom>
          <a:solidFill>
            <a:srgbClr val="00A1DE"/>
          </a:solidFill>
          <a:ln w="6350" algn="ctr">
            <a:noFill/>
            <a:miter lim="800000"/>
            <a:headEnd/>
            <a:tailEnd/>
          </a:ln>
        </p:spPr>
        <p:txBody>
          <a:bodyPr lIns="18000" tIns="10800" rIns="18000" bIns="10800" anchor="ctr"/>
          <a:lstStyle/>
          <a:p>
            <a:pPr algn="ctr" defTabSz="945829" eaLnBrk="0" hangingPunct="0">
              <a:lnSpc>
                <a:spcPct val="90000"/>
              </a:lnSpc>
              <a:buClr>
                <a:srgbClr val="000000"/>
              </a:buClr>
              <a:defRPr/>
            </a:pPr>
            <a:r>
              <a:rPr lang="tr-TR" sz="800" b="1" kern="0" dirty="0">
                <a:solidFill>
                  <a:srgbClr val="FFFFFF"/>
                </a:solidFill>
                <a:latin typeface="Arial"/>
                <a:cs typeface="Arial"/>
              </a:rPr>
              <a:t>6</a:t>
            </a:r>
          </a:p>
        </p:txBody>
      </p:sp>
      <p:sp>
        <p:nvSpPr>
          <p:cNvPr id="151" name="Text Box 257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3487014" y="2677570"/>
            <a:ext cx="3723559" cy="2350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46800" tIns="46800" rIns="46800" bIns="46800">
            <a:spAutoFit/>
          </a:bodyPr>
          <a:lstStyle/>
          <a:p>
            <a:pPr defTabSz="945829">
              <a:lnSpc>
                <a:spcPct val="110000"/>
              </a:lnSpc>
              <a:buClr>
                <a:srgbClr val="000000"/>
              </a:buClr>
              <a:defRPr/>
            </a:pPr>
            <a:r>
              <a:rPr lang="tr-TR" sz="900" b="1" dirty="0">
                <a:solidFill>
                  <a:srgbClr val="002776"/>
                </a:solidFill>
                <a:latin typeface="Arial"/>
              </a:rPr>
              <a:t>6. Proje G</a:t>
            </a:r>
          </a:p>
        </p:txBody>
      </p:sp>
      <p:sp>
        <p:nvSpPr>
          <p:cNvPr id="152" name="AutoShape 147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2288795" y="3252833"/>
            <a:ext cx="2122806" cy="144000"/>
          </a:xfrm>
          <a:prstGeom prst="homePlate">
            <a:avLst>
              <a:gd name="adj" fmla="val 66748"/>
            </a:avLst>
          </a:prstGeom>
          <a:solidFill>
            <a:srgbClr val="00A1DE"/>
          </a:solidFill>
          <a:ln w="6350" algn="ctr">
            <a:noFill/>
            <a:miter lim="800000"/>
            <a:headEnd/>
            <a:tailEnd/>
          </a:ln>
        </p:spPr>
        <p:txBody>
          <a:bodyPr lIns="18000" tIns="10800" rIns="18000" bIns="10800" anchor="ctr"/>
          <a:lstStyle/>
          <a:p>
            <a:pPr algn="ctr" defTabSz="945829" eaLnBrk="0" hangingPunct="0">
              <a:lnSpc>
                <a:spcPct val="90000"/>
              </a:lnSpc>
              <a:buClr>
                <a:srgbClr val="000000"/>
              </a:buClr>
              <a:defRPr/>
            </a:pPr>
            <a:r>
              <a:rPr lang="tr-TR" sz="800" b="1" kern="0" dirty="0">
                <a:solidFill>
                  <a:srgbClr val="FFFFFF"/>
                </a:solidFill>
                <a:latin typeface="Arial"/>
                <a:cs typeface="Arial"/>
              </a:rPr>
              <a:t>9</a:t>
            </a:r>
          </a:p>
        </p:txBody>
      </p:sp>
      <p:sp>
        <p:nvSpPr>
          <p:cNvPr id="153" name="Text Box 257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4479701" y="3203230"/>
            <a:ext cx="3723559" cy="2350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46800" tIns="46800" rIns="46800" bIns="46800">
            <a:spAutoFit/>
          </a:bodyPr>
          <a:lstStyle/>
          <a:p>
            <a:pPr defTabSz="945829">
              <a:lnSpc>
                <a:spcPct val="110000"/>
              </a:lnSpc>
              <a:buClr>
                <a:srgbClr val="000000"/>
              </a:buClr>
              <a:defRPr/>
            </a:pPr>
            <a:r>
              <a:rPr lang="tr-TR" sz="900" b="1" dirty="0">
                <a:solidFill>
                  <a:srgbClr val="002776"/>
                </a:solidFill>
                <a:latin typeface="Arial"/>
              </a:rPr>
              <a:t>7. Proje I</a:t>
            </a:r>
          </a:p>
        </p:txBody>
      </p:sp>
      <p:sp>
        <p:nvSpPr>
          <p:cNvPr id="154" name="AutoShape 147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4824140" y="3499488"/>
            <a:ext cx="2122806" cy="144000"/>
          </a:xfrm>
          <a:prstGeom prst="homePlate">
            <a:avLst>
              <a:gd name="adj" fmla="val 66748"/>
            </a:avLst>
          </a:prstGeom>
          <a:solidFill>
            <a:srgbClr val="00A1DE"/>
          </a:solidFill>
          <a:ln w="6350" algn="ctr">
            <a:noFill/>
            <a:miter lim="800000"/>
            <a:headEnd/>
            <a:tailEnd/>
          </a:ln>
        </p:spPr>
        <p:txBody>
          <a:bodyPr lIns="18000" tIns="10800" rIns="18000" bIns="10800" anchor="ctr"/>
          <a:lstStyle/>
          <a:p>
            <a:pPr algn="ctr" defTabSz="945829" eaLnBrk="0" hangingPunct="0">
              <a:lnSpc>
                <a:spcPct val="90000"/>
              </a:lnSpc>
              <a:buClr>
                <a:srgbClr val="000000"/>
              </a:buClr>
              <a:defRPr/>
            </a:pPr>
            <a:r>
              <a:rPr lang="tr-TR" sz="800" b="1" kern="0" dirty="0">
                <a:solidFill>
                  <a:srgbClr val="FFFFFF"/>
                </a:solidFill>
                <a:latin typeface="Arial"/>
                <a:cs typeface="Arial"/>
              </a:rPr>
              <a:t>9</a:t>
            </a:r>
          </a:p>
        </p:txBody>
      </p:sp>
      <p:sp>
        <p:nvSpPr>
          <p:cNvPr id="155" name="Text Box 257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7088618" y="3477016"/>
            <a:ext cx="2982152" cy="2350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46800" tIns="46800" rIns="46800" bIns="46800">
            <a:spAutoFit/>
          </a:bodyPr>
          <a:lstStyle/>
          <a:p>
            <a:pPr defTabSz="945829">
              <a:lnSpc>
                <a:spcPct val="110000"/>
              </a:lnSpc>
              <a:buClr>
                <a:srgbClr val="000000"/>
              </a:buClr>
              <a:defRPr/>
            </a:pPr>
            <a:r>
              <a:rPr lang="tr-TR" sz="900" b="1" dirty="0">
                <a:solidFill>
                  <a:srgbClr val="002776"/>
                </a:solidFill>
                <a:latin typeface="Arial"/>
              </a:rPr>
              <a:t>8. Proje J</a:t>
            </a:r>
          </a:p>
        </p:txBody>
      </p:sp>
      <p:sp>
        <p:nvSpPr>
          <p:cNvPr id="157" name="AutoShape 147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2540037" y="3805230"/>
            <a:ext cx="947098" cy="144000"/>
          </a:xfrm>
          <a:prstGeom prst="homePlate">
            <a:avLst>
              <a:gd name="adj" fmla="val 66748"/>
            </a:avLst>
          </a:prstGeom>
          <a:solidFill>
            <a:srgbClr val="00A1DE"/>
          </a:solidFill>
          <a:ln w="6350" algn="ctr">
            <a:noFill/>
            <a:miter lim="800000"/>
            <a:headEnd/>
            <a:tailEnd/>
          </a:ln>
        </p:spPr>
        <p:txBody>
          <a:bodyPr lIns="18000" tIns="10800" rIns="18000" bIns="10800" anchor="ctr"/>
          <a:lstStyle/>
          <a:p>
            <a:pPr algn="ctr" defTabSz="945829" eaLnBrk="0" hangingPunct="0">
              <a:lnSpc>
                <a:spcPct val="90000"/>
              </a:lnSpc>
              <a:buClr>
                <a:srgbClr val="000000"/>
              </a:buClr>
              <a:defRPr/>
            </a:pPr>
            <a:r>
              <a:rPr lang="tr-TR" sz="800" b="1" kern="0" dirty="0">
                <a:solidFill>
                  <a:srgbClr val="FFFFFF"/>
                </a:solidFill>
                <a:latin typeface="Arial"/>
                <a:cs typeface="Arial"/>
              </a:rPr>
              <a:t>4</a:t>
            </a:r>
          </a:p>
        </p:txBody>
      </p:sp>
      <p:sp>
        <p:nvSpPr>
          <p:cNvPr id="158" name="Text Box 257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4822478" y="3800082"/>
            <a:ext cx="2276410" cy="2350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46800" tIns="46800" rIns="46800" bIns="46800">
            <a:spAutoFit/>
          </a:bodyPr>
          <a:lstStyle/>
          <a:p>
            <a:pPr defTabSz="945829">
              <a:lnSpc>
                <a:spcPct val="110000"/>
              </a:lnSpc>
              <a:buClr>
                <a:srgbClr val="000000"/>
              </a:buClr>
              <a:defRPr/>
            </a:pPr>
            <a:r>
              <a:rPr lang="tr-TR" sz="900" b="1" dirty="0">
                <a:solidFill>
                  <a:srgbClr val="002776"/>
                </a:solidFill>
                <a:latin typeface="Arial"/>
              </a:rPr>
              <a:t>9. Proje M</a:t>
            </a:r>
          </a:p>
        </p:txBody>
      </p:sp>
      <p:sp>
        <p:nvSpPr>
          <p:cNvPr id="159" name="Text Box 257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3496404" y="3981126"/>
            <a:ext cx="1015519" cy="1950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46800" tIns="46800" rIns="46800" bIns="46800">
            <a:spAutoFit/>
          </a:bodyPr>
          <a:lstStyle/>
          <a:p>
            <a:pPr defTabSz="945829">
              <a:lnSpc>
                <a:spcPct val="90000"/>
              </a:lnSpc>
              <a:buClr>
                <a:srgbClr val="000000"/>
              </a:buClr>
              <a:defRPr/>
            </a:pPr>
            <a:r>
              <a:rPr lang="tr-TR" sz="726" b="1" dirty="0">
                <a:solidFill>
                  <a:srgbClr val="002776"/>
                </a:solidFill>
                <a:latin typeface="Arial"/>
              </a:rPr>
              <a:t>Proje L</a:t>
            </a:r>
          </a:p>
        </p:txBody>
      </p:sp>
      <p:sp>
        <p:nvSpPr>
          <p:cNvPr id="160" name="Text Box 257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3495127" y="3729138"/>
            <a:ext cx="419924" cy="1950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46800" tIns="46800" rIns="46800" bIns="46800">
            <a:spAutoFit/>
          </a:bodyPr>
          <a:lstStyle/>
          <a:p>
            <a:pPr defTabSz="945829">
              <a:lnSpc>
                <a:spcPct val="90000"/>
              </a:lnSpc>
              <a:buClr>
                <a:srgbClr val="000000"/>
              </a:buClr>
              <a:defRPr/>
            </a:pPr>
            <a:r>
              <a:rPr lang="tr-TR" sz="726" b="1" dirty="0">
                <a:solidFill>
                  <a:srgbClr val="002776"/>
                </a:solidFill>
                <a:latin typeface="Arial"/>
              </a:rPr>
              <a:t>Proje K</a:t>
            </a:r>
          </a:p>
        </p:txBody>
      </p:sp>
      <p:sp>
        <p:nvSpPr>
          <p:cNvPr id="161" name="Pentagon 160"/>
          <p:cNvSpPr/>
          <p:nvPr/>
        </p:nvSpPr>
        <p:spPr bwMode="gray">
          <a:xfrm>
            <a:off x="2487014" y="3714631"/>
            <a:ext cx="2266050" cy="576064"/>
          </a:xfrm>
          <a:prstGeom prst="homePlate">
            <a:avLst>
              <a:gd name="adj" fmla="val 15715"/>
            </a:avLst>
          </a:prstGeom>
          <a:noFill/>
          <a:ln w="9525" algn="ctr">
            <a:solidFill>
              <a:srgbClr val="002776"/>
            </a:solidFill>
            <a:prstDash val="dash"/>
            <a:miter lim="800000"/>
            <a:headEnd/>
            <a:tailEnd/>
          </a:ln>
        </p:spPr>
        <p:txBody>
          <a:bodyPr lIns="54000" tIns="162000" rIns="54000" bIns="54000" rtlCol="0" anchor="ctr"/>
          <a:lstStyle/>
          <a:p>
            <a:pPr marL="176215" indent="-177801" defTabSz="912819">
              <a:lnSpc>
                <a:spcPct val="105000"/>
              </a:lnSpc>
              <a:spcBef>
                <a:spcPct val="250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endParaRPr lang="en-US" sz="1900" kern="0" dirty="0">
              <a:solidFill>
                <a:srgbClr val="3C8A2E"/>
              </a:solidFill>
              <a:latin typeface="Arial"/>
            </a:endParaRPr>
          </a:p>
        </p:txBody>
      </p:sp>
      <p:sp>
        <p:nvSpPr>
          <p:cNvPr id="162" name="AutoShape 147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2558121" y="4426449"/>
            <a:ext cx="697359" cy="144000"/>
          </a:xfrm>
          <a:prstGeom prst="homePlate">
            <a:avLst>
              <a:gd name="adj" fmla="val 66748"/>
            </a:avLst>
          </a:prstGeom>
          <a:solidFill>
            <a:srgbClr val="00A1DE"/>
          </a:solidFill>
          <a:ln w="6350" algn="ctr">
            <a:noFill/>
            <a:miter lim="800000"/>
            <a:headEnd/>
            <a:tailEnd/>
          </a:ln>
        </p:spPr>
        <p:txBody>
          <a:bodyPr lIns="18000" tIns="10800" rIns="18000" bIns="10800" anchor="ctr"/>
          <a:lstStyle/>
          <a:p>
            <a:pPr algn="ctr" defTabSz="945829" eaLnBrk="0" hangingPunct="0">
              <a:lnSpc>
                <a:spcPct val="90000"/>
              </a:lnSpc>
              <a:buClr>
                <a:srgbClr val="000000"/>
              </a:buClr>
              <a:defRPr/>
            </a:pPr>
            <a:r>
              <a:rPr lang="tr-TR" sz="800" b="1" kern="0" dirty="0">
                <a:solidFill>
                  <a:srgbClr val="FFFFFF"/>
                </a:solidFill>
                <a:latin typeface="Arial"/>
                <a:cs typeface="Arial"/>
              </a:rPr>
              <a:t>3</a:t>
            </a:r>
          </a:p>
        </p:txBody>
      </p:sp>
      <p:sp>
        <p:nvSpPr>
          <p:cNvPr id="163" name="Text Box 257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3330518" y="4363092"/>
            <a:ext cx="3723559" cy="2350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46800" tIns="46800" rIns="46800" bIns="46800">
            <a:spAutoFit/>
          </a:bodyPr>
          <a:lstStyle/>
          <a:p>
            <a:pPr defTabSz="945829">
              <a:lnSpc>
                <a:spcPct val="110000"/>
              </a:lnSpc>
              <a:buClr>
                <a:srgbClr val="000000"/>
              </a:buClr>
              <a:defRPr/>
            </a:pPr>
            <a:r>
              <a:rPr lang="tr-TR" sz="900" b="1" dirty="0">
                <a:solidFill>
                  <a:srgbClr val="002776"/>
                </a:solidFill>
                <a:latin typeface="Arial"/>
              </a:rPr>
              <a:t>10. Proje N</a:t>
            </a:r>
          </a:p>
        </p:txBody>
      </p:sp>
      <p:sp>
        <p:nvSpPr>
          <p:cNvPr id="164" name="AutoShape 147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2535059" y="1741059"/>
            <a:ext cx="697359" cy="144000"/>
          </a:xfrm>
          <a:prstGeom prst="homePlate">
            <a:avLst>
              <a:gd name="adj" fmla="val 66748"/>
            </a:avLst>
          </a:prstGeom>
          <a:solidFill>
            <a:srgbClr val="00A1DE"/>
          </a:solidFill>
          <a:ln w="6350" algn="ctr">
            <a:noFill/>
            <a:miter lim="800000"/>
            <a:headEnd/>
            <a:tailEnd/>
          </a:ln>
        </p:spPr>
        <p:txBody>
          <a:bodyPr lIns="18000" tIns="10800" rIns="18000" bIns="10800" anchor="ctr"/>
          <a:lstStyle/>
          <a:p>
            <a:pPr algn="ctr" defTabSz="945829" eaLnBrk="0" hangingPunct="0">
              <a:lnSpc>
                <a:spcPct val="90000"/>
              </a:lnSpc>
              <a:buClr>
                <a:srgbClr val="000000"/>
              </a:buClr>
              <a:defRPr/>
            </a:pPr>
            <a:r>
              <a:rPr lang="tr-TR" sz="800" b="1" kern="0" dirty="0">
                <a:solidFill>
                  <a:srgbClr val="FFFFFF"/>
                </a:solidFill>
                <a:latin typeface="Arial"/>
                <a:cs typeface="Arial"/>
              </a:rPr>
              <a:t>3</a:t>
            </a:r>
          </a:p>
        </p:txBody>
      </p:sp>
      <p:sp>
        <p:nvSpPr>
          <p:cNvPr id="165" name="Text Box 257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3307457" y="1677702"/>
            <a:ext cx="3723559" cy="2350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46800" tIns="46800" rIns="46800" bIns="46800">
            <a:spAutoFit/>
          </a:bodyPr>
          <a:lstStyle/>
          <a:p>
            <a:pPr defTabSz="945829">
              <a:lnSpc>
                <a:spcPct val="110000"/>
              </a:lnSpc>
              <a:buClr>
                <a:srgbClr val="000000"/>
              </a:buClr>
              <a:defRPr/>
            </a:pPr>
            <a:r>
              <a:rPr lang="tr-TR" sz="900" b="1" dirty="0">
                <a:solidFill>
                  <a:srgbClr val="002776"/>
                </a:solidFill>
                <a:latin typeface="Arial"/>
              </a:rPr>
              <a:t>11. Proje C</a:t>
            </a:r>
          </a:p>
        </p:txBody>
      </p:sp>
      <p:sp>
        <p:nvSpPr>
          <p:cNvPr id="168" name="AutoShape 147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2997289" y="2999414"/>
            <a:ext cx="489878" cy="144000"/>
          </a:xfrm>
          <a:prstGeom prst="homePlate">
            <a:avLst>
              <a:gd name="adj" fmla="val 66748"/>
            </a:avLst>
          </a:prstGeom>
          <a:solidFill>
            <a:srgbClr val="00A1DE"/>
          </a:solidFill>
          <a:ln w="6350" algn="ctr">
            <a:noFill/>
            <a:miter lim="800000"/>
            <a:headEnd/>
            <a:tailEnd/>
          </a:ln>
        </p:spPr>
        <p:txBody>
          <a:bodyPr lIns="18000" tIns="10800" rIns="18000" bIns="10800" anchor="ctr"/>
          <a:lstStyle/>
          <a:p>
            <a:pPr algn="ctr" defTabSz="945829" eaLnBrk="0" hangingPunct="0">
              <a:lnSpc>
                <a:spcPct val="90000"/>
              </a:lnSpc>
              <a:buClr>
                <a:srgbClr val="000000"/>
              </a:buClr>
              <a:defRPr/>
            </a:pPr>
            <a:r>
              <a:rPr lang="tr-TR" sz="800" b="1" kern="0" dirty="0">
                <a:solidFill>
                  <a:srgbClr val="FFFFFF"/>
                </a:solidFill>
                <a:latin typeface="Arial"/>
                <a:cs typeface="Arial"/>
              </a:rPr>
              <a:t>2</a:t>
            </a:r>
          </a:p>
        </p:txBody>
      </p:sp>
      <p:sp>
        <p:nvSpPr>
          <p:cNvPr id="169" name="Text Box 257"/>
          <p:cNvSpPr txBox="1"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3493181" y="2936057"/>
            <a:ext cx="3723559" cy="2350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46800" tIns="46800" rIns="46800" bIns="46800">
            <a:spAutoFit/>
          </a:bodyPr>
          <a:lstStyle/>
          <a:p>
            <a:pPr defTabSz="945829">
              <a:lnSpc>
                <a:spcPct val="110000"/>
              </a:lnSpc>
              <a:buClr>
                <a:srgbClr val="000000"/>
              </a:buClr>
              <a:defRPr/>
            </a:pPr>
            <a:r>
              <a:rPr lang="tr-TR" sz="900" b="1" dirty="0">
                <a:solidFill>
                  <a:srgbClr val="002776"/>
                </a:solidFill>
                <a:latin typeface="Arial"/>
              </a:rPr>
              <a:t>12. Proje H</a:t>
            </a:r>
          </a:p>
        </p:txBody>
      </p:sp>
      <p:sp>
        <p:nvSpPr>
          <p:cNvPr id="170" name="AutoShape 147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3009820" y="4643818"/>
            <a:ext cx="697359" cy="144000"/>
          </a:xfrm>
          <a:prstGeom prst="homePlate">
            <a:avLst>
              <a:gd name="adj" fmla="val 66748"/>
            </a:avLst>
          </a:prstGeom>
          <a:solidFill>
            <a:srgbClr val="00A1DE"/>
          </a:solidFill>
          <a:ln w="6350" algn="ctr">
            <a:noFill/>
            <a:miter lim="800000"/>
            <a:headEnd/>
            <a:tailEnd/>
          </a:ln>
        </p:spPr>
        <p:txBody>
          <a:bodyPr lIns="18000" tIns="10800" rIns="18000" bIns="10800" anchor="ctr"/>
          <a:lstStyle/>
          <a:p>
            <a:pPr algn="ctr" defTabSz="945829" eaLnBrk="0" hangingPunct="0">
              <a:lnSpc>
                <a:spcPct val="90000"/>
              </a:lnSpc>
              <a:buClr>
                <a:srgbClr val="000000"/>
              </a:buClr>
              <a:defRPr/>
            </a:pPr>
            <a:r>
              <a:rPr lang="tr-TR" sz="800" b="1" kern="0" dirty="0">
                <a:solidFill>
                  <a:srgbClr val="FFFFFF"/>
                </a:solidFill>
                <a:latin typeface="Arial"/>
                <a:cs typeface="Arial"/>
              </a:rPr>
              <a:t>3</a:t>
            </a:r>
          </a:p>
        </p:txBody>
      </p:sp>
      <p:sp>
        <p:nvSpPr>
          <p:cNvPr id="171" name="Text Box 257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3782218" y="4580460"/>
            <a:ext cx="3723559" cy="2350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46800" tIns="46800" rIns="46800" bIns="46800">
            <a:spAutoFit/>
          </a:bodyPr>
          <a:lstStyle/>
          <a:p>
            <a:pPr defTabSz="945829">
              <a:lnSpc>
                <a:spcPct val="110000"/>
              </a:lnSpc>
              <a:buClr>
                <a:srgbClr val="000000"/>
              </a:buClr>
              <a:defRPr/>
            </a:pPr>
            <a:r>
              <a:rPr lang="tr-TR" sz="900" b="1" dirty="0">
                <a:solidFill>
                  <a:srgbClr val="002776"/>
                </a:solidFill>
                <a:latin typeface="Arial"/>
              </a:rPr>
              <a:t>13. Proje O</a:t>
            </a:r>
          </a:p>
        </p:txBody>
      </p:sp>
      <p:sp>
        <p:nvSpPr>
          <p:cNvPr id="172" name="AutoShape 147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2323080" y="5493921"/>
            <a:ext cx="1926854" cy="144000"/>
          </a:xfrm>
          <a:prstGeom prst="homePlate">
            <a:avLst>
              <a:gd name="adj" fmla="val 66748"/>
            </a:avLst>
          </a:prstGeom>
          <a:solidFill>
            <a:sysClr val="window" lastClr="FFFFFF"/>
          </a:solidFill>
          <a:ln w="6350" algn="ctr">
            <a:solidFill>
              <a:srgbClr val="002776"/>
            </a:solidFill>
            <a:miter lim="800000"/>
            <a:headEnd/>
            <a:tailEnd/>
          </a:ln>
        </p:spPr>
        <p:txBody>
          <a:bodyPr lIns="18000" tIns="10800" rIns="18000" bIns="10800" anchor="ctr"/>
          <a:lstStyle/>
          <a:p>
            <a:pPr algn="ctr" defTabSz="945829" eaLnBrk="0" hangingPunct="0">
              <a:lnSpc>
                <a:spcPct val="90000"/>
              </a:lnSpc>
              <a:buClr>
                <a:srgbClr val="000000"/>
              </a:buClr>
              <a:defRPr/>
            </a:pPr>
            <a:r>
              <a:rPr lang="tr-TR" sz="800" b="1" kern="0" dirty="0">
                <a:solidFill>
                  <a:srgbClr val="002776"/>
                </a:solidFill>
                <a:latin typeface="Arial"/>
                <a:cs typeface="Arial"/>
              </a:rPr>
              <a:t>10</a:t>
            </a:r>
          </a:p>
        </p:txBody>
      </p:sp>
      <p:sp>
        <p:nvSpPr>
          <p:cNvPr id="173" name="Text Box 257"/>
          <p:cNvSpPr txBox="1"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4298451" y="5441732"/>
            <a:ext cx="4389696" cy="2350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46800" tIns="46800" rIns="46800" bIns="46800">
            <a:spAutoFit/>
          </a:bodyPr>
          <a:lstStyle/>
          <a:p>
            <a:pPr defTabSz="945829">
              <a:lnSpc>
                <a:spcPct val="110000"/>
              </a:lnSpc>
              <a:buClr>
                <a:srgbClr val="000000"/>
              </a:buClr>
              <a:defRPr/>
            </a:pPr>
            <a:r>
              <a:rPr lang="tr-TR" sz="900" b="1" dirty="0">
                <a:solidFill>
                  <a:srgbClr val="002776"/>
                </a:solidFill>
                <a:latin typeface="Arial"/>
              </a:rPr>
              <a:t>14. Proje S </a:t>
            </a:r>
          </a:p>
        </p:txBody>
      </p:sp>
      <p:sp>
        <p:nvSpPr>
          <p:cNvPr id="174" name="AutoShape 147"/>
          <p:cNvSpPr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2085487" y="4935169"/>
            <a:ext cx="1371659" cy="144000"/>
          </a:xfrm>
          <a:prstGeom prst="homePlate">
            <a:avLst>
              <a:gd name="adj" fmla="val 66748"/>
            </a:avLst>
          </a:prstGeom>
          <a:solidFill>
            <a:srgbClr val="00A1DE"/>
          </a:solidFill>
          <a:ln w="6350" algn="ctr">
            <a:noFill/>
            <a:miter lim="800000"/>
            <a:headEnd/>
            <a:tailEnd/>
          </a:ln>
        </p:spPr>
        <p:txBody>
          <a:bodyPr lIns="18000" tIns="10800" rIns="18000" bIns="10800" anchor="ctr"/>
          <a:lstStyle/>
          <a:p>
            <a:pPr algn="ctr" defTabSz="945829" eaLnBrk="0" hangingPunct="0">
              <a:lnSpc>
                <a:spcPct val="90000"/>
              </a:lnSpc>
              <a:buClr>
                <a:srgbClr val="000000"/>
              </a:buClr>
              <a:defRPr/>
            </a:pPr>
            <a:r>
              <a:rPr lang="tr-TR" sz="800" b="1" kern="0" dirty="0">
                <a:solidFill>
                  <a:srgbClr val="FFFFFF"/>
                </a:solidFill>
                <a:latin typeface="Arial"/>
                <a:cs typeface="Arial"/>
              </a:rPr>
              <a:t>6</a:t>
            </a:r>
          </a:p>
        </p:txBody>
      </p:sp>
      <p:sp>
        <p:nvSpPr>
          <p:cNvPr id="175" name="Text Box 257"/>
          <p:cNvSpPr txBox="1"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3659762" y="4883741"/>
            <a:ext cx="4712043" cy="2350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46800" tIns="46800" rIns="46800" bIns="46800">
            <a:spAutoFit/>
          </a:bodyPr>
          <a:lstStyle/>
          <a:p>
            <a:pPr defTabSz="945829">
              <a:lnSpc>
                <a:spcPct val="110000"/>
              </a:lnSpc>
              <a:buClr>
                <a:srgbClr val="000000"/>
              </a:buClr>
              <a:defRPr/>
            </a:pPr>
            <a:r>
              <a:rPr lang="tr-TR" sz="900" b="1" dirty="0">
                <a:solidFill>
                  <a:srgbClr val="002776"/>
                </a:solidFill>
                <a:latin typeface="Arial"/>
              </a:rPr>
              <a:t>15. Proje P</a:t>
            </a:r>
          </a:p>
        </p:txBody>
      </p:sp>
      <p:sp>
        <p:nvSpPr>
          <p:cNvPr id="176" name="AutoShape 147"/>
          <p:cNvSpPr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2989553" y="5191415"/>
            <a:ext cx="1632927" cy="144000"/>
          </a:xfrm>
          <a:prstGeom prst="homePlate">
            <a:avLst>
              <a:gd name="adj" fmla="val 66748"/>
            </a:avLst>
          </a:prstGeom>
          <a:solidFill>
            <a:srgbClr val="00A1DE"/>
          </a:solidFill>
          <a:ln w="6350" algn="ctr">
            <a:noFill/>
            <a:miter lim="800000"/>
            <a:headEnd/>
            <a:tailEnd/>
          </a:ln>
        </p:spPr>
        <p:txBody>
          <a:bodyPr lIns="18000" tIns="10800" rIns="18000" bIns="10800" anchor="ctr"/>
          <a:lstStyle/>
          <a:p>
            <a:pPr algn="ctr" defTabSz="945829" eaLnBrk="0" hangingPunct="0">
              <a:lnSpc>
                <a:spcPct val="90000"/>
              </a:lnSpc>
              <a:buClr>
                <a:srgbClr val="000000"/>
              </a:buClr>
              <a:defRPr/>
            </a:pPr>
            <a:r>
              <a:rPr lang="tr-TR" sz="800" b="1" kern="0" dirty="0">
                <a:solidFill>
                  <a:srgbClr val="FFFFFF"/>
                </a:solidFill>
                <a:latin typeface="Arial"/>
                <a:cs typeface="Arial"/>
              </a:rPr>
              <a:t>7</a:t>
            </a:r>
          </a:p>
        </p:txBody>
      </p:sp>
      <p:sp>
        <p:nvSpPr>
          <p:cNvPr id="177" name="Text Box 257"/>
          <p:cNvSpPr txBox="1"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4652330" y="5145889"/>
            <a:ext cx="4712043" cy="2350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46800" tIns="46800" rIns="46800" bIns="46800">
            <a:spAutoFit/>
          </a:bodyPr>
          <a:lstStyle/>
          <a:p>
            <a:pPr defTabSz="945829">
              <a:lnSpc>
                <a:spcPct val="110000"/>
              </a:lnSpc>
              <a:buClr>
                <a:srgbClr val="000000"/>
              </a:buClr>
              <a:defRPr/>
            </a:pPr>
            <a:r>
              <a:rPr lang="tr-TR" sz="900" b="1" dirty="0">
                <a:solidFill>
                  <a:srgbClr val="002776"/>
                </a:solidFill>
                <a:latin typeface="Arial"/>
              </a:rPr>
              <a:t>16. Proje R</a:t>
            </a:r>
          </a:p>
        </p:txBody>
      </p:sp>
      <p:sp>
        <p:nvSpPr>
          <p:cNvPr id="178" name="AutoShape 147"/>
          <p:cNvSpPr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2065262" y="5742727"/>
            <a:ext cx="261268" cy="144000"/>
          </a:xfrm>
          <a:prstGeom prst="homePlate">
            <a:avLst>
              <a:gd name="adj" fmla="val 66748"/>
            </a:avLst>
          </a:prstGeom>
          <a:solidFill>
            <a:sysClr val="window" lastClr="FFFFFF"/>
          </a:solidFill>
          <a:ln w="6350" algn="ctr">
            <a:solidFill>
              <a:srgbClr val="002776"/>
            </a:solidFill>
            <a:miter lim="800000"/>
            <a:headEnd/>
            <a:tailEnd/>
          </a:ln>
        </p:spPr>
        <p:txBody>
          <a:bodyPr lIns="18000" tIns="10800" rIns="18000" bIns="10800" anchor="ctr"/>
          <a:lstStyle/>
          <a:p>
            <a:pPr algn="ctr" defTabSz="945829" eaLnBrk="0" hangingPunct="0">
              <a:lnSpc>
                <a:spcPct val="90000"/>
              </a:lnSpc>
              <a:buClr>
                <a:srgbClr val="000000"/>
              </a:buClr>
              <a:defRPr/>
            </a:pPr>
            <a:r>
              <a:rPr lang="tr-TR" sz="800" b="1" kern="0" dirty="0">
                <a:noFill/>
                <a:latin typeface="Arial"/>
                <a:cs typeface="Arial"/>
              </a:rPr>
              <a:t>3</a:t>
            </a:r>
          </a:p>
        </p:txBody>
      </p:sp>
      <p:sp>
        <p:nvSpPr>
          <p:cNvPr id="179" name="Text Box 257"/>
          <p:cNvSpPr txBox="1">
            <a:spLocks noChangeArrowheads="1"/>
          </p:cNvSpPr>
          <p:nvPr>
            <p:custDataLst>
              <p:tags r:id="rId37"/>
            </p:custDataLst>
          </p:nvPr>
        </p:nvSpPr>
        <p:spPr bwMode="auto">
          <a:xfrm>
            <a:off x="2270818" y="5693195"/>
            <a:ext cx="4712043" cy="2350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46800" tIns="46800" rIns="46800" bIns="46800">
            <a:spAutoFit/>
          </a:bodyPr>
          <a:lstStyle/>
          <a:p>
            <a:pPr defTabSz="945829">
              <a:lnSpc>
                <a:spcPct val="110000"/>
              </a:lnSpc>
              <a:buClr>
                <a:srgbClr val="000000"/>
              </a:buClr>
              <a:defRPr/>
            </a:pPr>
            <a:r>
              <a:rPr lang="tr-TR" sz="900" b="1" dirty="0">
                <a:solidFill>
                  <a:srgbClr val="002776"/>
                </a:solidFill>
                <a:latin typeface="Arial"/>
              </a:rPr>
              <a:t>17. Proje T</a:t>
            </a:r>
          </a:p>
        </p:txBody>
      </p:sp>
      <p:sp>
        <p:nvSpPr>
          <p:cNvPr id="180" name="AutoShape 147"/>
          <p:cNvSpPr>
            <a:spLocks noChangeArrowheads="1"/>
          </p:cNvSpPr>
          <p:nvPr>
            <p:custDataLst>
              <p:tags r:id="rId38"/>
            </p:custDataLst>
          </p:nvPr>
        </p:nvSpPr>
        <p:spPr bwMode="auto">
          <a:xfrm>
            <a:off x="2057836" y="5986492"/>
            <a:ext cx="261268" cy="144000"/>
          </a:xfrm>
          <a:prstGeom prst="homePlate">
            <a:avLst>
              <a:gd name="adj" fmla="val 66748"/>
            </a:avLst>
          </a:prstGeom>
          <a:solidFill>
            <a:sysClr val="window" lastClr="FFFFFF"/>
          </a:solidFill>
          <a:ln w="6350" algn="ctr">
            <a:solidFill>
              <a:srgbClr val="002776"/>
            </a:solidFill>
            <a:miter lim="800000"/>
            <a:headEnd/>
            <a:tailEnd/>
          </a:ln>
        </p:spPr>
        <p:txBody>
          <a:bodyPr lIns="18000" tIns="10800" rIns="18000" bIns="10800" anchor="ctr"/>
          <a:lstStyle/>
          <a:p>
            <a:pPr algn="ctr" defTabSz="945829" eaLnBrk="0" hangingPunct="0">
              <a:lnSpc>
                <a:spcPct val="90000"/>
              </a:lnSpc>
              <a:buClr>
                <a:srgbClr val="000000"/>
              </a:buClr>
              <a:defRPr/>
            </a:pPr>
            <a:r>
              <a:rPr lang="tr-TR" sz="800" b="1" kern="0" dirty="0">
                <a:noFill/>
                <a:latin typeface="Arial"/>
                <a:cs typeface="Arial"/>
              </a:rPr>
              <a:t>3</a:t>
            </a:r>
          </a:p>
        </p:txBody>
      </p:sp>
      <p:sp>
        <p:nvSpPr>
          <p:cNvPr id="181" name="Text Box 257"/>
          <p:cNvSpPr txBox="1">
            <a:spLocks noChangeArrowheads="1"/>
          </p:cNvSpPr>
          <p:nvPr>
            <p:custDataLst>
              <p:tags r:id="rId39"/>
            </p:custDataLst>
          </p:nvPr>
        </p:nvSpPr>
        <p:spPr bwMode="auto">
          <a:xfrm>
            <a:off x="2263392" y="5936960"/>
            <a:ext cx="4712043" cy="2350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46800" tIns="46800" rIns="46800" bIns="46800">
            <a:spAutoFit/>
          </a:bodyPr>
          <a:lstStyle/>
          <a:p>
            <a:pPr defTabSz="945829">
              <a:lnSpc>
                <a:spcPct val="110000"/>
              </a:lnSpc>
              <a:buClr>
                <a:srgbClr val="000000"/>
              </a:buClr>
              <a:defRPr/>
            </a:pPr>
            <a:r>
              <a:rPr lang="tr-TR" sz="900" b="1" dirty="0">
                <a:solidFill>
                  <a:srgbClr val="002776"/>
                </a:solidFill>
                <a:latin typeface="Arial"/>
              </a:rPr>
              <a:t>18. Proje U</a:t>
            </a:r>
          </a:p>
        </p:txBody>
      </p:sp>
      <p:sp>
        <p:nvSpPr>
          <p:cNvPr id="183" name="Rectangle 182"/>
          <p:cNvSpPr/>
          <p:nvPr/>
        </p:nvSpPr>
        <p:spPr>
          <a:xfrm>
            <a:off x="5909103" y="1212600"/>
            <a:ext cx="130634" cy="130634"/>
          </a:xfrm>
          <a:prstGeom prst="rect">
            <a:avLst/>
          </a:prstGeom>
          <a:solidFill>
            <a:srgbClr val="FFFF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45829">
              <a:defRPr/>
            </a:pPr>
            <a:endParaRPr lang="tr-TR" sz="1921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84" name="Rectangle 183"/>
          <p:cNvSpPr/>
          <p:nvPr/>
        </p:nvSpPr>
        <p:spPr>
          <a:xfrm>
            <a:off x="6109880" y="1212600"/>
            <a:ext cx="130634" cy="130634"/>
          </a:xfrm>
          <a:prstGeom prst="rect">
            <a:avLst/>
          </a:prstGeom>
          <a:solidFill>
            <a:srgbClr val="00A1D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45829">
              <a:defRPr/>
            </a:pPr>
            <a:endParaRPr lang="tr-TR" sz="1921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85" name="Rectangle 184"/>
          <p:cNvSpPr/>
          <p:nvPr/>
        </p:nvSpPr>
        <p:spPr>
          <a:xfrm>
            <a:off x="6310658" y="1212600"/>
            <a:ext cx="130634" cy="130634"/>
          </a:xfrm>
          <a:prstGeom prst="rect">
            <a:avLst/>
          </a:prstGeom>
          <a:solidFill>
            <a:srgbClr val="AC75D5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45829">
              <a:defRPr/>
            </a:pPr>
            <a:endParaRPr lang="tr-TR" sz="1921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86" name="Rectangle 185"/>
          <p:cNvSpPr/>
          <p:nvPr/>
        </p:nvSpPr>
        <p:spPr>
          <a:xfrm>
            <a:off x="6511435" y="1212600"/>
            <a:ext cx="130634" cy="130634"/>
          </a:xfrm>
          <a:prstGeom prst="rect">
            <a:avLst/>
          </a:prstGeom>
          <a:solidFill>
            <a:srgbClr val="FFC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45829">
              <a:defRPr/>
            </a:pPr>
            <a:endParaRPr lang="tr-TR" sz="1921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87" name="Rectangle 186"/>
          <p:cNvSpPr/>
          <p:nvPr/>
        </p:nvSpPr>
        <p:spPr>
          <a:xfrm>
            <a:off x="6171165" y="1449905"/>
            <a:ext cx="130634" cy="130634"/>
          </a:xfrm>
          <a:prstGeom prst="rect">
            <a:avLst/>
          </a:prstGeom>
          <a:solidFill>
            <a:srgbClr val="FFFF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45829">
              <a:defRPr/>
            </a:pPr>
            <a:endParaRPr lang="tr-TR" sz="1921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88" name="Rectangle 187"/>
          <p:cNvSpPr/>
          <p:nvPr/>
        </p:nvSpPr>
        <p:spPr>
          <a:xfrm>
            <a:off x="6371943" y="1449905"/>
            <a:ext cx="130634" cy="130634"/>
          </a:xfrm>
          <a:prstGeom prst="rect">
            <a:avLst/>
          </a:prstGeom>
          <a:solidFill>
            <a:srgbClr val="00A1D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45829">
              <a:defRPr/>
            </a:pPr>
            <a:endParaRPr lang="tr-TR" sz="1921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89" name="Rectangle 188"/>
          <p:cNvSpPr/>
          <p:nvPr/>
        </p:nvSpPr>
        <p:spPr>
          <a:xfrm>
            <a:off x="6171169" y="1722288"/>
            <a:ext cx="130634" cy="130634"/>
          </a:xfrm>
          <a:prstGeom prst="rect">
            <a:avLst/>
          </a:prstGeom>
          <a:solidFill>
            <a:srgbClr val="FFFF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45829">
              <a:defRPr/>
            </a:pPr>
            <a:endParaRPr lang="tr-TR" sz="1921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90" name="Rectangle 189"/>
          <p:cNvSpPr/>
          <p:nvPr/>
        </p:nvSpPr>
        <p:spPr>
          <a:xfrm>
            <a:off x="6371946" y="1722288"/>
            <a:ext cx="130634" cy="130634"/>
          </a:xfrm>
          <a:prstGeom prst="rect">
            <a:avLst/>
          </a:prstGeom>
          <a:solidFill>
            <a:srgbClr val="00A1D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45829">
              <a:defRPr/>
            </a:pPr>
            <a:endParaRPr lang="tr-TR" sz="1921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91" name="Rectangle 190"/>
          <p:cNvSpPr/>
          <p:nvPr/>
        </p:nvSpPr>
        <p:spPr>
          <a:xfrm>
            <a:off x="6572724" y="1722288"/>
            <a:ext cx="130634" cy="130634"/>
          </a:xfrm>
          <a:prstGeom prst="rect">
            <a:avLst/>
          </a:prstGeom>
          <a:solidFill>
            <a:srgbClr val="C0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45829">
              <a:defRPr/>
            </a:pPr>
            <a:endParaRPr lang="tr-TR" sz="1921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92" name="Rectangle 191"/>
          <p:cNvSpPr/>
          <p:nvPr/>
        </p:nvSpPr>
        <p:spPr>
          <a:xfrm>
            <a:off x="6711596" y="1202280"/>
            <a:ext cx="130634" cy="130634"/>
          </a:xfrm>
          <a:prstGeom prst="rect">
            <a:avLst/>
          </a:prstGeom>
          <a:solidFill>
            <a:srgbClr val="C0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45829">
              <a:defRPr/>
            </a:pPr>
            <a:endParaRPr lang="tr-TR" sz="1921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93" name="Rectangle 192"/>
          <p:cNvSpPr/>
          <p:nvPr/>
        </p:nvSpPr>
        <p:spPr>
          <a:xfrm>
            <a:off x="6359565" y="1982290"/>
            <a:ext cx="130634" cy="130634"/>
          </a:xfrm>
          <a:prstGeom prst="rect">
            <a:avLst/>
          </a:prstGeom>
          <a:solidFill>
            <a:srgbClr val="00A1D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45829">
              <a:defRPr/>
            </a:pPr>
            <a:endParaRPr lang="tr-TR" sz="1921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94" name="Rectangle 193"/>
          <p:cNvSpPr/>
          <p:nvPr/>
        </p:nvSpPr>
        <p:spPr>
          <a:xfrm>
            <a:off x="6170957" y="1986412"/>
            <a:ext cx="130634" cy="130634"/>
          </a:xfrm>
          <a:prstGeom prst="rect">
            <a:avLst/>
          </a:prstGeom>
          <a:solidFill>
            <a:srgbClr val="C0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45829">
              <a:defRPr/>
            </a:pPr>
            <a:endParaRPr lang="tr-TR" sz="1921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95" name="Rectangle 194"/>
          <p:cNvSpPr/>
          <p:nvPr/>
        </p:nvSpPr>
        <p:spPr>
          <a:xfrm>
            <a:off x="6544665" y="2219592"/>
            <a:ext cx="130634" cy="130634"/>
          </a:xfrm>
          <a:prstGeom prst="rect">
            <a:avLst/>
          </a:prstGeom>
          <a:solidFill>
            <a:srgbClr val="FFFF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45829">
              <a:defRPr/>
            </a:pPr>
            <a:endParaRPr lang="tr-TR" sz="1921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96" name="Rectangle 195"/>
          <p:cNvSpPr/>
          <p:nvPr/>
        </p:nvSpPr>
        <p:spPr>
          <a:xfrm>
            <a:off x="6745442" y="2219592"/>
            <a:ext cx="130634" cy="130634"/>
          </a:xfrm>
          <a:prstGeom prst="rect">
            <a:avLst/>
          </a:prstGeom>
          <a:solidFill>
            <a:srgbClr val="00A1D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45829">
              <a:defRPr/>
            </a:pPr>
            <a:endParaRPr lang="tr-TR" sz="1921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97" name="Rectangle 196"/>
          <p:cNvSpPr/>
          <p:nvPr/>
        </p:nvSpPr>
        <p:spPr>
          <a:xfrm>
            <a:off x="6957984" y="2221653"/>
            <a:ext cx="130634" cy="130634"/>
          </a:xfrm>
          <a:prstGeom prst="rect">
            <a:avLst/>
          </a:prstGeom>
          <a:solidFill>
            <a:srgbClr val="3C8A2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45829">
              <a:defRPr/>
            </a:pPr>
            <a:endParaRPr lang="tr-TR" sz="1921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98" name="Rectangle 197"/>
          <p:cNvSpPr/>
          <p:nvPr/>
        </p:nvSpPr>
        <p:spPr>
          <a:xfrm>
            <a:off x="5892254" y="2477526"/>
            <a:ext cx="130634" cy="130634"/>
          </a:xfrm>
          <a:prstGeom prst="rect">
            <a:avLst/>
          </a:prstGeom>
          <a:solidFill>
            <a:sysClr val="window" lastClr="FFFFFF">
              <a:lumMod val="75000"/>
            </a:sys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45829">
              <a:defRPr/>
            </a:pPr>
            <a:endParaRPr lang="tr-TR" sz="1921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99" name="Rectangle 198"/>
          <p:cNvSpPr/>
          <p:nvPr/>
        </p:nvSpPr>
        <p:spPr>
          <a:xfrm>
            <a:off x="5690988" y="2477526"/>
            <a:ext cx="130634" cy="130634"/>
          </a:xfrm>
          <a:prstGeom prst="rect">
            <a:avLst/>
          </a:prstGeom>
          <a:solidFill>
            <a:srgbClr val="C0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45829">
              <a:defRPr/>
            </a:pPr>
            <a:endParaRPr lang="tr-TR" sz="1921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00" name="Rectangle 199"/>
          <p:cNvSpPr/>
          <p:nvPr/>
        </p:nvSpPr>
        <p:spPr>
          <a:xfrm>
            <a:off x="6062420" y="2749908"/>
            <a:ext cx="130634" cy="130634"/>
          </a:xfrm>
          <a:prstGeom prst="rect">
            <a:avLst/>
          </a:prstGeom>
          <a:solidFill>
            <a:srgbClr val="00A1D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45829">
              <a:defRPr/>
            </a:pPr>
            <a:endParaRPr lang="tr-TR" sz="1921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01" name="Rectangle 200"/>
          <p:cNvSpPr/>
          <p:nvPr/>
        </p:nvSpPr>
        <p:spPr>
          <a:xfrm>
            <a:off x="5846990" y="2739588"/>
            <a:ext cx="130634" cy="130634"/>
          </a:xfrm>
          <a:prstGeom prst="rect">
            <a:avLst/>
          </a:prstGeom>
          <a:solidFill>
            <a:srgbClr val="C0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45829">
              <a:defRPr/>
            </a:pPr>
            <a:endParaRPr lang="tr-TR" sz="1921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02" name="Rectangle 201"/>
          <p:cNvSpPr/>
          <p:nvPr/>
        </p:nvSpPr>
        <p:spPr>
          <a:xfrm>
            <a:off x="7112013" y="2985147"/>
            <a:ext cx="130634" cy="130634"/>
          </a:xfrm>
          <a:prstGeom prst="rect">
            <a:avLst/>
          </a:prstGeom>
          <a:solidFill>
            <a:srgbClr val="C0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45829">
              <a:defRPr/>
            </a:pPr>
            <a:endParaRPr lang="tr-TR" sz="1921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03" name="Rectangle 202"/>
          <p:cNvSpPr/>
          <p:nvPr/>
        </p:nvSpPr>
        <p:spPr>
          <a:xfrm>
            <a:off x="6720775" y="2985147"/>
            <a:ext cx="130634" cy="130634"/>
          </a:xfrm>
          <a:prstGeom prst="rect">
            <a:avLst/>
          </a:prstGeom>
          <a:solidFill>
            <a:srgbClr val="00A1D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45829">
              <a:defRPr/>
            </a:pPr>
            <a:endParaRPr lang="tr-TR" sz="1921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04" name="Rectangle 203"/>
          <p:cNvSpPr/>
          <p:nvPr/>
        </p:nvSpPr>
        <p:spPr>
          <a:xfrm>
            <a:off x="6921552" y="2985147"/>
            <a:ext cx="130634" cy="130634"/>
          </a:xfrm>
          <a:prstGeom prst="rect">
            <a:avLst/>
          </a:prstGeom>
          <a:solidFill>
            <a:srgbClr val="00277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45829">
              <a:defRPr/>
            </a:pPr>
            <a:endParaRPr lang="tr-TR" sz="1921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05" name="Rectangle 204"/>
          <p:cNvSpPr/>
          <p:nvPr/>
        </p:nvSpPr>
        <p:spPr>
          <a:xfrm>
            <a:off x="8000309" y="3247209"/>
            <a:ext cx="130634" cy="130634"/>
          </a:xfrm>
          <a:prstGeom prst="rect">
            <a:avLst/>
          </a:prstGeom>
          <a:solidFill>
            <a:srgbClr val="FFFF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45829">
              <a:defRPr/>
            </a:pPr>
            <a:endParaRPr lang="tr-TR" sz="1921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06" name="Rectangle 205"/>
          <p:cNvSpPr/>
          <p:nvPr/>
        </p:nvSpPr>
        <p:spPr>
          <a:xfrm>
            <a:off x="7792512" y="3247209"/>
            <a:ext cx="130634" cy="130634"/>
          </a:xfrm>
          <a:prstGeom prst="rect">
            <a:avLst/>
          </a:prstGeom>
          <a:solidFill>
            <a:srgbClr val="00A1D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45829">
              <a:defRPr/>
            </a:pPr>
            <a:endParaRPr lang="tr-TR" sz="1921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07" name="Rectangle 206"/>
          <p:cNvSpPr/>
          <p:nvPr/>
        </p:nvSpPr>
        <p:spPr>
          <a:xfrm>
            <a:off x="8194067" y="3247209"/>
            <a:ext cx="130634" cy="130634"/>
          </a:xfrm>
          <a:prstGeom prst="rect">
            <a:avLst/>
          </a:prstGeom>
          <a:solidFill>
            <a:srgbClr val="FFC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45829">
              <a:defRPr/>
            </a:pPr>
            <a:endParaRPr lang="tr-TR" sz="1921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08" name="Rectangle 207"/>
          <p:cNvSpPr/>
          <p:nvPr/>
        </p:nvSpPr>
        <p:spPr>
          <a:xfrm>
            <a:off x="8381848" y="3247209"/>
            <a:ext cx="130634" cy="130634"/>
          </a:xfrm>
          <a:prstGeom prst="rect">
            <a:avLst/>
          </a:prstGeom>
          <a:solidFill>
            <a:srgbClr val="C0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45829">
              <a:defRPr/>
            </a:pPr>
            <a:endParaRPr lang="tr-TR" sz="1921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09" name="Rectangle 208"/>
          <p:cNvSpPr/>
          <p:nvPr/>
        </p:nvSpPr>
        <p:spPr>
          <a:xfrm>
            <a:off x="8606771" y="3249270"/>
            <a:ext cx="130634" cy="130634"/>
          </a:xfrm>
          <a:prstGeom prst="rect">
            <a:avLst/>
          </a:prstGeom>
          <a:solidFill>
            <a:srgbClr val="00277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45829">
              <a:defRPr/>
            </a:pPr>
            <a:endParaRPr lang="tr-TR" sz="1921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10" name="Rectangle 209"/>
          <p:cNvSpPr/>
          <p:nvPr/>
        </p:nvSpPr>
        <p:spPr>
          <a:xfrm>
            <a:off x="8819312" y="3238950"/>
            <a:ext cx="130634" cy="130634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25400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algn="ctr" defTabSz="945829">
              <a:defRPr/>
            </a:pPr>
            <a:endParaRPr lang="tr-TR" sz="1921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11" name="Rectangle 210"/>
          <p:cNvSpPr/>
          <p:nvPr/>
        </p:nvSpPr>
        <p:spPr>
          <a:xfrm>
            <a:off x="9394979" y="3509274"/>
            <a:ext cx="130634" cy="130634"/>
          </a:xfrm>
          <a:prstGeom prst="rect">
            <a:avLst/>
          </a:prstGeom>
          <a:solidFill>
            <a:srgbClr val="00A1D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45829">
              <a:defRPr/>
            </a:pPr>
            <a:endParaRPr lang="tr-TR" sz="1921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12" name="Rectangle 211"/>
          <p:cNvSpPr/>
          <p:nvPr/>
        </p:nvSpPr>
        <p:spPr>
          <a:xfrm>
            <a:off x="9204311" y="3509274"/>
            <a:ext cx="130634" cy="130634"/>
          </a:xfrm>
          <a:prstGeom prst="rect">
            <a:avLst/>
          </a:prstGeom>
          <a:solidFill>
            <a:srgbClr val="C0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45829">
              <a:defRPr/>
            </a:pPr>
            <a:endParaRPr lang="tr-TR" sz="1921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13" name="Rectangle 212"/>
          <p:cNvSpPr/>
          <p:nvPr/>
        </p:nvSpPr>
        <p:spPr>
          <a:xfrm>
            <a:off x="9602569" y="3511335"/>
            <a:ext cx="130634" cy="130634"/>
          </a:xfrm>
          <a:prstGeom prst="rect">
            <a:avLst/>
          </a:prstGeom>
          <a:solidFill>
            <a:srgbClr val="00277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45829">
              <a:defRPr/>
            </a:pPr>
            <a:endParaRPr lang="tr-TR" sz="1921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14" name="Rectangle 213"/>
          <p:cNvSpPr/>
          <p:nvPr/>
        </p:nvSpPr>
        <p:spPr>
          <a:xfrm>
            <a:off x="6986856" y="3820859"/>
            <a:ext cx="130634" cy="130634"/>
          </a:xfrm>
          <a:prstGeom prst="rect">
            <a:avLst/>
          </a:prstGeom>
          <a:solidFill>
            <a:srgbClr val="C0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45829">
              <a:defRPr/>
            </a:pPr>
            <a:endParaRPr lang="tr-TR" sz="1921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15" name="Rectangle 214"/>
          <p:cNvSpPr/>
          <p:nvPr/>
        </p:nvSpPr>
        <p:spPr>
          <a:xfrm>
            <a:off x="7191968" y="3822923"/>
            <a:ext cx="130634" cy="130634"/>
          </a:xfrm>
          <a:prstGeom prst="rect">
            <a:avLst/>
          </a:prstGeom>
          <a:solidFill>
            <a:srgbClr val="3C8A2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45829">
              <a:defRPr/>
            </a:pPr>
            <a:endParaRPr lang="tr-TR" sz="1921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16" name="Rectangle 215"/>
          <p:cNvSpPr/>
          <p:nvPr/>
        </p:nvSpPr>
        <p:spPr>
          <a:xfrm>
            <a:off x="6689812" y="4417214"/>
            <a:ext cx="130634" cy="130634"/>
          </a:xfrm>
          <a:prstGeom prst="rect">
            <a:avLst/>
          </a:prstGeom>
          <a:solidFill>
            <a:srgbClr val="00A1D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45829">
              <a:defRPr/>
            </a:pPr>
            <a:endParaRPr lang="tr-TR" sz="1921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17" name="Rectangle 216"/>
          <p:cNvSpPr/>
          <p:nvPr/>
        </p:nvSpPr>
        <p:spPr>
          <a:xfrm>
            <a:off x="6499144" y="4417214"/>
            <a:ext cx="130634" cy="130634"/>
          </a:xfrm>
          <a:prstGeom prst="rect">
            <a:avLst/>
          </a:prstGeom>
          <a:solidFill>
            <a:srgbClr val="C0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45829">
              <a:defRPr/>
            </a:pPr>
            <a:endParaRPr lang="tr-TR" sz="1921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18" name="Rectangle 217"/>
          <p:cNvSpPr/>
          <p:nvPr/>
        </p:nvSpPr>
        <p:spPr>
          <a:xfrm>
            <a:off x="6877590" y="4419278"/>
            <a:ext cx="130634" cy="130634"/>
          </a:xfrm>
          <a:prstGeom prst="rect">
            <a:avLst/>
          </a:prstGeom>
          <a:solidFill>
            <a:sysClr val="window" lastClr="FFFFFF">
              <a:lumMod val="75000"/>
            </a:sys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45829">
              <a:defRPr/>
            </a:pPr>
            <a:endParaRPr lang="tr-TR" sz="1921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19" name="Rectangle 218"/>
          <p:cNvSpPr/>
          <p:nvPr/>
        </p:nvSpPr>
        <p:spPr>
          <a:xfrm>
            <a:off x="6993870" y="4008638"/>
            <a:ext cx="130634" cy="130634"/>
          </a:xfrm>
          <a:prstGeom prst="rect">
            <a:avLst/>
          </a:prstGeom>
          <a:solidFill>
            <a:srgbClr val="00A1D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45829">
              <a:defRPr/>
            </a:pPr>
            <a:endParaRPr lang="tr-TR" sz="1921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20" name="Rectangle 219"/>
          <p:cNvSpPr/>
          <p:nvPr/>
        </p:nvSpPr>
        <p:spPr>
          <a:xfrm>
            <a:off x="7181649" y="4010702"/>
            <a:ext cx="130634" cy="130634"/>
          </a:xfrm>
          <a:prstGeom prst="rect">
            <a:avLst/>
          </a:prstGeom>
          <a:solidFill>
            <a:srgbClr val="3C8A2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45829">
              <a:defRPr/>
            </a:pPr>
            <a:endParaRPr lang="tr-TR" sz="1921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21" name="Rectangle 220"/>
          <p:cNvSpPr/>
          <p:nvPr/>
        </p:nvSpPr>
        <p:spPr>
          <a:xfrm>
            <a:off x="6513646" y="4642136"/>
            <a:ext cx="130634" cy="130634"/>
          </a:xfrm>
          <a:prstGeom prst="rect">
            <a:avLst/>
          </a:prstGeom>
          <a:solidFill>
            <a:srgbClr val="00A1D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45829">
              <a:defRPr/>
            </a:pPr>
            <a:endParaRPr lang="tr-TR" sz="1921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22" name="Rectangle 221"/>
          <p:cNvSpPr/>
          <p:nvPr/>
        </p:nvSpPr>
        <p:spPr>
          <a:xfrm>
            <a:off x="6701425" y="4644200"/>
            <a:ext cx="130634" cy="130634"/>
          </a:xfrm>
          <a:prstGeom prst="rect">
            <a:avLst/>
          </a:prstGeom>
          <a:solidFill>
            <a:srgbClr val="FFFF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45829">
              <a:defRPr/>
            </a:pPr>
            <a:endParaRPr lang="tr-TR" sz="1921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23" name="Rectangle 222"/>
          <p:cNvSpPr/>
          <p:nvPr/>
        </p:nvSpPr>
        <p:spPr>
          <a:xfrm>
            <a:off x="6936664" y="4644197"/>
            <a:ext cx="130634" cy="130634"/>
          </a:xfrm>
          <a:prstGeom prst="rect">
            <a:avLst/>
          </a:prstGeom>
          <a:solidFill>
            <a:srgbClr val="FFC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45829">
              <a:defRPr/>
            </a:pPr>
            <a:endParaRPr lang="tr-TR" sz="1921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24" name="Rectangle 223"/>
          <p:cNvSpPr/>
          <p:nvPr/>
        </p:nvSpPr>
        <p:spPr>
          <a:xfrm>
            <a:off x="7149205" y="4646261"/>
            <a:ext cx="130634" cy="130634"/>
          </a:xfrm>
          <a:prstGeom prst="rect">
            <a:avLst/>
          </a:prstGeom>
          <a:solidFill>
            <a:srgbClr val="C0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45829">
              <a:defRPr/>
            </a:pPr>
            <a:endParaRPr lang="tr-TR" sz="1921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25" name="Rectangle 224"/>
          <p:cNvSpPr/>
          <p:nvPr/>
        </p:nvSpPr>
        <p:spPr>
          <a:xfrm>
            <a:off x="5441301" y="4904201"/>
            <a:ext cx="130634" cy="130634"/>
          </a:xfrm>
          <a:prstGeom prst="rect">
            <a:avLst/>
          </a:prstGeom>
          <a:solidFill>
            <a:srgbClr val="C0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45829">
              <a:defRPr/>
            </a:pPr>
            <a:endParaRPr lang="tr-TR" sz="1921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26" name="Rectangle 225"/>
          <p:cNvSpPr/>
          <p:nvPr/>
        </p:nvSpPr>
        <p:spPr>
          <a:xfrm>
            <a:off x="5629080" y="4906265"/>
            <a:ext cx="130634" cy="130634"/>
          </a:xfrm>
          <a:prstGeom prst="rect">
            <a:avLst/>
          </a:prstGeom>
          <a:solidFill>
            <a:srgbClr val="FB71D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45829">
              <a:defRPr/>
            </a:pPr>
            <a:endParaRPr lang="tr-TR" sz="1921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27" name="Rectangle 226"/>
          <p:cNvSpPr/>
          <p:nvPr/>
        </p:nvSpPr>
        <p:spPr>
          <a:xfrm>
            <a:off x="6014955" y="4920707"/>
            <a:ext cx="130634" cy="130634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45829">
              <a:defRPr/>
            </a:pPr>
            <a:endParaRPr lang="tr-TR" sz="1921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28" name="Rectangle 227"/>
          <p:cNvSpPr/>
          <p:nvPr/>
        </p:nvSpPr>
        <p:spPr>
          <a:xfrm>
            <a:off x="6607185" y="5191028"/>
            <a:ext cx="130634" cy="130634"/>
          </a:xfrm>
          <a:prstGeom prst="rect">
            <a:avLst/>
          </a:prstGeom>
          <a:solidFill>
            <a:srgbClr val="00A1D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45829">
              <a:defRPr/>
            </a:pPr>
            <a:endParaRPr lang="tr-TR" sz="1921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29" name="Rectangle 228"/>
          <p:cNvSpPr/>
          <p:nvPr/>
        </p:nvSpPr>
        <p:spPr>
          <a:xfrm>
            <a:off x="6794963" y="5191028"/>
            <a:ext cx="130634" cy="130634"/>
          </a:xfrm>
          <a:prstGeom prst="rect">
            <a:avLst/>
          </a:prstGeom>
          <a:solidFill>
            <a:srgbClr val="C0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45829">
              <a:defRPr/>
            </a:pPr>
            <a:endParaRPr lang="tr-TR" sz="1921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30" name="Rectangle 229"/>
          <p:cNvSpPr/>
          <p:nvPr/>
        </p:nvSpPr>
        <p:spPr>
          <a:xfrm>
            <a:off x="6982743" y="5193090"/>
            <a:ext cx="130634" cy="130634"/>
          </a:xfrm>
          <a:prstGeom prst="rect">
            <a:avLst/>
          </a:prstGeom>
          <a:solidFill>
            <a:srgbClr val="FFFF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45829">
              <a:defRPr/>
            </a:pPr>
            <a:endParaRPr lang="tr-TR" sz="1921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31" name="Rectangle 230"/>
          <p:cNvSpPr/>
          <p:nvPr/>
        </p:nvSpPr>
        <p:spPr>
          <a:xfrm>
            <a:off x="5831299" y="4922769"/>
            <a:ext cx="130634" cy="130634"/>
          </a:xfrm>
          <a:prstGeom prst="rect">
            <a:avLst/>
          </a:prstGeom>
          <a:solidFill>
            <a:srgbClr val="00A1D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45829">
              <a:defRPr/>
            </a:pPr>
            <a:endParaRPr lang="tr-TR" sz="1921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32" name="Rectangle 231"/>
          <p:cNvSpPr/>
          <p:nvPr/>
        </p:nvSpPr>
        <p:spPr>
          <a:xfrm>
            <a:off x="7145033" y="2217431"/>
            <a:ext cx="130634" cy="130634"/>
          </a:xfrm>
          <a:prstGeom prst="rect">
            <a:avLst/>
          </a:prstGeom>
          <a:solidFill>
            <a:srgbClr val="C0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45829">
              <a:defRPr/>
            </a:pPr>
            <a:endParaRPr lang="tr-TR" sz="1921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33" name="AutoShape 147"/>
          <p:cNvSpPr>
            <a:spLocks noChangeArrowheads="1"/>
          </p:cNvSpPr>
          <p:nvPr>
            <p:custDataLst>
              <p:tags r:id="rId40"/>
            </p:custDataLst>
          </p:nvPr>
        </p:nvSpPr>
        <p:spPr bwMode="auto">
          <a:xfrm>
            <a:off x="2543252" y="4088169"/>
            <a:ext cx="947098" cy="144000"/>
          </a:xfrm>
          <a:prstGeom prst="homePlate">
            <a:avLst>
              <a:gd name="adj" fmla="val 66748"/>
            </a:avLst>
          </a:prstGeom>
          <a:solidFill>
            <a:srgbClr val="00A1DE"/>
          </a:solidFill>
          <a:ln w="6350" algn="ctr">
            <a:noFill/>
            <a:miter lim="800000"/>
            <a:headEnd/>
            <a:tailEnd/>
          </a:ln>
        </p:spPr>
        <p:txBody>
          <a:bodyPr lIns="18000" tIns="10800" rIns="18000" bIns="10800" anchor="ctr"/>
          <a:lstStyle/>
          <a:p>
            <a:pPr algn="ctr" defTabSz="945829" eaLnBrk="0" hangingPunct="0">
              <a:lnSpc>
                <a:spcPct val="90000"/>
              </a:lnSpc>
              <a:buClr>
                <a:srgbClr val="000000"/>
              </a:buClr>
              <a:defRPr/>
            </a:pPr>
            <a:r>
              <a:rPr lang="tr-TR" sz="800" b="1" kern="0" dirty="0">
                <a:solidFill>
                  <a:srgbClr val="FFFFFF"/>
                </a:solidFill>
                <a:latin typeface="Arial"/>
                <a:cs typeface="Arial"/>
              </a:rPr>
              <a:t>4</a:t>
            </a:r>
          </a:p>
        </p:txBody>
      </p:sp>
      <p:graphicFrame>
        <p:nvGraphicFramePr>
          <p:cNvPr id="137" name="Group 217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0394909"/>
              </p:ext>
            </p:extLst>
          </p:nvPr>
        </p:nvGraphicFramePr>
        <p:xfrm>
          <a:off x="899245" y="656280"/>
          <a:ext cx="8975556" cy="5710111"/>
        </p:xfrm>
        <a:graphic>
          <a:graphicData uri="http://schemas.openxmlformats.org/drawingml/2006/table">
            <a:tbl>
              <a:tblPr/>
              <a:tblGrid>
                <a:gridCol w="6450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140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40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3140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3140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3140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3140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3140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3140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23140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231403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231403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231403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231403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231403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231403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231403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231403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231403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231403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  <a:gridCol w="231403">
                  <a:extLst>
                    <a:ext uri="{9D8B030D-6E8A-4147-A177-3AD203B41FA5}">
                      <a16:colId xmlns:a16="http://schemas.microsoft.com/office/drawing/2014/main" val="20020"/>
                    </a:ext>
                  </a:extLst>
                </a:gridCol>
                <a:gridCol w="231403">
                  <a:extLst>
                    <a:ext uri="{9D8B030D-6E8A-4147-A177-3AD203B41FA5}">
                      <a16:colId xmlns:a16="http://schemas.microsoft.com/office/drawing/2014/main" val="20021"/>
                    </a:ext>
                  </a:extLst>
                </a:gridCol>
                <a:gridCol w="231403">
                  <a:extLst>
                    <a:ext uri="{9D8B030D-6E8A-4147-A177-3AD203B41FA5}">
                      <a16:colId xmlns:a16="http://schemas.microsoft.com/office/drawing/2014/main" val="20022"/>
                    </a:ext>
                  </a:extLst>
                </a:gridCol>
                <a:gridCol w="231403">
                  <a:extLst>
                    <a:ext uri="{9D8B030D-6E8A-4147-A177-3AD203B41FA5}">
                      <a16:colId xmlns:a16="http://schemas.microsoft.com/office/drawing/2014/main" val="20023"/>
                    </a:ext>
                  </a:extLst>
                </a:gridCol>
                <a:gridCol w="231403">
                  <a:extLst>
                    <a:ext uri="{9D8B030D-6E8A-4147-A177-3AD203B41FA5}">
                      <a16:colId xmlns:a16="http://schemas.microsoft.com/office/drawing/2014/main" val="20024"/>
                    </a:ext>
                  </a:extLst>
                </a:gridCol>
                <a:gridCol w="231403">
                  <a:extLst>
                    <a:ext uri="{9D8B030D-6E8A-4147-A177-3AD203B41FA5}">
                      <a16:colId xmlns:a16="http://schemas.microsoft.com/office/drawing/2014/main" val="20025"/>
                    </a:ext>
                  </a:extLst>
                </a:gridCol>
                <a:gridCol w="231403">
                  <a:extLst>
                    <a:ext uri="{9D8B030D-6E8A-4147-A177-3AD203B41FA5}">
                      <a16:colId xmlns:a16="http://schemas.microsoft.com/office/drawing/2014/main" val="20026"/>
                    </a:ext>
                  </a:extLst>
                </a:gridCol>
                <a:gridCol w="231403">
                  <a:extLst>
                    <a:ext uri="{9D8B030D-6E8A-4147-A177-3AD203B41FA5}">
                      <a16:colId xmlns:a16="http://schemas.microsoft.com/office/drawing/2014/main" val="20027"/>
                    </a:ext>
                  </a:extLst>
                </a:gridCol>
                <a:gridCol w="231403">
                  <a:extLst>
                    <a:ext uri="{9D8B030D-6E8A-4147-A177-3AD203B41FA5}">
                      <a16:colId xmlns:a16="http://schemas.microsoft.com/office/drawing/2014/main" val="20028"/>
                    </a:ext>
                  </a:extLst>
                </a:gridCol>
                <a:gridCol w="231403">
                  <a:extLst>
                    <a:ext uri="{9D8B030D-6E8A-4147-A177-3AD203B41FA5}">
                      <a16:colId xmlns:a16="http://schemas.microsoft.com/office/drawing/2014/main" val="20029"/>
                    </a:ext>
                  </a:extLst>
                </a:gridCol>
                <a:gridCol w="231403">
                  <a:extLst>
                    <a:ext uri="{9D8B030D-6E8A-4147-A177-3AD203B41FA5}">
                      <a16:colId xmlns:a16="http://schemas.microsoft.com/office/drawing/2014/main" val="20030"/>
                    </a:ext>
                  </a:extLst>
                </a:gridCol>
                <a:gridCol w="231403">
                  <a:extLst>
                    <a:ext uri="{9D8B030D-6E8A-4147-A177-3AD203B41FA5}">
                      <a16:colId xmlns:a16="http://schemas.microsoft.com/office/drawing/2014/main" val="20031"/>
                    </a:ext>
                  </a:extLst>
                </a:gridCol>
                <a:gridCol w="231403">
                  <a:extLst>
                    <a:ext uri="{9D8B030D-6E8A-4147-A177-3AD203B41FA5}">
                      <a16:colId xmlns:a16="http://schemas.microsoft.com/office/drawing/2014/main" val="20032"/>
                    </a:ext>
                  </a:extLst>
                </a:gridCol>
                <a:gridCol w="231403">
                  <a:extLst>
                    <a:ext uri="{9D8B030D-6E8A-4147-A177-3AD203B41FA5}">
                      <a16:colId xmlns:a16="http://schemas.microsoft.com/office/drawing/2014/main" val="20033"/>
                    </a:ext>
                  </a:extLst>
                </a:gridCol>
                <a:gridCol w="231403">
                  <a:extLst>
                    <a:ext uri="{9D8B030D-6E8A-4147-A177-3AD203B41FA5}">
                      <a16:colId xmlns:a16="http://schemas.microsoft.com/office/drawing/2014/main" val="20034"/>
                    </a:ext>
                  </a:extLst>
                </a:gridCol>
                <a:gridCol w="231403">
                  <a:extLst>
                    <a:ext uri="{9D8B030D-6E8A-4147-A177-3AD203B41FA5}">
                      <a16:colId xmlns:a16="http://schemas.microsoft.com/office/drawing/2014/main" val="20035"/>
                    </a:ext>
                  </a:extLst>
                </a:gridCol>
                <a:gridCol w="231403">
                  <a:extLst>
                    <a:ext uri="{9D8B030D-6E8A-4147-A177-3AD203B41FA5}">
                      <a16:colId xmlns:a16="http://schemas.microsoft.com/office/drawing/2014/main" val="20036"/>
                    </a:ext>
                  </a:extLst>
                </a:gridCol>
              </a:tblGrid>
              <a:tr h="24517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1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tr-T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23</a:t>
                      </a:r>
                      <a:endParaRPr kumimoji="0" lang="en-GB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A1D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1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tr-T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24</a:t>
                      </a:r>
                      <a:endParaRPr kumimoji="0" lang="en-GB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A1D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1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tr-T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25</a:t>
                      </a:r>
                      <a:endParaRPr kumimoji="0" lang="en-GB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A1D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517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tr-T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1</a:t>
                      </a: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tr-T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2</a:t>
                      </a: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tr-T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3</a:t>
                      </a: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tr-T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4</a:t>
                      </a: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tr-T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5</a:t>
                      </a: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tr-T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6</a:t>
                      </a: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tr-T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7</a:t>
                      </a: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tr-T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8</a:t>
                      </a: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tr-T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9</a:t>
                      </a: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tr-T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10</a:t>
                      </a: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tr-T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11</a:t>
                      </a: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tr-T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12</a:t>
                      </a: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tr-T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1</a:t>
                      </a: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tr-T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2</a:t>
                      </a: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tr-T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3</a:t>
                      </a: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tr-T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4</a:t>
                      </a: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tr-T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5</a:t>
                      </a: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tr-T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6</a:t>
                      </a: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tr-T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7</a:t>
                      </a: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tr-T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8</a:t>
                      </a: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tr-T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9</a:t>
                      </a: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tr-T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10</a:t>
                      </a: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tr-T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11</a:t>
                      </a: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tr-T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12</a:t>
                      </a: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tr-T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1</a:t>
                      </a: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tr-T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2</a:t>
                      </a: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tr-T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3</a:t>
                      </a: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tr-T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4</a:t>
                      </a: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tr-T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5</a:t>
                      </a: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tr-T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6</a:t>
                      </a: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tr-T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7</a:t>
                      </a: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tr-T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8</a:t>
                      </a: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tr-T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9</a:t>
                      </a: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tr-T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10</a:t>
                      </a: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tr-T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11</a:t>
                      </a: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tr-T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12</a:t>
                      </a: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3480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defTabSz="957263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tr-TR" sz="1000" b="1" dirty="0">
                        <a:solidFill>
                          <a:srgbClr val="FFFFFF"/>
                        </a:solidFill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A1D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4667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defTabSz="957263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tr-TR" sz="1000" b="1" dirty="0">
                        <a:solidFill>
                          <a:srgbClr val="FFFFFF"/>
                        </a:solidFill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77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3829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defTabSz="957263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tr-TR" sz="1000" b="1" dirty="0">
                        <a:solidFill>
                          <a:srgbClr val="FFFFFF"/>
                        </a:solidFill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C8A2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1D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182" name="Table 181"/>
          <p:cNvGraphicFramePr>
            <a:graphicFrameLocks noGrp="1"/>
          </p:cNvGraphicFramePr>
          <p:nvPr/>
        </p:nvGraphicFramePr>
        <p:xfrm>
          <a:off x="7952411" y="1300873"/>
          <a:ext cx="1849711" cy="1667020"/>
        </p:xfrm>
        <a:graphic>
          <a:graphicData uri="http://schemas.openxmlformats.org/drawingml/2006/table">
            <a:tbl>
              <a:tblPr firstRow="1" bandRow="1"/>
              <a:tblGrid>
                <a:gridCol w="1632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8641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6670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endParaRPr lang="tr-TR" sz="1000" b="0" dirty="0">
                        <a:solidFill>
                          <a:schemeClr val="tx2"/>
                        </a:solidFill>
                      </a:endParaRPr>
                    </a:p>
                  </a:txBody>
                  <a:tcPr marL="32659" marR="32659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1D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tr-TR" sz="1000" b="0" dirty="0">
                          <a:solidFill>
                            <a:schemeClr val="tx2"/>
                          </a:solidFill>
                        </a:rPr>
                        <a:t>Tedarik Zinciri</a:t>
                      </a:r>
                    </a:p>
                  </a:txBody>
                  <a:tcPr marL="32659" marR="32659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670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tr-TR" sz="1000" b="0" dirty="0">
                        <a:solidFill>
                          <a:schemeClr val="tx2"/>
                        </a:solidFill>
                      </a:endParaRPr>
                    </a:p>
                  </a:txBody>
                  <a:tcPr marL="32659" marR="32659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tr-TR" sz="1000" b="0" dirty="0">
                          <a:solidFill>
                            <a:schemeClr val="tx2"/>
                          </a:solidFill>
                        </a:rPr>
                        <a:t>Pazarlama ve Satış</a:t>
                      </a:r>
                    </a:p>
                  </a:txBody>
                  <a:tcPr marL="32659" marR="32659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670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tr-TR" sz="1000" b="0" dirty="0">
                        <a:solidFill>
                          <a:schemeClr val="tx2"/>
                        </a:solidFill>
                      </a:endParaRPr>
                    </a:p>
                  </a:txBody>
                  <a:tcPr marL="32659" marR="32659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tr-TR" sz="1000" b="0" dirty="0">
                          <a:solidFill>
                            <a:schemeClr val="tx2"/>
                          </a:solidFill>
                        </a:rPr>
                        <a:t>Fabrika Üretim Planlama</a:t>
                      </a:r>
                    </a:p>
                  </a:txBody>
                  <a:tcPr marL="32659" marR="32659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670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tr-TR" sz="1000" b="0" dirty="0">
                        <a:solidFill>
                          <a:schemeClr val="tx2"/>
                        </a:solidFill>
                      </a:endParaRPr>
                    </a:p>
                  </a:txBody>
                  <a:tcPr marL="32659" marR="32659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71D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tr-TR" sz="1000" b="0" dirty="0">
                          <a:solidFill>
                            <a:schemeClr val="tx2"/>
                          </a:solidFill>
                        </a:rPr>
                        <a:t>Geliştirme ve Kalite </a:t>
                      </a:r>
                    </a:p>
                  </a:txBody>
                  <a:tcPr marL="32659" marR="32659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670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tr-TR" sz="1000" b="0" dirty="0">
                        <a:solidFill>
                          <a:schemeClr val="tx2"/>
                        </a:solidFill>
                      </a:endParaRPr>
                    </a:p>
                  </a:txBody>
                  <a:tcPr marL="32659" marR="32659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77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tr-TR" sz="1000" b="0" dirty="0">
                          <a:solidFill>
                            <a:schemeClr val="tx2"/>
                          </a:solidFill>
                        </a:rPr>
                        <a:t>Fabrika Üretim</a:t>
                      </a:r>
                    </a:p>
                  </a:txBody>
                  <a:tcPr marL="32659" marR="32659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670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tr-TR" sz="1000" b="0" dirty="0">
                        <a:solidFill>
                          <a:schemeClr val="tx2"/>
                        </a:solidFill>
                      </a:endParaRPr>
                    </a:p>
                  </a:txBody>
                  <a:tcPr marL="32659" marR="32659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tr-TR" sz="1000" b="0" dirty="0">
                          <a:solidFill>
                            <a:schemeClr val="tx2"/>
                          </a:solidFill>
                        </a:rPr>
                        <a:t>Finans</a:t>
                      </a:r>
                    </a:p>
                  </a:txBody>
                  <a:tcPr marL="32659" marR="32659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670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tr-TR" sz="1000" b="0" dirty="0">
                        <a:solidFill>
                          <a:schemeClr val="tx2"/>
                        </a:solidFill>
                      </a:endParaRPr>
                    </a:p>
                  </a:txBody>
                  <a:tcPr marL="32659" marR="32659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C75D5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tr-TR" sz="1000" b="0" dirty="0">
                          <a:solidFill>
                            <a:schemeClr val="tx2"/>
                          </a:solidFill>
                        </a:rPr>
                        <a:t>Stratejik</a:t>
                      </a:r>
                      <a:r>
                        <a:rPr lang="tr-TR" sz="1000" b="0" baseline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tr-TR" sz="1000" b="0" dirty="0">
                          <a:solidFill>
                            <a:schemeClr val="tx2"/>
                          </a:solidFill>
                        </a:rPr>
                        <a:t>Planlama</a:t>
                      </a:r>
                    </a:p>
                  </a:txBody>
                  <a:tcPr marL="32659" marR="32659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670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tr-TR" sz="1000" b="0" dirty="0">
                        <a:solidFill>
                          <a:schemeClr val="tx2"/>
                        </a:solidFill>
                      </a:endParaRPr>
                    </a:p>
                  </a:txBody>
                  <a:tcPr marL="32659" marR="32659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C8A2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tr-TR" sz="1000" b="0" dirty="0">
                          <a:solidFill>
                            <a:schemeClr val="tx2"/>
                          </a:solidFill>
                        </a:rPr>
                        <a:t>Bilgi Teknolojileri</a:t>
                      </a:r>
                    </a:p>
                  </a:txBody>
                  <a:tcPr marL="32659" marR="32659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670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tr-TR" sz="1000" b="0" dirty="0">
                        <a:solidFill>
                          <a:schemeClr val="tx2"/>
                        </a:solidFill>
                      </a:endParaRPr>
                    </a:p>
                  </a:txBody>
                  <a:tcPr marL="32659" marR="32659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tr-TR" sz="1000" b="0" dirty="0">
                          <a:solidFill>
                            <a:schemeClr val="tx2"/>
                          </a:solidFill>
                        </a:rPr>
                        <a:t>İnsan Kaynakları</a:t>
                      </a:r>
                    </a:p>
                  </a:txBody>
                  <a:tcPr marL="32659" marR="32659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670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tr-TR" sz="1000" b="0" dirty="0">
                        <a:solidFill>
                          <a:schemeClr val="tx2"/>
                        </a:solidFill>
                      </a:endParaRPr>
                    </a:p>
                  </a:txBody>
                  <a:tcPr marL="32659" marR="32659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tr-TR" sz="1000" b="0" dirty="0">
                        <a:solidFill>
                          <a:schemeClr val="tx2"/>
                        </a:solidFill>
                      </a:endParaRPr>
                    </a:p>
                  </a:txBody>
                  <a:tcPr marL="32659" marR="32659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cxnSp>
        <p:nvCxnSpPr>
          <p:cNvPr id="156" name="Shape 85"/>
          <p:cNvCxnSpPr>
            <a:stCxn id="152" idx="2"/>
            <a:endCxn id="154" idx="1"/>
          </p:cNvCxnSpPr>
          <p:nvPr/>
        </p:nvCxnSpPr>
        <p:spPr>
          <a:xfrm rot="16200000" flipH="1">
            <a:off x="3975814" y="2723159"/>
            <a:ext cx="174655" cy="1522002"/>
          </a:xfrm>
          <a:prstGeom prst="bentConnector2">
            <a:avLst/>
          </a:prstGeom>
          <a:noFill/>
          <a:ln w="9525" cap="flat" cmpd="sng" algn="ctr">
            <a:solidFill>
              <a:srgbClr val="002776"/>
            </a:solidFill>
            <a:prstDash val="dash"/>
          </a:ln>
          <a:effectLst/>
        </p:spPr>
      </p:cxnSp>
      <p:cxnSp>
        <p:nvCxnSpPr>
          <p:cNvPr id="166" name="Shape 85"/>
          <p:cNvCxnSpPr>
            <a:stCxn id="140" idx="2"/>
            <a:endCxn id="142" idx="1"/>
          </p:cNvCxnSpPr>
          <p:nvPr/>
        </p:nvCxnSpPr>
        <p:spPr>
          <a:xfrm rot="16200000" flipH="1">
            <a:off x="2183086" y="1397517"/>
            <a:ext cx="200835" cy="57911"/>
          </a:xfrm>
          <a:prstGeom prst="bentConnector2">
            <a:avLst/>
          </a:prstGeom>
          <a:noFill/>
          <a:ln w="9525" cap="flat" cmpd="sng" algn="ctr">
            <a:solidFill>
              <a:srgbClr val="002776"/>
            </a:solidFill>
            <a:prstDash val="dash"/>
          </a:ln>
          <a:effectLst/>
        </p:spPr>
      </p:cxnSp>
      <p:cxnSp>
        <p:nvCxnSpPr>
          <p:cNvPr id="167" name="Shape 85"/>
          <p:cNvCxnSpPr>
            <a:endCxn id="164" idx="1"/>
          </p:cNvCxnSpPr>
          <p:nvPr/>
        </p:nvCxnSpPr>
        <p:spPr>
          <a:xfrm rot="16200000" flipH="1">
            <a:off x="2329703" y="1607702"/>
            <a:ext cx="242487" cy="168226"/>
          </a:xfrm>
          <a:prstGeom prst="bentConnector2">
            <a:avLst/>
          </a:prstGeom>
          <a:noFill/>
          <a:ln w="9525" cap="flat" cmpd="sng" algn="ctr">
            <a:solidFill>
              <a:srgbClr val="002776"/>
            </a:solidFill>
            <a:prstDash val="dash"/>
          </a:ln>
          <a:effectLst/>
        </p:spPr>
      </p:cxnSp>
    </p:spTree>
    <p:extLst>
      <p:ext uri="{BB962C8B-B14F-4D97-AF65-F5344CB8AC3E}">
        <p14:creationId xmlns:p14="http://schemas.microsoft.com/office/powerpoint/2010/main" val="16722487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6AD52A-4A9E-4E6E-8206-62352560CB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3407" y="214004"/>
            <a:ext cx="10515600" cy="631571"/>
          </a:xfrm>
        </p:spPr>
        <p:txBody>
          <a:bodyPr>
            <a:normAutofit/>
          </a:bodyPr>
          <a:lstStyle/>
          <a:p>
            <a:pPr defTabSz="457200"/>
            <a:r>
              <a:rPr lang="tr-TR" sz="2000" dirty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rPr>
              <a:t>Proje Fayda Kolaylık matrisi</a:t>
            </a:r>
          </a:p>
        </p:txBody>
      </p:sp>
      <p:sp>
        <p:nvSpPr>
          <p:cNvPr id="6" name="Metin kutusu 1">
            <a:extLst>
              <a:ext uri="{FF2B5EF4-FFF2-40B4-BE49-F238E27FC236}">
                <a16:creationId xmlns:a16="http://schemas.microsoft.com/office/drawing/2014/main" id="{00000000-0008-0000-0400-000004000000}"/>
              </a:ext>
            </a:extLst>
          </p:cNvPr>
          <p:cNvSpPr txBox="1"/>
          <p:nvPr/>
        </p:nvSpPr>
        <p:spPr>
          <a:xfrm>
            <a:off x="856749" y="1133399"/>
            <a:ext cx="1550811" cy="687493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tr-TR" sz="1200" b="1" dirty="0">
                <a:solidFill>
                  <a:schemeClr val="bg1"/>
                </a:solidFill>
              </a:rPr>
              <a:t>Öncelikli Projeler</a:t>
            </a:r>
          </a:p>
        </p:txBody>
      </p:sp>
      <p:sp>
        <p:nvSpPr>
          <p:cNvPr id="7" name="Metin kutusu 1">
            <a:extLst>
              <a:ext uri="{FF2B5EF4-FFF2-40B4-BE49-F238E27FC236}">
                <a16:creationId xmlns:a16="http://schemas.microsoft.com/office/drawing/2014/main" id="{00000000-0008-0000-0400-000005000000}"/>
              </a:ext>
            </a:extLst>
          </p:cNvPr>
          <p:cNvSpPr txBox="1"/>
          <p:nvPr/>
        </p:nvSpPr>
        <p:spPr>
          <a:xfrm>
            <a:off x="8947287" y="1133399"/>
            <a:ext cx="1553634" cy="687493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tr-TR" sz="1200" b="1" dirty="0">
                <a:solidFill>
                  <a:schemeClr val="bg1"/>
                </a:solidFill>
              </a:rPr>
              <a:t>Faydası Yüksek Zorlu Projeler</a:t>
            </a:r>
          </a:p>
        </p:txBody>
      </p:sp>
      <p:sp>
        <p:nvSpPr>
          <p:cNvPr id="8" name="Metin kutusu 1">
            <a:extLst>
              <a:ext uri="{FF2B5EF4-FFF2-40B4-BE49-F238E27FC236}">
                <a16:creationId xmlns:a16="http://schemas.microsoft.com/office/drawing/2014/main" id="{00000000-0008-0000-0400-000003000000}"/>
              </a:ext>
            </a:extLst>
          </p:cNvPr>
          <p:cNvSpPr txBox="1"/>
          <p:nvPr/>
        </p:nvSpPr>
        <p:spPr>
          <a:xfrm>
            <a:off x="9086349" y="5318527"/>
            <a:ext cx="1550811" cy="527473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tr-TR" sz="1200" b="1" dirty="0">
                <a:solidFill>
                  <a:schemeClr val="bg1"/>
                </a:solidFill>
              </a:rPr>
              <a:t>Düşük Öncelikli Projeler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1C0B332-799A-4314-B46A-8C30E38F78AF}"/>
              </a:ext>
            </a:extLst>
          </p:cNvPr>
          <p:cNvSpPr txBox="1"/>
          <p:nvPr/>
        </p:nvSpPr>
        <p:spPr>
          <a:xfrm>
            <a:off x="4827639" y="6184491"/>
            <a:ext cx="19369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400" b="1" dirty="0"/>
              <a:t>Kolaylık derecesi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A35DEE5-8CB6-4CEB-A010-9C818E55749E}"/>
              </a:ext>
            </a:extLst>
          </p:cNvPr>
          <p:cNvSpPr txBox="1"/>
          <p:nvPr/>
        </p:nvSpPr>
        <p:spPr>
          <a:xfrm rot="16200000">
            <a:off x="-499736" y="3275110"/>
            <a:ext cx="19369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400" b="1" dirty="0"/>
              <a:t>Sağlanacak Fayda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00000000-0008-0000-04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17428915"/>
              </p:ext>
            </p:extLst>
          </p:nvPr>
        </p:nvGraphicFramePr>
        <p:xfrm>
          <a:off x="653407" y="845575"/>
          <a:ext cx="10142412" cy="53389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57817654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F4FA17C-185C-488B-A8E1-60E0F727BF8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1"/>
            <a:r>
              <a:rPr lang="tr-TR" dirty="0"/>
              <a:t>Innocon Bilişim Sistemleri</a:t>
            </a:r>
            <a:endParaRPr lang="en-US" dirty="0"/>
          </a:p>
          <a:p>
            <a:pPr lvl="1"/>
            <a:endParaRPr lang="tr-TR" dirty="0"/>
          </a:p>
          <a:p>
            <a:pPr lvl="1"/>
            <a:r>
              <a:rPr lang="tr-TR" dirty="0"/>
              <a:t>T: +90 216 251 04 33</a:t>
            </a:r>
          </a:p>
          <a:p>
            <a:pPr lvl="1"/>
            <a:r>
              <a:rPr lang="tr-TR" dirty="0"/>
              <a:t>T: +90 216 970 17 38</a:t>
            </a:r>
          </a:p>
          <a:p>
            <a:pPr lvl="1"/>
            <a:r>
              <a:rPr lang="tr-TR" dirty="0"/>
              <a:t>E: eaygun@innocon.com.tr</a:t>
            </a:r>
          </a:p>
          <a:p>
            <a:pPr lvl="1"/>
            <a:endParaRPr lang="tr-TR" dirty="0"/>
          </a:p>
          <a:p>
            <a:pPr lvl="1"/>
            <a:endParaRPr lang="tr-TR" dirty="0"/>
          </a:p>
          <a:p>
            <a:pPr lvl="1"/>
            <a:r>
              <a:rPr lang="tr-TR" dirty="0">
                <a:hlinkClick r:id="rId2"/>
              </a:rPr>
              <a:t>www.innocon.com.tr</a:t>
            </a:r>
            <a:endParaRPr lang="tr-TR" dirty="0"/>
          </a:p>
          <a:p>
            <a:pPr lvl="1"/>
            <a:endParaRPr lang="tr-TR" dirty="0"/>
          </a:p>
          <a:p>
            <a:pPr lvl="1"/>
            <a:endParaRPr lang="tr-TR" dirty="0"/>
          </a:p>
          <a:p>
            <a:endParaRPr lang="tr-TR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C06852-CD70-4F0F-803C-72C2776719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3868" y="1377613"/>
            <a:ext cx="5326613" cy="923116"/>
          </a:xfrm>
        </p:spPr>
        <p:txBody>
          <a:bodyPr/>
          <a:lstStyle/>
          <a:p>
            <a:r>
              <a:rPr lang="tr-TR" sz="4400" dirty="0"/>
              <a:t>Teşekkürl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02343A2-9BC7-42DD-9C99-05EF232665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69906" y="1451503"/>
            <a:ext cx="4695825" cy="3409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00244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CF9D1ABD-890B-447C-8F97-340953EE83D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C57EDA-1B8D-4F13-B3C1-034A3BC59D6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3869" y="1439999"/>
            <a:ext cx="11182288" cy="968903"/>
          </a:xfrm>
        </p:spPr>
        <p:txBody>
          <a:bodyPr/>
          <a:lstStyle/>
          <a:p>
            <a:pPr defTabSz="457200"/>
            <a:r>
              <a:rPr lang="tr-TR" sz="2000" dirty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rPr>
              <a:t>Innocon tanıtım</a:t>
            </a:r>
          </a:p>
        </p:txBody>
      </p:sp>
    </p:spTree>
    <p:extLst>
      <p:ext uri="{BB962C8B-B14F-4D97-AF65-F5344CB8AC3E}">
        <p14:creationId xmlns:p14="http://schemas.microsoft.com/office/powerpoint/2010/main" val="4781414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feld 17"/>
          <p:cNvSpPr txBox="1"/>
          <p:nvPr/>
        </p:nvSpPr>
        <p:spPr>
          <a:xfrm>
            <a:off x="268329" y="554451"/>
            <a:ext cx="6403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tr-TR" sz="2000" dirty="0">
                <a:solidFill>
                  <a:schemeClr val="accent1"/>
                </a:solidFill>
                <a:latin typeface="Century Gothic" panose="020B0502020202020204" pitchFamily="34" charset="0"/>
              </a:rPr>
              <a:t>INNOCON kimdir</a:t>
            </a:r>
          </a:p>
        </p:txBody>
      </p:sp>
      <p:sp>
        <p:nvSpPr>
          <p:cNvPr id="13" name="Rechteck 12"/>
          <p:cNvSpPr/>
          <p:nvPr/>
        </p:nvSpPr>
        <p:spPr>
          <a:xfrm>
            <a:off x="256899" y="513340"/>
            <a:ext cx="22860" cy="4722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900" dirty="0"/>
          </a:p>
        </p:txBody>
      </p:sp>
      <p:sp>
        <p:nvSpPr>
          <p:cNvPr id="26" name="Textfeld 12">
            <a:extLst>
              <a:ext uri="{FF2B5EF4-FFF2-40B4-BE49-F238E27FC236}">
                <a16:creationId xmlns:a16="http://schemas.microsoft.com/office/drawing/2014/main" id="{6639D667-ED5D-B040-89C5-70E3F254DBEF}"/>
              </a:ext>
            </a:extLst>
          </p:cNvPr>
          <p:cNvSpPr txBox="1"/>
          <p:nvPr/>
        </p:nvSpPr>
        <p:spPr>
          <a:xfrm>
            <a:off x="1955743" y="1266869"/>
            <a:ext cx="6467964" cy="50013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228600" algn="just">
              <a:buClr>
                <a:srgbClr val="606060"/>
              </a:buClr>
              <a:buSzPct val="100000"/>
              <a:buFont typeface="Wingdings" pitchFamily="2" charset="2"/>
              <a:buChar char="§"/>
              <a:defRPr sz="2600">
                <a:solidFill>
                  <a:srgbClr val="606060"/>
                </a:solidFill>
                <a:latin typeface="+mn-lt"/>
                <a:ea typeface="+mn-ea"/>
                <a:cs typeface="+mn-cs"/>
                <a:sym typeface="Montserrat Regular"/>
              </a:defRPr>
            </a:pPr>
            <a:r>
              <a:rPr lang="tr-TR" sz="1100" dirty="0"/>
              <a:t>Çeyrek asırlık tecrübe</a:t>
            </a:r>
          </a:p>
          <a:p>
            <a:pPr indent="-228600" algn="just">
              <a:buClr>
                <a:srgbClr val="606060"/>
              </a:buClr>
              <a:buSzPct val="100000"/>
              <a:buFont typeface="Wingdings" pitchFamily="2" charset="2"/>
              <a:buChar char="§"/>
              <a:defRPr sz="2600">
                <a:solidFill>
                  <a:srgbClr val="606060"/>
                </a:solidFill>
                <a:latin typeface="+mn-lt"/>
                <a:ea typeface="+mn-ea"/>
                <a:cs typeface="+mn-cs"/>
                <a:sym typeface="Montserrat Regular"/>
              </a:defRPr>
            </a:pPr>
            <a:endParaRPr lang="tr-TR" sz="1100" dirty="0"/>
          </a:p>
          <a:p>
            <a:pPr indent="-228600" algn="just">
              <a:buClr>
                <a:srgbClr val="606060"/>
              </a:buClr>
              <a:buSzPct val="100000"/>
              <a:buFont typeface="Wingdings" pitchFamily="2" charset="2"/>
              <a:buChar char="§"/>
              <a:defRPr sz="2600">
                <a:solidFill>
                  <a:srgbClr val="606060"/>
                </a:solidFill>
                <a:latin typeface="+mn-lt"/>
                <a:ea typeface="+mn-ea"/>
                <a:cs typeface="+mn-cs"/>
                <a:sym typeface="Montserrat Regular"/>
              </a:defRPr>
            </a:pPr>
            <a:r>
              <a:rPr lang="tr-TR" sz="1100" dirty="0"/>
              <a:t>Danışmanlık sektöründe birçok farklı endüstride yurtiçi ve yurtdışı tecrübeleri</a:t>
            </a:r>
          </a:p>
          <a:p>
            <a:pPr lvl="1" indent="-228600" algn="just">
              <a:buClr>
                <a:srgbClr val="606060"/>
              </a:buClr>
              <a:buSzPct val="100000"/>
              <a:buFont typeface="Wingdings" pitchFamily="2" charset="2"/>
              <a:buChar char="§"/>
              <a:defRPr sz="2600">
                <a:solidFill>
                  <a:srgbClr val="606060"/>
                </a:solidFill>
                <a:latin typeface="+mn-lt"/>
                <a:ea typeface="+mn-ea"/>
                <a:cs typeface="+mn-cs"/>
                <a:sym typeface="Montserrat Regular"/>
              </a:defRPr>
            </a:pPr>
            <a:r>
              <a:rPr lang="tr-TR" sz="1100" dirty="0"/>
              <a:t>21 farklı sektör</a:t>
            </a:r>
          </a:p>
          <a:p>
            <a:pPr lvl="1" indent="-228600" algn="just">
              <a:buClr>
                <a:srgbClr val="606060"/>
              </a:buClr>
              <a:buSzPct val="100000"/>
              <a:buFont typeface="Wingdings" pitchFamily="2" charset="2"/>
              <a:buChar char="§"/>
              <a:defRPr sz="2600">
                <a:solidFill>
                  <a:srgbClr val="606060"/>
                </a:solidFill>
                <a:latin typeface="+mn-lt"/>
                <a:ea typeface="+mn-ea"/>
                <a:cs typeface="+mn-cs"/>
                <a:sym typeface="Montserrat Regular"/>
              </a:defRPr>
            </a:pPr>
            <a:r>
              <a:rPr lang="tr-TR" sz="1100" dirty="0"/>
              <a:t>70 farklı firma</a:t>
            </a:r>
          </a:p>
          <a:p>
            <a:pPr lvl="1" indent="-228600" algn="just">
              <a:buClr>
                <a:srgbClr val="606060"/>
              </a:buClr>
              <a:buSzPct val="100000"/>
              <a:buFont typeface="Wingdings" pitchFamily="2" charset="2"/>
              <a:buChar char="§"/>
              <a:defRPr sz="2600">
                <a:solidFill>
                  <a:srgbClr val="606060"/>
                </a:solidFill>
                <a:latin typeface="+mn-lt"/>
                <a:ea typeface="+mn-ea"/>
                <a:cs typeface="+mn-cs"/>
                <a:sym typeface="Montserrat Regular"/>
              </a:defRPr>
            </a:pPr>
            <a:r>
              <a:rPr lang="tr-TR" sz="1100" dirty="0"/>
              <a:t>83 farklı proje</a:t>
            </a:r>
          </a:p>
          <a:p>
            <a:pPr lvl="1" indent="-228600" algn="just">
              <a:buClr>
                <a:srgbClr val="606060"/>
              </a:buClr>
              <a:buSzPct val="100000"/>
              <a:buFont typeface="Wingdings" pitchFamily="2" charset="2"/>
              <a:buChar char="§"/>
              <a:defRPr sz="2600">
                <a:solidFill>
                  <a:srgbClr val="606060"/>
                </a:solidFill>
                <a:latin typeface="+mn-lt"/>
                <a:ea typeface="+mn-ea"/>
                <a:cs typeface="+mn-cs"/>
                <a:sym typeface="Montserrat Regular"/>
              </a:defRPr>
            </a:pPr>
            <a:r>
              <a:rPr lang="tr-TR" sz="1100" dirty="0"/>
              <a:t>25 projede program ve proje yöneticiliği</a:t>
            </a:r>
          </a:p>
          <a:p>
            <a:pPr lvl="1" indent="-228600" algn="just">
              <a:buClr>
                <a:srgbClr val="606060"/>
              </a:buClr>
              <a:buSzPct val="100000"/>
              <a:buFont typeface="Wingdings" pitchFamily="2" charset="2"/>
              <a:buChar char="§"/>
              <a:defRPr sz="2600">
                <a:solidFill>
                  <a:srgbClr val="606060"/>
                </a:solidFill>
                <a:latin typeface="+mn-lt"/>
                <a:ea typeface="+mn-ea"/>
                <a:cs typeface="+mn-cs"/>
                <a:sym typeface="Montserrat Regular"/>
              </a:defRPr>
            </a:pPr>
            <a:r>
              <a:rPr lang="tr-TR" sz="1100" dirty="0"/>
              <a:t>2 proje yöneticiliğinde SAP Türkiye tarafından verilen yılın en başarılı projesi ödülleri</a:t>
            </a:r>
          </a:p>
          <a:p>
            <a:pPr indent="-228600" algn="just">
              <a:buClr>
                <a:srgbClr val="606060"/>
              </a:buClr>
              <a:buSzPct val="100000"/>
              <a:buFont typeface="Wingdings" pitchFamily="2" charset="2"/>
              <a:buChar char="§"/>
              <a:defRPr sz="2600">
                <a:solidFill>
                  <a:srgbClr val="606060"/>
                </a:solidFill>
                <a:latin typeface="+mn-lt"/>
                <a:ea typeface="+mn-ea"/>
                <a:cs typeface="+mn-cs"/>
                <a:sym typeface="Montserrat Regular"/>
              </a:defRPr>
            </a:pPr>
            <a:endParaRPr lang="tr-TR" sz="1100" dirty="0"/>
          </a:p>
          <a:p>
            <a:pPr indent="-228600" algn="just">
              <a:buClr>
                <a:srgbClr val="606060"/>
              </a:buClr>
              <a:buSzPct val="100000"/>
              <a:buFont typeface="Wingdings" pitchFamily="2" charset="2"/>
              <a:buChar char="§"/>
              <a:defRPr sz="2600">
                <a:solidFill>
                  <a:srgbClr val="606060"/>
                </a:solidFill>
                <a:latin typeface="+mn-lt"/>
                <a:ea typeface="+mn-ea"/>
                <a:cs typeface="+mn-cs"/>
                <a:sym typeface="Montserrat Regular"/>
              </a:defRPr>
            </a:pPr>
            <a:endParaRPr lang="tr-TR" sz="1100" dirty="0"/>
          </a:p>
          <a:p>
            <a:pPr indent="-228600" algn="just">
              <a:buClr>
                <a:srgbClr val="606060"/>
              </a:buClr>
              <a:buSzPct val="100000"/>
              <a:buFont typeface="Wingdings" pitchFamily="2" charset="2"/>
              <a:buChar char="§"/>
              <a:defRPr sz="2600">
                <a:solidFill>
                  <a:srgbClr val="606060"/>
                </a:solidFill>
                <a:latin typeface="+mn-lt"/>
                <a:ea typeface="+mn-ea"/>
                <a:cs typeface="+mn-cs"/>
                <a:sym typeface="Montserrat Regular"/>
              </a:defRPr>
            </a:pPr>
            <a:r>
              <a:rPr lang="tr-TR" sz="1100" dirty="0"/>
              <a:t>Bilgi Teknolojileri alanında üst düzey yöneticilik</a:t>
            </a:r>
          </a:p>
          <a:p>
            <a:pPr indent="-228600" algn="just">
              <a:buClr>
                <a:srgbClr val="606060"/>
              </a:buClr>
              <a:buSzPct val="100000"/>
              <a:buFont typeface="Wingdings" pitchFamily="2" charset="2"/>
              <a:buChar char="§"/>
              <a:defRPr sz="2600">
                <a:solidFill>
                  <a:srgbClr val="606060"/>
                </a:solidFill>
                <a:latin typeface="+mn-lt"/>
                <a:ea typeface="+mn-ea"/>
                <a:cs typeface="+mn-cs"/>
                <a:sym typeface="Montserrat Regular"/>
              </a:defRPr>
            </a:pPr>
            <a:r>
              <a:rPr lang="tr-TR" sz="1100" dirty="0"/>
              <a:t>Tedarik Zinciri Yönetimi alanında üst düzey yöneticilik</a:t>
            </a:r>
          </a:p>
          <a:p>
            <a:pPr indent="-228600" algn="just">
              <a:buClr>
                <a:srgbClr val="606060"/>
              </a:buClr>
              <a:buSzPct val="100000"/>
              <a:buFont typeface="Wingdings" pitchFamily="2" charset="2"/>
              <a:buChar char="§"/>
              <a:defRPr sz="2600">
                <a:solidFill>
                  <a:srgbClr val="606060"/>
                </a:solidFill>
                <a:latin typeface="+mn-lt"/>
                <a:ea typeface="+mn-ea"/>
                <a:cs typeface="+mn-cs"/>
                <a:sym typeface="Montserrat Regular"/>
              </a:defRPr>
            </a:pPr>
            <a:endParaRPr lang="tr-TR" sz="1100" dirty="0"/>
          </a:p>
          <a:p>
            <a:pPr indent="-228600" algn="just">
              <a:buClr>
                <a:srgbClr val="606060"/>
              </a:buClr>
              <a:buSzPct val="100000"/>
              <a:buFont typeface="Wingdings" pitchFamily="2" charset="2"/>
              <a:buChar char="§"/>
              <a:defRPr sz="2600">
                <a:solidFill>
                  <a:srgbClr val="606060"/>
                </a:solidFill>
                <a:latin typeface="+mn-lt"/>
                <a:ea typeface="+mn-ea"/>
                <a:cs typeface="+mn-cs"/>
                <a:sym typeface="Montserrat Regular"/>
              </a:defRPr>
            </a:pPr>
            <a:endParaRPr lang="tr-TR" sz="1100" dirty="0"/>
          </a:p>
          <a:p>
            <a:pPr indent="-228600" algn="just">
              <a:buClr>
                <a:srgbClr val="606060"/>
              </a:buClr>
              <a:buSzPct val="100000"/>
              <a:buFont typeface="Wingdings" pitchFamily="2" charset="2"/>
              <a:buChar char="§"/>
              <a:defRPr sz="2600">
                <a:solidFill>
                  <a:srgbClr val="606060"/>
                </a:solidFill>
                <a:latin typeface="+mn-lt"/>
                <a:ea typeface="+mn-ea"/>
                <a:cs typeface="+mn-cs"/>
                <a:sym typeface="Montserrat Regular"/>
              </a:defRPr>
            </a:pPr>
            <a:r>
              <a:rPr lang="tr-TR" sz="1100" dirty="0"/>
              <a:t>YDD Yönetim danışmanları derneği üyeliği</a:t>
            </a:r>
          </a:p>
          <a:p>
            <a:pPr indent="-228600" algn="just">
              <a:buClr>
                <a:srgbClr val="606060"/>
              </a:buClr>
              <a:buSzPct val="100000"/>
              <a:buFont typeface="Wingdings" pitchFamily="2" charset="2"/>
              <a:buChar char="§"/>
              <a:defRPr sz="2600">
                <a:solidFill>
                  <a:srgbClr val="606060"/>
                </a:solidFill>
                <a:latin typeface="+mn-lt"/>
                <a:ea typeface="+mn-ea"/>
                <a:cs typeface="+mn-cs"/>
                <a:sym typeface="Montserrat Regular"/>
              </a:defRPr>
            </a:pPr>
            <a:r>
              <a:rPr lang="tr-TR" sz="1100" dirty="0"/>
              <a:t>BİTEKDER Bilişim Teknolojileri Derneği üyeliği</a:t>
            </a:r>
          </a:p>
          <a:p>
            <a:pPr indent="-228600" algn="just">
              <a:buClr>
                <a:srgbClr val="606060"/>
              </a:buClr>
              <a:buSzPct val="100000"/>
              <a:buFont typeface="Wingdings" pitchFamily="2" charset="2"/>
              <a:buChar char="§"/>
              <a:defRPr sz="2600">
                <a:solidFill>
                  <a:srgbClr val="606060"/>
                </a:solidFill>
                <a:latin typeface="+mn-lt"/>
                <a:ea typeface="+mn-ea"/>
                <a:cs typeface="+mn-cs"/>
                <a:sym typeface="Montserrat Regular"/>
              </a:defRPr>
            </a:pPr>
            <a:r>
              <a:rPr lang="tr-TR" sz="1100" dirty="0"/>
              <a:t>LODER Lojistik derneği üyeliği</a:t>
            </a:r>
          </a:p>
          <a:p>
            <a:pPr indent="-228600" algn="just">
              <a:buClr>
                <a:srgbClr val="606060"/>
              </a:buClr>
              <a:buSzPct val="100000"/>
              <a:buFont typeface="Wingdings" pitchFamily="2" charset="2"/>
              <a:buChar char="§"/>
              <a:defRPr sz="2600">
                <a:solidFill>
                  <a:srgbClr val="606060"/>
                </a:solidFill>
                <a:latin typeface="+mn-lt"/>
                <a:ea typeface="+mn-ea"/>
                <a:cs typeface="+mn-cs"/>
                <a:sym typeface="Montserrat Regular"/>
              </a:defRPr>
            </a:pPr>
            <a:r>
              <a:rPr lang="tr-TR" sz="1100" dirty="0"/>
              <a:t>BAU Yüksek lisans </a:t>
            </a:r>
            <a:r>
              <a:rPr lang="tr-TR" sz="1100" dirty="0" err="1"/>
              <a:t>prog</a:t>
            </a:r>
            <a:r>
              <a:rPr lang="tr-TR" sz="1100" dirty="0"/>
              <a:t>. yarı zamanlı öğretim görevliliği</a:t>
            </a:r>
          </a:p>
          <a:p>
            <a:pPr indent="-228600" algn="just">
              <a:buClr>
                <a:srgbClr val="606060"/>
              </a:buClr>
              <a:buSzPct val="100000"/>
              <a:buFont typeface="Wingdings" pitchFamily="2" charset="2"/>
              <a:buChar char="§"/>
              <a:defRPr sz="2600">
                <a:solidFill>
                  <a:srgbClr val="606060"/>
                </a:solidFill>
                <a:latin typeface="+mn-lt"/>
                <a:ea typeface="+mn-ea"/>
                <a:cs typeface="+mn-cs"/>
                <a:sym typeface="Montserrat Regular"/>
              </a:defRPr>
            </a:pPr>
            <a:endParaRPr lang="tr-TR" sz="1100" dirty="0"/>
          </a:p>
          <a:p>
            <a:pPr indent="-228600" algn="just">
              <a:buClr>
                <a:srgbClr val="606060"/>
              </a:buClr>
              <a:buSzPct val="100000"/>
              <a:buFont typeface="Wingdings" pitchFamily="2" charset="2"/>
              <a:buChar char="§"/>
              <a:defRPr sz="2600">
                <a:solidFill>
                  <a:srgbClr val="606060"/>
                </a:solidFill>
                <a:latin typeface="+mn-lt"/>
                <a:ea typeface="+mn-ea"/>
                <a:cs typeface="+mn-cs"/>
                <a:sym typeface="Montserrat Regular"/>
              </a:defRPr>
            </a:pPr>
            <a:endParaRPr lang="tr-TR" sz="1100" dirty="0"/>
          </a:p>
          <a:p>
            <a:pPr indent="-228600" algn="just">
              <a:buClr>
                <a:srgbClr val="606060"/>
              </a:buClr>
              <a:buSzPct val="100000"/>
              <a:buFont typeface="Wingdings" pitchFamily="2" charset="2"/>
              <a:buChar char="§"/>
              <a:defRPr sz="2600">
                <a:solidFill>
                  <a:srgbClr val="606060"/>
                </a:solidFill>
                <a:latin typeface="+mn-lt"/>
                <a:ea typeface="+mn-ea"/>
                <a:cs typeface="+mn-cs"/>
                <a:sym typeface="Montserrat Regular"/>
              </a:defRPr>
            </a:pPr>
            <a:r>
              <a:rPr lang="tr-TR" sz="1100" dirty="0"/>
              <a:t>Endüstri 4.0 sertifikası</a:t>
            </a:r>
          </a:p>
          <a:p>
            <a:pPr indent="-228600" algn="just">
              <a:buClr>
                <a:srgbClr val="606060"/>
              </a:buClr>
              <a:buSzPct val="100000"/>
              <a:buFont typeface="Wingdings" pitchFamily="2" charset="2"/>
              <a:buChar char="§"/>
              <a:defRPr sz="2600">
                <a:solidFill>
                  <a:srgbClr val="606060"/>
                </a:solidFill>
                <a:latin typeface="+mn-lt"/>
                <a:ea typeface="+mn-ea"/>
                <a:cs typeface="+mn-cs"/>
                <a:sym typeface="Montserrat Regular"/>
              </a:defRPr>
            </a:pPr>
            <a:r>
              <a:rPr lang="tr-TR" sz="1100" dirty="0"/>
              <a:t>SCOR (APICS-SUPPLY CHAIN ORG) eğitimi ve SCM sertifikası</a:t>
            </a:r>
          </a:p>
          <a:p>
            <a:pPr indent="-228600" algn="just">
              <a:buClr>
                <a:srgbClr val="606060"/>
              </a:buClr>
              <a:buSzPct val="100000"/>
              <a:buFont typeface="Wingdings" pitchFamily="2" charset="2"/>
              <a:buChar char="§"/>
              <a:defRPr sz="2600">
                <a:solidFill>
                  <a:srgbClr val="606060"/>
                </a:solidFill>
                <a:latin typeface="+mn-lt"/>
                <a:ea typeface="+mn-ea"/>
                <a:cs typeface="+mn-cs"/>
                <a:sym typeface="Montserrat Regular"/>
              </a:defRPr>
            </a:pPr>
            <a:r>
              <a:rPr lang="tr-TR" sz="1100" dirty="0" err="1"/>
              <a:t>Dale</a:t>
            </a:r>
            <a:r>
              <a:rPr lang="tr-TR" sz="1100" dirty="0"/>
              <a:t> Carnegie ve </a:t>
            </a:r>
            <a:r>
              <a:rPr lang="tr-TR" sz="1100" dirty="0" err="1"/>
              <a:t>Ken</a:t>
            </a:r>
            <a:r>
              <a:rPr lang="tr-TR" sz="1100" dirty="0"/>
              <a:t> </a:t>
            </a:r>
            <a:r>
              <a:rPr lang="tr-TR" sz="1100" dirty="0" err="1"/>
              <a:t>Blanchard</a:t>
            </a:r>
            <a:r>
              <a:rPr lang="tr-TR" sz="1100" dirty="0"/>
              <a:t> Liderlik okulu başarı sertifikaları</a:t>
            </a:r>
          </a:p>
          <a:p>
            <a:pPr indent="-228600" algn="just">
              <a:buClr>
                <a:srgbClr val="606060"/>
              </a:buClr>
              <a:buSzPct val="100000"/>
              <a:buFont typeface="Wingdings" pitchFamily="2" charset="2"/>
              <a:buChar char="§"/>
              <a:defRPr sz="2600">
                <a:solidFill>
                  <a:srgbClr val="606060"/>
                </a:solidFill>
                <a:latin typeface="+mn-lt"/>
                <a:ea typeface="+mn-ea"/>
                <a:cs typeface="+mn-cs"/>
                <a:sym typeface="Montserrat Regular"/>
              </a:defRPr>
            </a:pPr>
            <a:r>
              <a:rPr lang="tr-TR" sz="1100" dirty="0"/>
              <a:t>IT, SAP, Tedarik zinciri ve Kurumsal Yönetim alanında farklı sertifikalar ve ödüller</a:t>
            </a:r>
          </a:p>
          <a:p>
            <a:pPr indent="-228600" algn="just">
              <a:buClr>
                <a:srgbClr val="606060"/>
              </a:buClr>
              <a:buSzPct val="100000"/>
              <a:buFont typeface="Wingdings" pitchFamily="2" charset="2"/>
              <a:buChar char="§"/>
              <a:defRPr sz="2600">
                <a:solidFill>
                  <a:srgbClr val="606060"/>
                </a:solidFill>
                <a:latin typeface="+mn-lt"/>
                <a:ea typeface="+mn-ea"/>
                <a:cs typeface="+mn-cs"/>
                <a:sym typeface="Montserrat Regular"/>
              </a:defRPr>
            </a:pPr>
            <a:endParaRPr lang="tr-TR" sz="1100" dirty="0"/>
          </a:p>
          <a:p>
            <a:pPr indent="-228600" algn="just">
              <a:buClr>
                <a:srgbClr val="606060"/>
              </a:buClr>
              <a:buSzPct val="100000"/>
              <a:buFont typeface="Wingdings" pitchFamily="2" charset="2"/>
              <a:buChar char="§"/>
              <a:defRPr sz="2600">
                <a:solidFill>
                  <a:srgbClr val="606060"/>
                </a:solidFill>
                <a:latin typeface="+mn-lt"/>
                <a:ea typeface="+mn-ea"/>
                <a:cs typeface="+mn-cs"/>
                <a:sym typeface="Montserrat Regular"/>
              </a:defRPr>
            </a:pPr>
            <a:endParaRPr lang="tr-TR" sz="1100" dirty="0"/>
          </a:p>
          <a:p>
            <a:pPr indent="-228600" algn="just">
              <a:buClr>
                <a:srgbClr val="606060"/>
              </a:buClr>
              <a:buSzPct val="100000"/>
              <a:buFont typeface="Wingdings" pitchFamily="2" charset="2"/>
              <a:buChar char="§"/>
              <a:defRPr sz="2600">
                <a:solidFill>
                  <a:srgbClr val="606060"/>
                </a:solidFill>
                <a:latin typeface="+mn-lt"/>
                <a:ea typeface="+mn-ea"/>
                <a:cs typeface="+mn-cs"/>
                <a:sym typeface="Montserrat Regular"/>
              </a:defRPr>
            </a:pPr>
            <a:r>
              <a:rPr lang="tr-TR" sz="1100" dirty="0">
                <a:solidFill>
                  <a:srgbClr val="606060"/>
                </a:solidFill>
                <a:sym typeface="Montserrat Regular"/>
              </a:rPr>
              <a:t>Sizinle keşfeden değil, size ne katacağını bilerek gelen; doğrudan saha tecrübesi olmuş, dijital dönüşüm yolculuğunuz esnasında sadece ne yapılması gerektiğini söyleyip çekilen değil, her adımda yanınızda olacak ve sorumluluk alacak, iş bitirici nitelikte danışmanlık</a:t>
            </a:r>
            <a:endParaRPr lang="en-US" sz="1100" dirty="0"/>
          </a:p>
        </p:txBody>
      </p:sp>
      <p:sp>
        <p:nvSpPr>
          <p:cNvPr id="33" name="Rechteck 35">
            <a:extLst>
              <a:ext uri="{FF2B5EF4-FFF2-40B4-BE49-F238E27FC236}">
                <a16:creationId xmlns:a16="http://schemas.microsoft.com/office/drawing/2014/main" id="{16A746BA-B552-2B4C-858F-5C3E76FDAEB6}"/>
              </a:ext>
            </a:extLst>
          </p:cNvPr>
          <p:cNvSpPr/>
          <p:nvPr/>
        </p:nvSpPr>
        <p:spPr>
          <a:xfrm>
            <a:off x="4064465" y="0"/>
            <a:ext cx="2014519" cy="20371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800" dirty="0">
              <a:solidFill>
                <a:schemeClr val="bg1"/>
              </a:solidFill>
            </a:endParaRPr>
          </a:p>
        </p:txBody>
      </p:sp>
      <p:sp>
        <p:nvSpPr>
          <p:cNvPr id="34" name="Rechteck 36">
            <a:extLst>
              <a:ext uri="{FF2B5EF4-FFF2-40B4-BE49-F238E27FC236}">
                <a16:creationId xmlns:a16="http://schemas.microsoft.com/office/drawing/2014/main" id="{A0A26ADE-BF02-DC4F-8E4B-7D4FD671CC8D}"/>
              </a:ext>
            </a:extLst>
          </p:cNvPr>
          <p:cNvSpPr/>
          <p:nvPr/>
        </p:nvSpPr>
        <p:spPr>
          <a:xfrm>
            <a:off x="6095903" y="0"/>
            <a:ext cx="2014519" cy="203719"/>
          </a:xfrm>
          <a:prstGeom prst="rect">
            <a:avLst/>
          </a:prstGeom>
          <a:solidFill>
            <a:schemeClr val="tx1">
              <a:lumMod val="75000"/>
              <a:lumOff val="2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200000"/>
              </a:lnSpc>
            </a:pPr>
            <a:endParaRPr lang="tr-TR" sz="800" dirty="0">
              <a:solidFill>
                <a:schemeClr val="bg1"/>
              </a:solidFill>
            </a:endParaRPr>
          </a:p>
          <a:p>
            <a:pPr algn="ctr">
              <a:lnSpc>
                <a:spcPct val="200000"/>
              </a:lnSpc>
            </a:pPr>
            <a:endParaRPr lang="tr-TR" sz="800" dirty="0">
              <a:solidFill>
                <a:schemeClr val="bg1"/>
              </a:solidFill>
            </a:endParaRPr>
          </a:p>
          <a:p>
            <a:pPr algn="ctr">
              <a:lnSpc>
                <a:spcPct val="250000"/>
              </a:lnSpc>
            </a:pPr>
            <a:r>
              <a:rPr lang="tr-TR" sz="800" dirty="0">
                <a:solidFill>
                  <a:schemeClr val="bg1"/>
                </a:solidFill>
              </a:rPr>
              <a:t>İŞ</a:t>
            </a:r>
            <a:endParaRPr lang="tr-TR" sz="3598" dirty="0">
              <a:solidFill>
                <a:schemeClr val="bg1"/>
              </a:solidFill>
            </a:endParaRPr>
          </a:p>
        </p:txBody>
      </p:sp>
      <p:sp>
        <p:nvSpPr>
          <p:cNvPr id="41" name="Rechteck 37">
            <a:extLst>
              <a:ext uri="{FF2B5EF4-FFF2-40B4-BE49-F238E27FC236}">
                <a16:creationId xmlns:a16="http://schemas.microsoft.com/office/drawing/2014/main" id="{BC420B4E-4E7A-CB45-A658-2DAE0F7E12A3}"/>
              </a:ext>
            </a:extLst>
          </p:cNvPr>
          <p:cNvSpPr/>
          <p:nvPr/>
        </p:nvSpPr>
        <p:spPr>
          <a:xfrm>
            <a:off x="8127340" y="0"/>
            <a:ext cx="2014519" cy="203719"/>
          </a:xfrm>
          <a:prstGeom prst="rect">
            <a:avLst/>
          </a:prstGeom>
          <a:solidFill>
            <a:schemeClr val="tx1">
              <a:lumMod val="75000"/>
              <a:lumOff val="2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200000"/>
              </a:lnSpc>
            </a:pPr>
            <a:endParaRPr lang="tr-TR" sz="800" dirty="0">
              <a:solidFill>
                <a:schemeClr val="bg1"/>
              </a:solidFill>
            </a:endParaRPr>
          </a:p>
          <a:p>
            <a:pPr algn="ctr">
              <a:lnSpc>
                <a:spcPct val="200000"/>
              </a:lnSpc>
            </a:pPr>
            <a:endParaRPr lang="tr-TR" sz="800" dirty="0">
              <a:solidFill>
                <a:schemeClr val="bg1"/>
              </a:solidFill>
            </a:endParaRPr>
          </a:p>
          <a:p>
            <a:pPr algn="ctr"/>
            <a:endParaRPr lang="tr-TR" sz="3598" dirty="0">
              <a:solidFill>
                <a:schemeClr val="bg1"/>
              </a:solidFill>
            </a:endParaRPr>
          </a:p>
        </p:txBody>
      </p:sp>
      <p:sp>
        <p:nvSpPr>
          <p:cNvPr id="42" name="Rechteck 38">
            <a:extLst>
              <a:ext uri="{FF2B5EF4-FFF2-40B4-BE49-F238E27FC236}">
                <a16:creationId xmlns:a16="http://schemas.microsoft.com/office/drawing/2014/main" id="{FFFE9FA2-74C5-0549-AB75-A8D0827DFBF9}"/>
              </a:ext>
            </a:extLst>
          </p:cNvPr>
          <p:cNvSpPr/>
          <p:nvPr/>
        </p:nvSpPr>
        <p:spPr>
          <a:xfrm>
            <a:off x="10158776" y="0"/>
            <a:ext cx="2031636" cy="203719"/>
          </a:xfrm>
          <a:prstGeom prst="rect">
            <a:avLst/>
          </a:prstGeom>
          <a:solidFill>
            <a:schemeClr val="tx1">
              <a:lumMod val="75000"/>
              <a:lumOff val="2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200000"/>
              </a:lnSpc>
            </a:pPr>
            <a:endParaRPr lang="tr-TR" sz="800" dirty="0">
              <a:solidFill>
                <a:schemeClr val="bg1"/>
              </a:solidFill>
            </a:endParaRPr>
          </a:p>
          <a:p>
            <a:pPr algn="ctr">
              <a:lnSpc>
                <a:spcPct val="200000"/>
              </a:lnSpc>
            </a:pPr>
            <a:endParaRPr lang="tr-TR" sz="800" dirty="0">
              <a:solidFill>
                <a:schemeClr val="bg1"/>
              </a:solidFill>
            </a:endParaRPr>
          </a:p>
          <a:p>
            <a:pPr algn="ctr"/>
            <a:endParaRPr lang="tr-TR" sz="3598" dirty="0">
              <a:solidFill>
                <a:schemeClr val="bg1"/>
              </a:solidFill>
            </a:endParaRPr>
          </a:p>
        </p:txBody>
      </p:sp>
      <p:sp>
        <p:nvSpPr>
          <p:cNvPr id="43" name="Rechteck 36">
            <a:extLst>
              <a:ext uri="{FF2B5EF4-FFF2-40B4-BE49-F238E27FC236}">
                <a16:creationId xmlns:a16="http://schemas.microsoft.com/office/drawing/2014/main" id="{1CEFA6DE-9340-904E-A643-9E1E71CAB611}"/>
              </a:ext>
            </a:extLst>
          </p:cNvPr>
          <p:cNvSpPr/>
          <p:nvPr/>
        </p:nvSpPr>
        <p:spPr>
          <a:xfrm>
            <a:off x="2033025" y="-3080"/>
            <a:ext cx="2014519" cy="203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200000"/>
              </a:lnSpc>
            </a:pPr>
            <a:endParaRPr lang="tr-TR" sz="800" dirty="0">
              <a:solidFill>
                <a:schemeClr val="bg1"/>
              </a:solidFill>
            </a:endParaRPr>
          </a:p>
          <a:p>
            <a:pPr algn="ctr">
              <a:lnSpc>
                <a:spcPct val="200000"/>
              </a:lnSpc>
            </a:pPr>
            <a:endParaRPr lang="tr-TR" sz="800" dirty="0">
              <a:solidFill>
                <a:schemeClr val="bg1"/>
              </a:solidFill>
            </a:endParaRPr>
          </a:p>
          <a:p>
            <a:pPr algn="ctr">
              <a:lnSpc>
                <a:spcPct val="250000"/>
              </a:lnSpc>
            </a:pPr>
            <a:r>
              <a:rPr lang="tr-TR" sz="800" dirty="0">
                <a:solidFill>
                  <a:schemeClr val="bg1"/>
                </a:solidFill>
              </a:rPr>
              <a:t>INNOCON</a:t>
            </a:r>
          </a:p>
          <a:p>
            <a:pPr algn="ctr"/>
            <a:endParaRPr lang="tr-TR" sz="3598" dirty="0">
              <a:solidFill>
                <a:schemeClr val="bg1"/>
              </a:solidFill>
            </a:endParaRPr>
          </a:p>
        </p:txBody>
      </p:sp>
      <p:sp>
        <p:nvSpPr>
          <p:cNvPr id="44" name="Rechteck 34">
            <a:extLst>
              <a:ext uri="{FF2B5EF4-FFF2-40B4-BE49-F238E27FC236}">
                <a16:creationId xmlns:a16="http://schemas.microsoft.com/office/drawing/2014/main" id="{E7CF3D1C-D211-354B-B16C-482AF500C6F8}"/>
              </a:ext>
            </a:extLst>
          </p:cNvPr>
          <p:cNvSpPr/>
          <p:nvPr/>
        </p:nvSpPr>
        <p:spPr>
          <a:xfrm>
            <a:off x="1589" y="0"/>
            <a:ext cx="2014519" cy="20371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800" dirty="0">
              <a:solidFill>
                <a:schemeClr val="bg1"/>
              </a:solidFill>
            </a:endParaRPr>
          </a:p>
        </p:txBody>
      </p:sp>
      <p:grpSp>
        <p:nvGrpSpPr>
          <p:cNvPr id="17" name="Gruppieren 1">
            <a:extLst>
              <a:ext uri="{FF2B5EF4-FFF2-40B4-BE49-F238E27FC236}">
                <a16:creationId xmlns:a16="http://schemas.microsoft.com/office/drawing/2014/main" id="{929C8CB6-44DE-7843-BBFE-6205DEE3FF0C}"/>
              </a:ext>
            </a:extLst>
          </p:cNvPr>
          <p:cNvGrpSpPr/>
          <p:nvPr/>
        </p:nvGrpSpPr>
        <p:grpSpPr>
          <a:xfrm>
            <a:off x="8752551" y="1592515"/>
            <a:ext cx="2927555" cy="3690551"/>
            <a:chOff x="1439063" y="7540520"/>
            <a:chExt cx="5855109" cy="7381096"/>
          </a:xfrm>
        </p:grpSpPr>
        <p:sp>
          <p:nvSpPr>
            <p:cNvPr id="18" name="Textfeld 11">
              <a:extLst>
                <a:ext uri="{FF2B5EF4-FFF2-40B4-BE49-F238E27FC236}">
                  <a16:creationId xmlns:a16="http://schemas.microsoft.com/office/drawing/2014/main" id="{8C28944B-0A8F-DB42-AB85-134483B287C3}"/>
                </a:ext>
              </a:extLst>
            </p:cNvPr>
            <p:cNvSpPr txBox="1"/>
            <p:nvPr/>
          </p:nvSpPr>
          <p:spPr>
            <a:xfrm>
              <a:off x="1439063" y="13909033"/>
              <a:ext cx="5855109" cy="10125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tr-TR" sz="2000" dirty="0"/>
                <a:t>DANIŞMANLIK</a:t>
              </a:r>
              <a:endParaRPr lang="de-DE" sz="2000" dirty="0"/>
            </a:p>
          </p:txBody>
        </p:sp>
        <p:sp>
          <p:nvSpPr>
            <p:cNvPr id="19" name="Rechteck 14">
              <a:extLst>
                <a:ext uri="{FF2B5EF4-FFF2-40B4-BE49-F238E27FC236}">
                  <a16:creationId xmlns:a16="http://schemas.microsoft.com/office/drawing/2014/main" id="{D9B77D40-BA9D-694F-AD4A-50A7BEFDAB8E}"/>
                </a:ext>
              </a:extLst>
            </p:cNvPr>
            <p:cNvSpPr/>
            <p:nvPr/>
          </p:nvSpPr>
          <p:spPr>
            <a:xfrm>
              <a:off x="1686927" y="7540520"/>
              <a:ext cx="1167068" cy="11919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200000"/>
                </a:lnSpc>
              </a:pPr>
              <a:endParaRPr lang="de-DE" sz="2000">
                <a:solidFill>
                  <a:schemeClr val="bg1"/>
                </a:solidFill>
              </a:endParaRPr>
            </a:p>
            <a:p>
              <a:pPr algn="ctr">
                <a:lnSpc>
                  <a:spcPct val="200000"/>
                </a:lnSpc>
              </a:pPr>
              <a:endParaRPr lang="de-DE" sz="2000">
                <a:solidFill>
                  <a:schemeClr val="bg1"/>
                </a:solidFill>
              </a:endParaRPr>
            </a:p>
            <a:p>
              <a:pPr algn="ctr"/>
              <a:endParaRPr lang="de-DE" sz="2000">
                <a:solidFill>
                  <a:schemeClr val="bg1"/>
                </a:solidFill>
              </a:endParaRPr>
            </a:p>
          </p:txBody>
        </p:sp>
      </p:grpSp>
      <p:grpSp>
        <p:nvGrpSpPr>
          <p:cNvPr id="20" name="Gruppieren 2">
            <a:extLst>
              <a:ext uri="{FF2B5EF4-FFF2-40B4-BE49-F238E27FC236}">
                <a16:creationId xmlns:a16="http://schemas.microsoft.com/office/drawing/2014/main" id="{36A28513-3D00-DE4C-8AE0-721101CD4BF1}"/>
              </a:ext>
            </a:extLst>
          </p:cNvPr>
          <p:cNvGrpSpPr/>
          <p:nvPr/>
        </p:nvGrpSpPr>
        <p:grpSpPr>
          <a:xfrm>
            <a:off x="8774841" y="2739504"/>
            <a:ext cx="2927555" cy="875713"/>
            <a:chOff x="9460092" y="5908287"/>
            <a:chExt cx="5855110" cy="1751425"/>
          </a:xfrm>
        </p:grpSpPr>
        <p:sp>
          <p:nvSpPr>
            <p:cNvPr id="21" name="Textfeld 12">
              <a:extLst>
                <a:ext uri="{FF2B5EF4-FFF2-40B4-BE49-F238E27FC236}">
                  <a16:creationId xmlns:a16="http://schemas.microsoft.com/office/drawing/2014/main" id="{7CCC71D7-0E92-DA4E-87EE-2F310A62E051}"/>
                </a:ext>
              </a:extLst>
            </p:cNvPr>
            <p:cNvSpPr txBox="1"/>
            <p:nvPr/>
          </p:nvSpPr>
          <p:spPr>
            <a:xfrm>
              <a:off x="9460092" y="5908287"/>
              <a:ext cx="5855110" cy="10125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de-DE" sz="2000" dirty="0"/>
                <a:t>STRATE</a:t>
              </a:r>
              <a:r>
                <a:rPr lang="tr-TR" sz="2000" dirty="0"/>
                <a:t>Jİ</a:t>
              </a:r>
              <a:endParaRPr lang="de-DE" sz="2000" dirty="0"/>
            </a:p>
          </p:txBody>
        </p:sp>
        <p:sp>
          <p:nvSpPr>
            <p:cNvPr id="22" name="Rechteck 15">
              <a:extLst>
                <a:ext uri="{FF2B5EF4-FFF2-40B4-BE49-F238E27FC236}">
                  <a16:creationId xmlns:a16="http://schemas.microsoft.com/office/drawing/2014/main" id="{0F8D6C5A-BDD7-AF4F-90B9-2EA5BA628914}"/>
                </a:ext>
              </a:extLst>
            </p:cNvPr>
            <p:cNvSpPr/>
            <p:nvPr/>
          </p:nvSpPr>
          <p:spPr>
            <a:xfrm>
              <a:off x="9736064" y="7540520"/>
              <a:ext cx="1167068" cy="11919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200000"/>
                </a:lnSpc>
              </a:pPr>
              <a:endParaRPr lang="de-DE" sz="2000">
                <a:solidFill>
                  <a:schemeClr val="bg1"/>
                </a:solidFill>
              </a:endParaRPr>
            </a:p>
            <a:p>
              <a:pPr algn="ctr">
                <a:lnSpc>
                  <a:spcPct val="200000"/>
                </a:lnSpc>
              </a:pPr>
              <a:endParaRPr lang="de-DE" sz="2000">
                <a:solidFill>
                  <a:schemeClr val="bg1"/>
                </a:solidFill>
              </a:endParaRPr>
            </a:p>
            <a:p>
              <a:pPr algn="ctr"/>
              <a:endParaRPr lang="de-DE" sz="2000">
                <a:solidFill>
                  <a:schemeClr val="bg1"/>
                </a:solidFill>
              </a:endParaRPr>
            </a:p>
          </p:txBody>
        </p:sp>
      </p:grpSp>
      <p:grpSp>
        <p:nvGrpSpPr>
          <p:cNvPr id="23" name="Gruppieren 3">
            <a:extLst>
              <a:ext uri="{FF2B5EF4-FFF2-40B4-BE49-F238E27FC236}">
                <a16:creationId xmlns:a16="http://schemas.microsoft.com/office/drawing/2014/main" id="{6682B2F0-EE8C-8040-9C93-912687C9A6EE}"/>
              </a:ext>
            </a:extLst>
          </p:cNvPr>
          <p:cNvGrpSpPr/>
          <p:nvPr/>
        </p:nvGrpSpPr>
        <p:grpSpPr>
          <a:xfrm>
            <a:off x="8752716" y="1779790"/>
            <a:ext cx="2927555" cy="2896397"/>
            <a:chOff x="16914069" y="1866923"/>
            <a:chExt cx="5855110" cy="5792789"/>
          </a:xfrm>
        </p:grpSpPr>
        <p:sp>
          <p:nvSpPr>
            <p:cNvPr id="24" name="Textfeld 13">
              <a:extLst>
                <a:ext uri="{FF2B5EF4-FFF2-40B4-BE49-F238E27FC236}">
                  <a16:creationId xmlns:a16="http://schemas.microsoft.com/office/drawing/2014/main" id="{CB9EBBE4-49D4-8A49-A163-2215F8653052}"/>
                </a:ext>
              </a:extLst>
            </p:cNvPr>
            <p:cNvSpPr txBox="1"/>
            <p:nvPr/>
          </p:nvSpPr>
          <p:spPr>
            <a:xfrm>
              <a:off x="16914069" y="1866923"/>
              <a:ext cx="5855110" cy="10125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de-DE" sz="2000" dirty="0"/>
                <a:t>D</a:t>
              </a:r>
              <a:r>
                <a:rPr lang="tr-TR" sz="2000" dirty="0"/>
                <a:t>İJİ</a:t>
              </a:r>
              <a:r>
                <a:rPr lang="de-DE" sz="2000" dirty="0"/>
                <a:t>TAL</a:t>
              </a:r>
              <a:r>
                <a:rPr lang="tr-TR" sz="2000" dirty="0"/>
                <a:t> DÖNÜŞÜM</a:t>
              </a:r>
              <a:endParaRPr lang="de-DE" sz="2000" dirty="0"/>
            </a:p>
          </p:txBody>
        </p:sp>
        <p:sp>
          <p:nvSpPr>
            <p:cNvPr id="25" name="Rechteck 16">
              <a:extLst>
                <a:ext uri="{FF2B5EF4-FFF2-40B4-BE49-F238E27FC236}">
                  <a16:creationId xmlns:a16="http://schemas.microsoft.com/office/drawing/2014/main" id="{63C434E6-47F3-2B46-976C-8C9AA569E67C}"/>
                </a:ext>
              </a:extLst>
            </p:cNvPr>
            <p:cNvSpPr/>
            <p:nvPr/>
          </p:nvSpPr>
          <p:spPr>
            <a:xfrm>
              <a:off x="17322782" y="7540520"/>
              <a:ext cx="1167068" cy="11919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200000"/>
                </a:lnSpc>
              </a:pPr>
              <a:endParaRPr lang="de-DE" sz="2000">
                <a:solidFill>
                  <a:schemeClr val="bg1"/>
                </a:solidFill>
              </a:endParaRPr>
            </a:p>
            <a:p>
              <a:pPr algn="ctr">
                <a:lnSpc>
                  <a:spcPct val="200000"/>
                </a:lnSpc>
              </a:pPr>
              <a:endParaRPr lang="de-DE" sz="2000">
                <a:solidFill>
                  <a:schemeClr val="bg1"/>
                </a:solidFill>
              </a:endParaRPr>
            </a:p>
            <a:p>
              <a:pPr algn="ctr"/>
              <a:endParaRPr lang="de-DE" sz="2000">
                <a:solidFill>
                  <a:schemeClr val="bg1"/>
                </a:solidFill>
              </a:endParaRPr>
            </a:p>
          </p:txBody>
        </p:sp>
      </p:grpSp>
      <p:grpSp>
        <p:nvGrpSpPr>
          <p:cNvPr id="27" name="Gruppieren 2">
            <a:extLst>
              <a:ext uri="{FF2B5EF4-FFF2-40B4-BE49-F238E27FC236}">
                <a16:creationId xmlns:a16="http://schemas.microsoft.com/office/drawing/2014/main" id="{DF7FC848-3CAA-6A4F-84AD-D5108184FE57}"/>
              </a:ext>
            </a:extLst>
          </p:cNvPr>
          <p:cNvGrpSpPr/>
          <p:nvPr/>
        </p:nvGrpSpPr>
        <p:grpSpPr>
          <a:xfrm>
            <a:off x="8774841" y="2494653"/>
            <a:ext cx="2927555" cy="1879814"/>
            <a:chOff x="9518764" y="7540520"/>
            <a:chExt cx="5855110" cy="3759625"/>
          </a:xfrm>
        </p:grpSpPr>
        <p:sp>
          <p:nvSpPr>
            <p:cNvPr id="28" name="Textfeld 12">
              <a:extLst>
                <a:ext uri="{FF2B5EF4-FFF2-40B4-BE49-F238E27FC236}">
                  <a16:creationId xmlns:a16="http://schemas.microsoft.com/office/drawing/2014/main" id="{36A345D8-5387-7944-A145-B3DE47BE5CF1}"/>
                </a:ext>
              </a:extLst>
            </p:cNvPr>
            <p:cNvSpPr txBox="1"/>
            <p:nvPr/>
          </p:nvSpPr>
          <p:spPr>
            <a:xfrm>
              <a:off x="9518764" y="10287562"/>
              <a:ext cx="5855110" cy="10125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de-DE" sz="2000" dirty="0"/>
                <a:t>TE</a:t>
              </a:r>
              <a:r>
                <a:rPr lang="tr-TR" sz="2000" dirty="0"/>
                <a:t>KNOLOJİ</a:t>
              </a:r>
              <a:endParaRPr lang="de-DE" sz="2000" dirty="0"/>
            </a:p>
          </p:txBody>
        </p:sp>
        <p:sp>
          <p:nvSpPr>
            <p:cNvPr id="29" name="Rechteck 15">
              <a:extLst>
                <a:ext uri="{FF2B5EF4-FFF2-40B4-BE49-F238E27FC236}">
                  <a16:creationId xmlns:a16="http://schemas.microsoft.com/office/drawing/2014/main" id="{528A68C1-DD97-304B-834B-117EBF91034F}"/>
                </a:ext>
              </a:extLst>
            </p:cNvPr>
            <p:cNvSpPr/>
            <p:nvPr/>
          </p:nvSpPr>
          <p:spPr>
            <a:xfrm>
              <a:off x="9736064" y="7540520"/>
              <a:ext cx="1167068" cy="11919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200000"/>
                </a:lnSpc>
              </a:pPr>
              <a:endParaRPr lang="de-DE" sz="2000">
                <a:solidFill>
                  <a:schemeClr val="bg1"/>
                </a:solidFill>
              </a:endParaRPr>
            </a:p>
            <a:p>
              <a:pPr algn="ctr">
                <a:lnSpc>
                  <a:spcPct val="200000"/>
                </a:lnSpc>
              </a:pPr>
              <a:endParaRPr lang="de-DE" sz="2000">
                <a:solidFill>
                  <a:schemeClr val="bg1"/>
                </a:solidFill>
              </a:endParaRPr>
            </a:p>
            <a:p>
              <a:pPr algn="ctr"/>
              <a:endParaRPr lang="de-DE" sz="2000">
                <a:solidFill>
                  <a:schemeClr val="bg1"/>
                </a:solidFill>
              </a:endParaRPr>
            </a:p>
          </p:txBody>
        </p:sp>
      </p:grpSp>
      <p:grpSp>
        <p:nvGrpSpPr>
          <p:cNvPr id="40" name="Group 4">
            <a:extLst>
              <a:ext uri="{FF2B5EF4-FFF2-40B4-BE49-F238E27FC236}">
                <a16:creationId xmlns:a16="http://schemas.microsoft.com/office/drawing/2014/main" id="{ED5158AA-A539-44E0-871E-444D95A298BC}"/>
              </a:ext>
            </a:extLst>
          </p:cNvPr>
          <p:cNvGrpSpPr>
            <a:grpSpLocks noChangeAspect="1"/>
          </p:cNvGrpSpPr>
          <p:nvPr/>
        </p:nvGrpSpPr>
        <p:grpSpPr bwMode="auto">
          <a:xfrm rot="911285">
            <a:off x="8417467" y="1750652"/>
            <a:ext cx="2786907" cy="3609937"/>
            <a:chOff x="3286" y="947"/>
            <a:chExt cx="5428" cy="7031"/>
          </a:xfrm>
        </p:grpSpPr>
        <p:sp>
          <p:nvSpPr>
            <p:cNvPr id="45" name="AutoShape 3">
              <a:extLst>
                <a:ext uri="{FF2B5EF4-FFF2-40B4-BE49-F238E27FC236}">
                  <a16:creationId xmlns:a16="http://schemas.microsoft.com/office/drawing/2014/main" id="{DDC64348-6A88-4B58-8302-586B78656E6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286" y="947"/>
              <a:ext cx="5428" cy="70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de-DE" sz="900"/>
            </a:p>
          </p:txBody>
        </p:sp>
        <p:sp>
          <p:nvSpPr>
            <p:cNvPr id="46" name="Freeform 5">
              <a:extLst>
                <a:ext uri="{FF2B5EF4-FFF2-40B4-BE49-F238E27FC236}">
                  <a16:creationId xmlns:a16="http://schemas.microsoft.com/office/drawing/2014/main" id="{9463DC50-02EC-4970-8F64-DA41CE0F55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72" y="947"/>
              <a:ext cx="5451" cy="7036"/>
            </a:xfrm>
            <a:custGeom>
              <a:avLst/>
              <a:gdLst>
                <a:gd name="T0" fmla="*/ 672 w 1154"/>
                <a:gd name="T1" fmla="*/ 591 h 1492"/>
                <a:gd name="T2" fmla="*/ 832 w 1154"/>
                <a:gd name="T3" fmla="*/ 926 h 1492"/>
                <a:gd name="T4" fmla="*/ 1058 w 1154"/>
                <a:gd name="T5" fmla="*/ 1022 h 1492"/>
                <a:gd name="T6" fmla="*/ 553 w 1154"/>
                <a:gd name="T7" fmla="*/ 392 h 1492"/>
                <a:gd name="T8" fmla="*/ 129 w 1154"/>
                <a:gd name="T9" fmla="*/ 777 h 1492"/>
                <a:gd name="T10" fmla="*/ 124 w 1154"/>
                <a:gd name="T11" fmla="*/ 787 h 1492"/>
                <a:gd name="T12" fmla="*/ 923 w 1154"/>
                <a:gd name="T13" fmla="*/ 1094 h 1492"/>
                <a:gd name="T14" fmla="*/ 789 w 1154"/>
                <a:gd name="T15" fmla="*/ 1128 h 1492"/>
                <a:gd name="T16" fmla="*/ 960 w 1154"/>
                <a:gd name="T17" fmla="*/ 775 h 1492"/>
                <a:gd name="T18" fmla="*/ 483 w 1154"/>
                <a:gd name="T19" fmla="*/ 576 h 1492"/>
                <a:gd name="T20" fmla="*/ 119 w 1154"/>
                <a:gd name="T21" fmla="*/ 858 h 1492"/>
                <a:gd name="T22" fmla="*/ 382 w 1154"/>
                <a:gd name="T23" fmla="*/ 458 h 1492"/>
                <a:gd name="T24" fmla="*/ 200 w 1154"/>
                <a:gd name="T25" fmla="*/ 527 h 1492"/>
                <a:gd name="T26" fmla="*/ 884 w 1154"/>
                <a:gd name="T27" fmla="*/ 599 h 1492"/>
                <a:gd name="T28" fmla="*/ 611 w 1154"/>
                <a:gd name="T29" fmla="*/ 452 h 1492"/>
                <a:gd name="T30" fmla="*/ 528 w 1154"/>
                <a:gd name="T31" fmla="*/ 1036 h 1492"/>
                <a:gd name="T32" fmla="*/ 864 w 1154"/>
                <a:gd name="T33" fmla="*/ 664 h 1492"/>
                <a:gd name="T34" fmla="*/ 901 w 1154"/>
                <a:gd name="T35" fmla="*/ 682 h 1492"/>
                <a:gd name="T36" fmla="*/ 464 w 1154"/>
                <a:gd name="T37" fmla="*/ 204 h 1492"/>
                <a:gd name="T38" fmla="*/ 444 w 1154"/>
                <a:gd name="T39" fmla="*/ 1284 h 1492"/>
                <a:gd name="T40" fmla="*/ 697 w 1154"/>
                <a:gd name="T41" fmla="*/ 1273 h 1492"/>
                <a:gd name="T42" fmla="*/ 821 w 1154"/>
                <a:gd name="T43" fmla="*/ 1210 h 1492"/>
                <a:gd name="T44" fmla="*/ 679 w 1154"/>
                <a:gd name="T45" fmla="*/ 1254 h 1492"/>
                <a:gd name="T46" fmla="*/ 543 w 1154"/>
                <a:gd name="T47" fmla="*/ 1387 h 1492"/>
                <a:gd name="T48" fmla="*/ 578 w 1154"/>
                <a:gd name="T49" fmla="*/ 73 h 1492"/>
                <a:gd name="T50" fmla="*/ 159 w 1154"/>
                <a:gd name="T51" fmla="*/ 77 h 1492"/>
                <a:gd name="T52" fmla="*/ 921 w 1154"/>
                <a:gd name="T53" fmla="*/ 1274 h 1492"/>
                <a:gd name="T54" fmla="*/ 308 w 1154"/>
                <a:gd name="T55" fmla="*/ 1378 h 1492"/>
                <a:gd name="T56" fmla="*/ 631 w 1154"/>
                <a:gd name="T57" fmla="*/ 320 h 1492"/>
                <a:gd name="T58" fmla="*/ 844 w 1154"/>
                <a:gd name="T59" fmla="*/ 1140 h 1492"/>
                <a:gd name="T60" fmla="*/ 390 w 1154"/>
                <a:gd name="T61" fmla="*/ 282 h 1492"/>
                <a:gd name="T62" fmla="*/ 772 w 1154"/>
                <a:gd name="T63" fmla="*/ 778 h 1492"/>
                <a:gd name="T64" fmla="*/ 192 w 1154"/>
                <a:gd name="T65" fmla="*/ 828 h 1492"/>
                <a:gd name="T66" fmla="*/ 374 w 1154"/>
                <a:gd name="T67" fmla="*/ 1096 h 1492"/>
                <a:gd name="T68" fmla="*/ 191 w 1154"/>
                <a:gd name="T69" fmla="*/ 296 h 1492"/>
                <a:gd name="T70" fmla="*/ 325 w 1154"/>
                <a:gd name="T71" fmla="*/ 927 h 1492"/>
                <a:gd name="T72" fmla="*/ 233 w 1154"/>
                <a:gd name="T73" fmla="*/ 891 h 1492"/>
                <a:gd name="T74" fmla="*/ 141 w 1154"/>
                <a:gd name="T75" fmla="*/ 1076 h 1492"/>
                <a:gd name="T76" fmla="*/ 435 w 1154"/>
                <a:gd name="T77" fmla="*/ 1097 h 1492"/>
                <a:gd name="T78" fmla="*/ 253 w 1154"/>
                <a:gd name="T79" fmla="*/ 955 h 1492"/>
                <a:gd name="T80" fmla="*/ 1098 w 1154"/>
                <a:gd name="T81" fmla="*/ 806 h 1492"/>
                <a:gd name="T82" fmla="*/ 582 w 1154"/>
                <a:gd name="T83" fmla="*/ 542 h 1492"/>
                <a:gd name="T84" fmla="*/ 262 w 1154"/>
                <a:gd name="T85" fmla="*/ 641 h 1492"/>
                <a:gd name="T86" fmla="*/ 272 w 1154"/>
                <a:gd name="T87" fmla="*/ 687 h 1492"/>
                <a:gd name="T88" fmla="*/ 301 w 1154"/>
                <a:gd name="T89" fmla="*/ 1275 h 1492"/>
                <a:gd name="T90" fmla="*/ 301 w 1154"/>
                <a:gd name="T91" fmla="*/ 1316 h 1492"/>
                <a:gd name="T92" fmla="*/ 463 w 1154"/>
                <a:gd name="T93" fmla="*/ 1435 h 1492"/>
                <a:gd name="T94" fmla="*/ 1017 w 1154"/>
                <a:gd name="T95" fmla="*/ 1166 h 1492"/>
                <a:gd name="T96" fmla="*/ 627 w 1154"/>
                <a:gd name="T97" fmla="*/ 292 h 1492"/>
                <a:gd name="T98" fmla="*/ 511 w 1154"/>
                <a:gd name="T99" fmla="*/ 214 h 1492"/>
                <a:gd name="T100" fmla="*/ 524 w 1154"/>
                <a:gd name="T101" fmla="*/ 828 h 1492"/>
                <a:gd name="T102" fmla="*/ 482 w 1154"/>
                <a:gd name="T103" fmla="*/ 813 h 1492"/>
                <a:gd name="T104" fmla="*/ 766 w 1154"/>
                <a:gd name="T105" fmla="*/ 717 h 1492"/>
                <a:gd name="T106" fmla="*/ 450 w 1154"/>
                <a:gd name="T107" fmla="*/ 739 h 1492"/>
                <a:gd name="T108" fmla="*/ 850 w 1154"/>
                <a:gd name="T109" fmla="*/ 1065 h 1492"/>
                <a:gd name="T110" fmla="*/ 524 w 1154"/>
                <a:gd name="T111" fmla="*/ 713 h 1492"/>
                <a:gd name="T112" fmla="*/ 596 w 1154"/>
                <a:gd name="T113" fmla="*/ 670 h 1492"/>
                <a:gd name="T114" fmla="*/ 429 w 1154"/>
                <a:gd name="T115" fmla="*/ 502 h 1492"/>
                <a:gd name="T116" fmla="*/ 1039 w 1154"/>
                <a:gd name="T117" fmla="*/ 1000 h 1492"/>
                <a:gd name="T118" fmla="*/ 792 w 1154"/>
                <a:gd name="T119" fmla="*/ 398 h 1492"/>
                <a:gd name="T120" fmla="*/ 715 w 1154"/>
                <a:gd name="T121" fmla="*/ 989 h 1492"/>
                <a:gd name="T122" fmla="*/ 464 w 1154"/>
                <a:gd name="T123" fmla="*/ 1006 h 1492"/>
                <a:gd name="T124" fmla="*/ 123 w 1154"/>
                <a:gd name="T125" fmla="*/ 718 h 1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54" h="1492">
                  <a:moveTo>
                    <a:pt x="379" y="754"/>
                  </a:moveTo>
                  <a:moveTo>
                    <a:pt x="455" y="640"/>
                  </a:moveTo>
                  <a:moveTo>
                    <a:pt x="381" y="749"/>
                  </a:moveTo>
                  <a:moveTo>
                    <a:pt x="378" y="784"/>
                  </a:moveTo>
                  <a:moveTo>
                    <a:pt x="387" y="752"/>
                  </a:moveTo>
                  <a:moveTo>
                    <a:pt x="480" y="602"/>
                  </a:moveTo>
                  <a:moveTo>
                    <a:pt x="763" y="604"/>
                  </a:moveTo>
                  <a:moveTo>
                    <a:pt x="781" y="573"/>
                  </a:moveTo>
                  <a:moveTo>
                    <a:pt x="805" y="605"/>
                  </a:moveTo>
                  <a:moveTo>
                    <a:pt x="524" y="524"/>
                  </a:moveTo>
                  <a:moveTo>
                    <a:pt x="498" y="537"/>
                  </a:moveTo>
                  <a:moveTo>
                    <a:pt x="533" y="596"/>
                  </a:moveTo>
                  <a:moveTo>
                    <a:pt x="672" y="591"/>
                  </a:moveTo>
                  <a:moveTo>
                    <a:pt x="388" y="848"/>
                  </a:moveTo>
                  <a:moveTo>
                    <a:pt x="601" y="569"/>
                  </a:moveTo>
                  <a:moveTo>
                    <a:pt x="558" y="561"/>
                  </a:moveTo>
                  <a:moveTo>
                    <a:pt x="568" y="567"/>
                  </a:moveTo>
                  <a:moveTo>
                    <a:pt x="711" y="1070"/>
                  </a:moveTo>
                  <a:moveTo>
                    <a:pt x="720" y="1076"/>
                  </a:moveTo>
                  <a:moveTo>
                    <a:pt x="743" y="969"/>
                  </a:moveTo>
                  <a:moveTo>
                    <a:pt x="451" y="1032"/>
                  </a:moveTo>
                  <a:moveTo>
                    <a:pt x="846" y="924"/>
                  </a:moveTo>
                  <a:moveTo>
                    <a:pt x="992" y="951"/>
                  </a:moveTo>
                  <a:moveTo>
                    <a:pt x="1046" y="966"/>
                  </a:moveTo>
                  <a:moveTo>
                    <a:pt x="862" y="921"/>
                  </a:moveTo>
                  <a:moveTo>
                    <a:pt x="912" y="889"/>
                  </a:moveTo>
                  <a:moveTo>
                    <a:pt x="926" y="884"/>
                  </a:moveTo>
                  <a:moveTo>
                    <a:pt x="678" y="887"/>
                  </a:moveTo>
                  <a:moveTo>
                    <a:pt x="726" y="917"/>
                  </a:moveTo>
                  <a:moveTo>
                    <a:pt x="614" y="541"/>
                  </a:moveTo>
                  <a:moveTo>
                    <a:pt x="907" y="1101"/>
                  </a:moveTo>
                  <a:moveTo>
                    <a:pt x="622" y="1104"/>
                  </a:moveTo>
                  <a:moveTo>
                    <a:pt x="1135" y="913"/>
                  </a:moveTo>
                  <a:moveTo>
                    <a:pt x="1138" y="949"/>
                  </a:moveTo>
                  <a:moveTo>
                    <a:pt x="906" y="889"/>
                  </a:moveTo>
                  <a:moveTo>
                    <a:pt x="1076" y="1001"/>
                  </a:moveTo>
                  <a:moveTo>
                    <a:pt x="978" y="1038"/>
                  </a:moveTo>
                  <a:moveTo>
                    <a:pt x="1084" y="738"/>
                  </a:moveTo>
                  <a:moveTo>
                    <a:pt x="769" y="736"/>
                  </a:moveTo>
                  <a:moveTo>
                    <a:pt x="573" y="786"/>
                  </a:moveTo>
                  <a:moveTo>
                    <a:pt x="585" y="756"/>
                  </a:moveTo>
                  <a:moveTo>
                    <a:pt x="432" y="418"/>
                  </a:moveTo>
                  <a:moveTo>
                    <a:pt x="1094" y="747"/>
                  </a:moveTo>
                  <a:moveTo>
                    <a:pt x="850" y="419"/>
                  </a:moveTo>
                  <a:moveTo>
                    <a:pt x="409" y="399"/>
                  </a:moveTo>
                  <a:moveTo>
                    <a:pt x="461" y="386"/>
                  </a:moveTo>
                  <a:moveTo>
                    <a:pt x="492" y="386"/>
                  </a:moveTo>
                  <a:moveTo>
                    <a:pt x="534" y="384"/>
                  </a:moveTo>
                  <a:moveTo>
                    <a:pt x="653" y="862"/>
                  </a:moveTo>
                  <a:moveTo>
                    <a:pt x="626" y="750"/>
                  </a:moveTo>
                  <a:moveTo>
                    <a:pt x="755" y="1001"/>
                  </a:moveTo>
                  <a:moveTo>
                    <a:pt x="908" y="956"/>
                  </a:moveTo>
                  <a:moveTo>
                    <a:pt x="747" y="998"/>
                  </a:moveTo>
                  <a:moveTo>
                    <a:pt x="337" y="394"/>
                  </a:moveTo>
                  <a:moveTo>
                    <a:pt x="627" y="820"/>
                  </a:moveTo>
                  <a:moveTo>
                    <a:pt x="641" y="859"/>
                  </a:moveTo>
                  <a:moveTo>
                    <a:pt x="487" y="543"/>
                  </a:moveTo>
                  <a:moveTo>
                    <a:pt x="208" y="710"/>
                  </a:moveTo>
                  <a:moveTo>
                    <a:pt x="162" y="750"/>
                  </a:moveTo>
                  <a:moveTo>
                    <a:pt x="274" y="635"/>
                  </a:moveTo>
                  <a:moveTo>
                    <a:pt x="157" y="716"/>
                  </a:moveTo>
                  <a:moveTo>
                    <a:pt x="223" y="670"/>
                  </a:moveTo>
                  <a:moveTo>
                    <a:pt x="601" y="490"/>
                  </a:moveTo>
                  <a:moveTo>
                    <a:pt x="780" y="500"/>
                  </a:moveTo>
                  <a:moveTo>
                    <a:pt x="325" y="565"/>
                  </a:moveTo>
                  <a:moveTo>
                    <a:pt x="318" y="422"/>
                  </a:moveTo>
                  <a:moveTo>
                    <a:pt x="158" y="456"/>
                  </a:moveTo>
                  <a:moveTo>
                    <a:pt x="134" y="427"/>
                  </a:moveTo>
                  <a:moveTo>
                    <a:pt x="177" y="430"/>
                  </a:moveTo>
                  <a:moveTo>
                    <a:pt x="99" y="469"/>
                  </a:moveTo>
                  <a:moveTo>
                    <a:pt x="81" y="901"/>
                  </a:moveTo>
                  <a:moveTo>
                    <a:pt x="69" y="502"/>
                  </a:moveTo>
                  <a:moveTo>
                    <a:pt x="114" y="823"/>
                  </a:moveTo>
                  <a:moveTo>
                    <a:pt x="805" y="851"/>
                  </a:moveTo>
                  <a:moveTo>
                    <a:pt x="941" y="881"/>
                  </a:moveTo>
                  <a:moveTo>
                    <a:pt x="925" y="816"/>
                  </a:moveTo>
                  <a:moveTo>
                    <a:pt x="1009" y="884"/>
                  </a:moveTo>
                  <a:moveTo>
                    <a:pt x="1026" y="916"/>
                  </a:moveTo>
                  <a:moveTo>
                    <a:pt x="977" y="895"/>
                  </a:moveTo>
                  <a:moveTo>
                    <a:pt x="770" y="818"/>
                  </a:moveTo>
                  <a:moveTo>
                    <a:pt x="944" y="821"/>
                  </a:moveTo>
                  <a:moveTo>
                    <a:pt x="837" y="809"/>
                  </a:moveTo>
                  <a:moveTo>
                    <a:pt x="868" y="815"/>
                  </a:moveTo>
                  <a:moveTo>
                    <a:pt x="737" y="857"/>
                  </a:moveTo>
                  <a:moveTo>
                    <a:pt x="857" y="878"/>
                  </a:moveTo>
                  <a:moveTo>
                    <a:pt x="1024" y="1064"/>
                  </a:moveTo>
                  <a:moveTo>
                    <a:pt x="951" y="1100"/>
                  </a:moveTo>
                  <a:moveTo>
                    <a:pt x="1033" y="1069"/>
                  </a:moveTo>
                  <a:moveTo>
                    <a:pt x="1107" y="1034"/>
                  </a:moveTo>
                  <a:moveTo>
                    <a:pt x="1141" y="982"/>
                  </a:moveTo>
                  <a:moveTo>
                    <a:pt x="1116" y="1027"/>
                  </a:moveTo>
                  <a:moveTo>
                    <a:pt x="1099" y="998"/>
                  </a:moveTo>
                  <a:moveTo>
                    <a:pt x="923" y="1094"/>
                  </a:moveTo>
                  <a:moveTo>
                    <a:pt x="793" y="822"/>
                  </a:moveTo>
                  <a:moveTo>
                    <a:pt x="874" y="856"/>
                  </a:moveTo>
                  <a:moveTo>
                    <a:pt x="776" y="814"/>
                  </a:moveTo>
                  <a:moveTo>
                    <a:pt x="977" y="850"/>
                  </a:moveTo>
                  <a:moveTo>
                    <a:pt x="962" y="858"/>
                  </a:moveTo>
                  <a:moveTo>
                    <a:pt x="760" y="803"/>
                  </a:moveTo>
                  <a:moveTo>
                    <a:pt x="981" y="855"/>
                  </a:moveTo>
                  <a:moveTo>
                    <a:pt x="972" y="815"/>
                  </a:moveTo>
                  <a:moveTo>
                    <a:pt x="890" y="851"/>
                  </a:moveTo>
                  <a:moveTo>
                    <a:pt x="891" y="815"/>
                  </a:moveTo>
                  <a:moveTo>
                    <a:pt x="906" y="845"/>
                  </a:moveTo>
                  <a:moveTo>
                    <a:pt x="826" y="825"/>
                  </a:moveTo>
                  <a:moveTo>
                    <a:pt x="888" y="855"/>
                  </a:moveTo>
                  <a:moveTo>
                    <a:pt x="811" y="852"/>
                  </a:moveTo>
                  <a:moveTo>
                    <a:pt x="972" y="964"/>
                  </a:moveTo>
                  <a:moveTo>
                    <a:pt x="836" y="850"/>
                  </a:moveTo>
                  <a:moveTo>
                    <a:pt x="486" y="1061"/>
                  </a:moveTo>
                  <a:moveTo>
                    <a:pt x="706" y="1107"/>
                  </a:moveTo>
                  <a:moveTo>
                    <a:pt x="100" y="422"/>
                  </a:moveTo>
                  <a:moveTo>
                    <a:pt x="828" y="386"/>
                  </a:moveTo>
                  <a:moveTo>
                    <a:pt x="765" y="390"/>
                  </a:moveTo>
                  <a:moveTo>
                    <a:pt x="138" y="423"/>
                  </a:moveTo>
                  <a:moveTo>
                    <a:pt x="334" y="392"/>
                  </a:moveTo>
                  <a:moveTo>
                    <a:pt x="215" y="429"/>
                  </a:moveTo>
                  <a:moveTo>
                    <a:pt x="583" y="360"/>
                  </a:moveTo>
                  <a:moveTo>
                    <a:pt x="714" y="846"/>
                  </a:moveTo>
                  <a:moveTo>
                    <a:pt x="1093" y="755"/>
                  </a:moveTo>
                  <a:moveTo>
                    <a:pt x="1025" y="770"/>
                  </a:moveTo>
                  <a:moveTo>
                    <a:pt x="719" y="847"/>
                  </a:moveTo>
                  <a:moveTo>
                    <a:pt x="716" y="780"/>
                  </a:moveTo>
                  <a:moveTo>
                    <a:pt x="1003" y="770"/>
                  </a:moveTo>
                  <a:moveTo>
                    <a:pt x="705" y="791"/>
                  </a:moveTo>
                  <a:moveTo>
                    <a:pt x="819" y="780"/>
                  </a:moveTo>
                  <a:moveTo>
                    <a:pt x="721" y="380"/>
                  </a:moveTo>
                  <a:moveTo>
                    <a:pt x="517" y="364"/>
                  </a:moveTo>
                  <a:moveTo>
                    <a:pt x="349" y="821"/>
                  </a:moveTo>
                  <a:moveTo>
                    <a:pt x="375" y="722"/>
                  </a:moveTo>
                  <a:moveTo>
                    <a:pt x="429" y="565"/>
                  </a:moveTo>
                  <a:moveTo>
                    <a:pt x="476" y="579"/>
                  </a:moveTo>
                  <a:moveTo>
                    <a:pt x="397" y="649"/>
                  </a:moveTo>
                  <a:moveTo>
                    <a:pt x="462" y="1069"/>
                  </a:moveTo>
                  <a:moveTo>
                    <a:pt x="537" y="1106"/>
                  </a:moveTo>
                  <a:moveTo>
                    <a:pt x="659" y="827"/>
                  </a:moveTo>
                  <a:moveTo>
                    <a:pt x="498" y="503"/>
                  </a:moveTo>
                  <a:moveTo>
                    <a:pt x="432" y="533"/>
                  </a:moveTo>
                  <a:moveTo>
                    <a:pt x="156" y="828"/>
                  </a:moveTo>
                  <a:moveTo>
                    <a:pt x="121" y="849"/>
                  </a:moveTo>
                  <a:moveTo>
                    <a:pt x="155" y="824"/>
                  </a:moveTo>
                  <a:moveTo>
                    <a:pt x="135" y="813"/>
                  </a:moveTo>
                  <a:moveTo>
                    <a:pt x="137" y="827"/>
                  </a:moveTo>
                  <a:moveTo>
                    <a:pt x="379" y="603"/>
                  </a:moveTo>
                  <a:moveTo>
                    <a:pt x="27" y="462"/>
                  </a:moveTo>
                  <a:moveTo>
                    <a:pt x="213" y="745"/>
                  </a:moveTo>
                  <a:moveTo>
                    <a:pt x="228" y="720"/>
                  </a:moveTo>
                  <a:moveTo>
                    <a:pt x="86" y="635"/>
                  </a:moveTo>
                  <a:moveTo>
                    <a:pt x="892" y="461"/>
                  </a:moveTo>
                  <a:moveTo>
                    <a:pt x="1062" y="714"/>
                  </a:moveTo>
                  <a:moveTo>
                    <a:pt x="877" y="463"/>
                  </a:moveTo>
                  <a:moveTo>
                    <a:pt x="609" y="429"/>
                  </a:moveTo>
                  <a:moveTo>
                    <a:pt x="631" y="425"/>
                  </a:moveTo>
                  <a:moveTo>
                    <a:pt x="869" y="640"/>
                  </a:moveTo>
                  <a:moveTo>
                    <a:pt x="984" y="704"/>
                  </a:moveTo>
                  <a:moveTo>
                    <a:pt x="1043" y="715"/>
                  </a:moveTo>
                  <a:moveTo>
                    <a:pt x="1056" y="715"/>
                  </a:moveTo>
                  <a:moveTo>
                    <a:pt x="995" y="574"/>
                  </a:moveTo>
                  <a:moveTo>
                    <a:pt x="453" y="436"/>
                  </a:moveTo>
                  <a:moveTo>
                    <a:pt x="142" y="613"/>
                  </a:moveTo>
                  <a:moveTo>
                    <a:pt x="98" y="780"/>
                  </a:moveTo>
                  <a:moveTo>
                    <a:pt x="324" y="502"/>
                  </a:moveTo>
                  <a:moveTo>
                    <a:pt x="236" y="545"/>
                  </a:moveTo>
                  <a:moveTo>
                    <a:pt x="281" y="536"/>
                  </a:moveTo>
                  <a:moveTo>
                    <a:pt x="963" y="603"/>
                  </a:moveTo>
                  <a:moveTo>
                    <a:pt x="78" y="754"/>
                  </a:moveTo>
                  <a:moveTo>
                    <a:pt x="971" y="600"/>
                  </a:moveTo>
                  <a:moveTo>
                    <a:pt x="977" y="603"/>
                  </a:moveTo>
                  <a:moveTo>
                    <a:pt x="1012" y="604"/>
                  </a:moveTo>
                  <a:moveTo>
                    <a:pt x="934" y="529"/>
                  </a:moveTo>
                  <a:moveTo>
                    <a:pt x="1043" y="673"/>
                  </a:moveTo>
                  <a:moveTo>
                    <a:pt x="996" y="609"/>
                  </a:moveTo>
                  <a:moveTo>
                    <a:pt x="1027" y="676"/>
                  </a:moveTo>
                  <a:moveTo>
                    <a:pt x="927" y="528"/>
                  </a:moveTo>
                  <a:moveTo>
                    <a:pt x="950" y="592"/>
                  </a:moveTo>
                  <a:moveTo>
                    <a:pt x="945" y="565"/>
                  </a:moveTo>
                  <a:moveTo>
                    <a:pt x="999" y="663"/>
                  </a:moveTo>
                  <a:moveTo>
                    <a:pt x="891" y="468"/>
                  </a:moveTo>
                  <a:moveTo>
                    <a:pt x="886" y="646"/>
                  </a:moveTo>
                  <a:moveTo>
                    <a:pt x="946" y="539"/>
                  </a:moveTo>
                  <a:moveTo>
                    <a:pt x="933" y="535"/>
                  </a:moveTo>
                  <a:moveTo>
                    <a:pt x="148" y="678"/>
                  </a:moveTo>
                  <a:moveTo>
                    <a:pt x="156" y="537"/>
                  </a:moveTo>
                  <a:moveTo>
                    <a:pt x="64" y="810"/>
                  </a:moveTo>
                  <a:moveTo>
                    <a:pt x="104" y="686"/>
                  </a:moveTo>
                  <a:moveTo>
                    <a:pt x="122" y="645"/>
                  </a:moveTo>
                  <a:moveTo>
                    <a:pt x="128" y="565"/>
                  </a:moveTo>
                  <a:moveTo>
                    <a:pt x="230" y="494"/>
                  </a:moveTo>
                  <a:moveTo>
                    <a:pt x="200" y="527"/>
                  </a:moveTo>
                  <a:moveTo>
                    <a:pt x="193" y="529"/>
                  </a:moveTo>
                  <a:moveTo>
                    <a:pt x="270" y="501"/>
                  </a:moveTo>
                  <a:moveTo>
                    <a:pt x="69" y="600"/>
                  </a:moveTo>
                  <a:moveTo>
                    <a:pt x="68" y="601"/>
                  </a:moveTo>
                  <a:moveTo>
                    <a:pt x="84" y="652"/>
                  </a:moveTo>
                  <a:moveTo>
                    <a:pt x="137" y="565"/>
                  </a:moveTo>
                  <a:moveTo>
                    <a:pt x="106" y="600"/>
                  </a:moveTo>
                  <a:moveTo>
                    <a:pt x="71" y="607"/>
                  </a:moveTo>
                  <a:moveTo>
                    <a:pt x="795" y="853"/>
                  </a:moveTo>
                  <a:moveTo>
                    <a:pt x="126" y="576"/>
                  </a:moveTo>
                  <a:moveTo>
                    <a:pt x="185" y="495"/>
                  </a:moveTo>
                  <a:moveTo>
                    <a:pt x="145" y="492"/>
                  </a:moveTo>
                  <a:moveTo>
                    <a:pt x="243" y="527"/>
                  </a:moveTo>
                  <a:moveTo>
                    <a:pt x="159" y="575"/>
                  </a:moveTo>
                  <a:moveTo>
                    <a:pt x="167" y="467"/>
                  </a:moveTo>
                  <a:moveTo>
                    <a:pt x="62" y="788"/>
                  </a:moveTo>
                  <a:moveTo>
                    <a:pt x="161" y="531"/>
                  </a:moveTo>
                  <a:moveTo>
                    <a:pt x="13" y="535"/>
                  </a:moveTo>
                  <a:moveTo>
                    <a:pt x="37" y="679"/>
                  </a:moveTo>
                  <a:moveTo>
                    <a:pt x="94" y="564"/>
                  </a:moveTo>
                  <a:moveTo>
                    <a:pt x="137" y="508"/>
                  </a:moveTo>
                  <a:moveTo>
                    <a:pt x="26" y="630"/>
                  </a:moveTo>
                  <a:moveTo>
                    <a:pt x="51" y="647"/>
                  </a:moveTo>
                  <a:moveTo>
                    <a:pt x="109" y="742"/>
                  </a:moveTo>
                  <a:moveTo>
                    <a:pt x="127" y="641"/>
                  </a:moveTo>
                  <a:moveTo>
                    <a:pt x="92" y="717"/>
                  </a:moveTo>
                  <a:moveTo>
                    <a:pt x="415" y="501"/>
                  </a:moveTo>
                  <a:moveTo>
                    <a:pt x="808" y="629"/>
                  </a:moveTo>
                  <a:moveTo>
                    <a:pt x="883" y="601"/>
                  </a:moveTo>
                  <a:moveTo>
                    <a:pt x="806" y="530"/>
                  </a:moveTo>
                  <a:moveTo>
                    <a:pt x="647" y="492"/>
                  </a:moveTo>
                  <a:moveTo>
                    <a:pt x="632" y="491"/>
                  </a:moveTo>
                  <a:moveTo>
                    <a:pt x="562" y="605"/>
                  </a:moveTo>
                  <a:moveTo>
                    <a:pt x="553" y="604"/>
                  </a:moveTo>
                  <a:moveTo>
                    <a:pt x="230" y="603"/>
                  </a:moveTo>
                  <a:moveTo>
                    <a:pt x="731" y="634"/>
                  </a:moveTo>
                  <a:moveTo>
                    <a:pt x="654" y="613"/>
                  </a:moveTo>
                  <a:moveTo>
                    <a:pt x="439" y="472"/>
                  </a:moveTo>
                  <a:moveTo>
                    <a:pt x="366" y="507"/>
                  </a:moveTo>
                  <a:moveTo>
                    <a:pt x="655" y="500"/>
                  </a:moveTo>
                  <a:moveTo>
                    <a:pt x="259" y="604"/>
                  </a:moveTo>
                  <a:moveTo>
                    <a:pt x="1003" y="952"/>
                  </a:moveTo>
                  <a:moveTo>
                    <a:pt x="313" y="538"/>
                  </a:moveTo>
                  <a:moveTo>
                    <a:pt x="840" y="502"/>
                  </a:moveTo>
                  <a:moveTo>
                    <a:pt x="501" y="455"/>
                  </a:moveTo>
                  <a:moveTo>
                    <a:pt x="728" y="470"/>
                  </a:moveTo>
                  <a:moveTo>
                    <a:pt x="526" y="598"/>
                  </a:moveTo>
                  <a:moveTo>
                    <a:pt x="577" y="467"/>
                  </a:moveTo>
                  <a:moveTo>
                    <a:pt x="759" y="629"/>
                  </a:moveTo>
                  <a:moveTo>
                    <a:pt x="697" y="1045"/>
                  </a:moveTo>
                  <a:moveTo>
                    <a:pt x="997" y="993"/>
                  </a:moveTo>
                  <a:moveTo>
                    <a:pt x="986" y="999"/>
                  </a:moveTo>
                  <a:moveTo>
                    <a:pt x="642" y="1041"/>
                  </a:moveTo>
                  <a:moveTo>
                    <a:pt x="617" y="1034"/>
                  </a:moveTo>
                  <a:moveTo>
                    <a:pt x="1018" y="989"/>
                  </a:moveTo>
                  <a:moveTo>
                    <a:pt x="894" y="989"/>
                  </a:moveTo>
                  <a:moveTo>
                    <a:pt x="606" y="1059"/>
                  </a:moveTo>
                  <a:moveTo>
                    <a:pt x="956" y="988"/>
                  </a:moveTo>
                  <a:moveTo>
                    <a:pt x="517" y="603"/>
                  </a:moveTo>
                  <a:moveTo>
                    <a:pt x="394" y="714"/>
                  </a:moveTo>
                  <a:moveTo>
                    <a:pt x="534" y="1042"/>
                  </a:moveTo>
                  <a:moveTo>
                    <a:pt x="442" y="670"/>
                  </a:moveTo>
                  <a:moveTo>
                    <a:pt x="402" y="750"/>
                  </a:moveTo>
                  <a:moveTo>
                    <a:pt x="477" y="1033"/>
                  </a:moveTo>
                  <a:moveTo>
                    <a:pt x="438" y="718"/>
                  </a:moveTo>
                  <a:moveTo>
                    <a:pt x="406" y="931"/>
                  </a:moveTo>
                  <a:moveTo>
                    <a:pt x="867" y="559"/>
                  </a:moveTo>
                  <a:moveTo>
                    <a:pt x="936" y="563"/>
                  </a:moveTo>
                  <a:moveTo>
                    <a:pt x="927" y="503"/>
                  </a:moveTo>
                  <a:moveTo>
                    <a:pt x="778" y="457"/>
                  </a:moveTo>
                  <a:moveTo>
                    <a:pt x="1013" y="636"/>
                  </a:moveTo>
                  <a:moveTo>
                    <a:pt x="846" y="600"/>
                  </a:moveTo>
                  <a:moveTo>
                    <a:pt x="789" y="459"/>
                  </a:moveTo>
                  <a:moveTo>
                    <a:pt x="871" y="664"/>
                  </a:moveTo>
                  <a:moveTo>
                    <a:pt x="988" y="631"/>
                  </a:moveTo>
                  <a:moveTo>
                    <a:pt x="855" y="604"/>
                  </a:moveTo>
                  <a:moveTo>
                    <a:pt x="925" y="670"/>
                  </a:moveTo>
                  <a:moveTo>
                    <a:pt x="929" y="673"/>
                  </a:moveTo>
                  <a:moveTo>
                    <a:pt x="839" y="474"/>
                  </a:moveTo>
                  <a:moveTo>
                    <a:pt x="190" y="606"/>
                  </a:moveTo>
                  <a:moveTo>
                    <a:pt x="970" y="681"/>
                  </a:moveTo>
                  <a:moveTo>
                    <a:pt x="922" y="665"/>
                  </a:moveTo>
                  <a:moveTo>
                    <a:pt x="982" y="703"/>
                  </a:moveTo>
                  <a:moveTo>
                    <a:pt x="1003" y="664"/>
                  </a:moveTo>
                  <a:moveTo>
                    <a:pt x="16" y="581"/>
                  </a:moveTo>
                  <a:moveTo>
                    <a:pt x="265" y="463"/>
                  </a:moveTo>
                  <a:moveTo>
                    <a:pt x="41" y="532"/>
                  </a:moveTo>
                  <a:moveTo>
                    <a:pt x="173" y="460"/>
                  </a:moveTo>
                  <a:moveTo>
                    <a:pt x="70" y="851"/>
                  </a:moveTo>
                  <a:moveTo>
                    <a:pt x="185" y="613"/>
                  </a:moveTo>
                  <a:moveTo>
                    <a:pt x="909" y="682"/>
                  </a:moveTo>
                  <a:moveTo>
                    <a:pt x="72" y="851"/>
                  </a:moveTo>
                  <a:moveTo>
                    <a:pt x="95" y="788"/>
                  </a:moveTo>
                  <a:moveTo>
                    <a:pt x="552" y="427"/>
                  </a:moveTo>
                  <a:moveTo>
                    <a:pt x="766" y="459"/>
                  </a:moveTo>
                  <a:moveTo>
                    <a:pt x="676" y="434"/>
                  </a:moveTo>
                  <a:moveTo>
                    <a:pt x="522" y="422"/>
                  </a:moveTo>
                  <a:moveTo>
                    <a:pt x="332" y="457"/>
                  </a:moveTo>
                  <a:moveTo>
                    <a:pt x="293" y="491"/>
                  </a:moveTo>
                  <a:moveTo>
                    <a:pt x="414" y="422"/>
                  </a:moveTo>
                  <a:moveTo>
                    <a:pt x="270" y="459"/>
                  </a:moveTo>
                  <a:moveTo>
                    <a:pt x="737" y="1290"/>
                  </a:moveTo>
                  <a:moveTo>
                    <a:pt x="166" y="242"/>
                  </a:moveTo>
                  <a:moveTo>
                    <a:pt x="321" y="205"/>
                  </a:moveTo>
                  <a:moveTo>
                    <a:pt x="222" y="1267"/>
                  </a:moveTo>
                  <a:moveTo>
                    <a:pt x="109" y="278"/>
                  </a:moveTo>
                  <a:moveTo>
                    <a:pt x="262" y="1222"/>
                  </a:moveTo>
                  <a:moveTo>
                    <a:pt x="76" y="282"/>
                  </a:moveTo>
                  <a:moveTo>
                    <a:pt x="96" y="261"/>
                  </a:moveTo>
                  <a:moveTo>
                    <a:pt x="319" y="1289"/>
                  </a:moveTo>
                  <a:moveTo>
                    <a:pt x="279" y="1281"/>
                  </a:moveTo>
                  <a:moveTo>
                    <a:pt x="259" y="1313"/>
                  </a:moveTo>
                  <a:moveTo>
                    <a:pt x="1083" y="1144"/>
                  </a:moveTo>
                  <a:moveTo>
                    <a:pt x="913" y="1238"/>
                  </a:moveTo>
                  <a:moveTo>
                    <a:pt x="80" y="665"/>
                  </a:moveTo>
                  <a:moveTo>
                    <a:pt x="921" y="1211"/>
                  </a:moveTo>
                  <a:moveTo>
                    <a:pt x="1124" y="1106"/>
                  </a:moveTo>
                  <a:moveTo>
                    <a:pt x="1135" y="1126"/>
                  </a:moveTo>
                  <a:moveTo>
                    <a:pt x="665" y="211"/>
                  </a:moveTo>
                  <a:moveTo>
                    <a:pt x="458" y="1290"/>
                  </a:moveTo>
                  <a:moveTo>
                    <a:pt x="288" y="1329"/>
                  </a:moveTo>
                  <a:moveTo>
                    <a:pt x="276" y="1294"/>
                  </a:moveTo>
                  <a:moveTo>
                    <a:pt x="510" y="1265"/>
                  </a:moveTo>
                  <a:moveTo>
                    <a:pt x="596" y="1272"/>
                  </a:moveTo>
                  <a:moveTo>
                    <a:pt x="855" y="1246"/>
                  </a:moveTo>
                  <a:moveTo>
                    <a:pt x="379" y="145"/>
                  </a:moveTo>
                  <a:moveTo>
                    <a:pt x="114" y="248"/>
                  </a:moveTo>
                  <a:moveTo>
                    <a:pt x="427" y="1291"/>
                  </a:moveTo>
                  <a:moveTo>
                    <a:pt x="625" y="1317"/>
                  </a:moveTo>
                  <a:moveTo>
                    <a:pt x="529" y="1316"/>
                  </a:moveTo>
                  <a:moveTo>
                    <a:pt x="281" y="1240"/>
                  </a:moveTo>
                  <a:moveTo>
                    <a:pt x="898" y="1253"/>
                  </a:moveTo>
                  <a:moveTo>
                    <a:pt x="742" y="1275"/>
                  </a:moveTo>
                  <a:moveTo>
                    <a:pt x="207" y="1205"/>
                  </a:moveTo>
                  <a:moveTo>
                    <a:pt x="497" y="184"/>
                  </a:moveTo>
                  <a:moveTo>
                    <a:pt x="1146" y="1148"/>
                  </a:moveTo>
                  <a:moveTo>
                    <a:pt x="477" y="147"/>
                  </a:moveTo>
                  <a:moveTo>
                    <a:pt x="1131" y="1198"/>
                  </a:moveTo>
                  <a:moveTo>
                    <a:pt x="959" y="1216"/>
                  </a:moveTo>
                  <a:moveTo>
                    <a:pt x="1049" y="1142"/>
                  </a:moveTo>
                  <a:moveTo>
                    <a:pt x="721" y="215"/>
                  </a:moveTo>
                  <a:moveTo>
                    <a:pt x="1094" y="1105"/>
                  </a:moveTo>
                  <a:moveTo>
                    <a:pt x="958" y="1181"/>
                  </a:moveTo>
                  <a:moveTo>
                    <a:pt x="1132" y="1099"/>
                  </a:moveTo>
                  <a:moveTo>
                    <a:pt x="1125" y="1108"/>
                  </a:moveTo>
                  <a:moveTo>
                    <a:pt x="751" y="210"/>
                  </a:moveTo>
                  <a:moveTo>
                    <a:pt x="601" y="1238"/>
                  </a:moveTo>
                  <a:moveTo>
                    <a:pt x="720" y="1236"/>
                  </a:moveTo>
                  <a:moveTo>
                    <a:pt x="674" y="1236"/>
                  </a:moveTo>
                  <a:moveTo>
                    <a:pt x="972" y="1210"/>
                  </a:moveTo>
                  <a:moveTo>
                    <a:pt x="481" y="1211"/>
                  </a:moveTo>
                  <a:moveTo>
                    <a:pt x="397" y="1185"/>
                  </a:moveTo>
                  <a:moveTo>
                    <a:pt x="203" y="1169"/>
                  </a:moveTo>
                  <a:moveTo>
                    <a:pt x="742" y="1252"/>
                  </a:moveTo>
                  <a:moveTo>
                    <a:pt x="436" y="1203"/>
                  </a:moveTo>
                  <a:moveTo>
                    <a:pt x="420" y="1235"/>
                  </a:moveTo>
                  <a:moveTo>
                    <a:pt x="409" y="1210"/>
                  </a:moveTo>
                  <a:moveTo>
                    <a:pt x="306" y="1064"/>
                  </a:moveTo>
                  <a:moveTo>
                    <a:pt x="293" y="1284"/>
                  </a:moveTo>
                  <a:moveTo>
                    <a:pt x="269" y="1141"/>
                  </a:moveTo>
                  <a:moveTo>
                    <a:pt x="332" y="1286"/>
                  </a:moveTo>
                  <a:moveTo>
                    <a:pt x="257" y="1115"/>
                  </a:moveTo>
                  <a:moveTo>
                    <a:pt x="734" y="1254"/>
                  </a:moveTo>
                  <a:moveTo>
                    <a:pt x="653" y="1255"/>
                  </a:moveTo>
                  <a:moveTo>
                    <a:pt x="705" y="1254"/>
                  </a:moveTo>
                  <a:moveTo>
                    <a:pt x="669" y="1274"/>
                  </a:moveTo>
                  <a:moveTo>
                    <a:pt x="406" y="1244"/>
                  </a:moveTo>
                  <a:moveTo>
                    <a:pt x="150" y="287"/>
                  </a:moveTo>
                  <a:moveTo>
                    <a:pt x="229" y="1223"/>
                  </a:moveTo>
                  <a:moveTo>
                    <a:pt x="526" y="214"/>
                  </a:moveTo>
                  <a:moveTo>
                    <a:pt x="613" y="256"/>
                  </a:moveTo>
                  <a:moveTo>
                    <a:pt x="500" y="216"/>
                  </a:moveTo>
                  <a:moveTo>
                    <a:pt x="31" y="316"/>
                  </a:moveTo>
                  <a:moveTo>
                    <a:pt x="107" y="281"/>
                  </a:moveTo>
                  <a:moveTo>
                    <a:pt x="680" y="238"/>
                  </a:moveTo>
                  <a:moveTo>
                    <a:pt x="929" y="1252"/>
                  </a:moveTo>
                  <a:moveTo>
                    <a:pt x="888" y="1273"/>
                  </a:moveTo>
                  <a:moveTo>
                    <a:pt x="549" y="1386"/>
                  </a:moveTo>
                  <a:moveTo>
                    <a:pt x="743" y="1359"/>
                  </a:moveTo>
                  <a:moveTo>
                    <a:pt x="780" y="1379"/>
                  </a:moveTo>
                  <a:moveTo>
                    <a:pt x="129" y="108"/>
                  </a:moveTo>
                  <a:moveTo>
                    <a:pt x="122" y="117"/>
                  </a:moveTo>
                  <a:moveTo>
                    <a:pt x="402" y="1381"/>
                  </a:moveTo>
                  <a:moveTo>
                    <a:pt x="600" y="1359"/>
                  </a:moveTo>
                  <a:moveTo>
                    <a:pt x="706" y="1388"/>
                  </a:moveTo>
                  <a:moveTo>
                    <a:pt x="819" y="1360"/>
                  </a:moveTo>
                  <a:moveTo>
                    <a:pt x="720" y="1386"/>
                  </a:moveTo>
                  <a:moveTo>
                    <a:pt x="490" y="73"/>
                  </a:moveTo>
                  <a:moveTo>
                    <a:pt x="848" y="1360"/>
                  </a:moveTo>
                  <a:moveTo>
                    <a:pt x="779" y="1349"/>
                  </a:moveTo>
                  <a:moveTo>
                    <a:pt x="829" y="1386"/>
                  </a:moveTo>
                  <a:moveTo>
                    <a:pt x="550" y="35"/>
                  </a:moveTo>
                  <a:moveTo>
                    <a:pt x="803" y="1325"/>
                  </a:moveTo>
                  <a:moveTo>
                    <a:pt x="720" y="1345"/>
                  </a:moveTo>
                  <a:moveTo>
                    <a:pt x="793" y="1325"/>
                  </a:moveTo>
                  <a:moveTo>
                    <a:pt x="611" y="78"/>
                  </a:moveTo>
                  <a:moveTo>
                    <a:pt x="500" y="71"/>
                  </a:moveTo>
                  <a:moveTo>
                    <a:pt x="1043" y="1312"/>
                  </a:moveTo>
                  <a:moveTo>
                    <a:pt x="571" y="1426"/>
                  </a:moveTo>
                  <a:moveTo>
                    <a:pt x="567" y="1434"/>
                  </a:moveTo>
                  <a:moveTo>
                    <a:pt x="561" y="1412"/>
                  </a:moveTo>
                  <a:moveTo>
                    <a:pt x="436" y="1416"/>
                  </a:moveTo>
                  <a:moveTo>
                    <a:pt x="742" y="1396"/>
                  </a:moveTo>
                  <a:moveTo>
                    <a:pt x="720" y="1396"/>
                  </a:moveTo>
                  <a:moveTo>
                    <a:pt x="780" y="1406"/>
                  </a:moveTo>
                  <a:moveTo>
                    <a:pt x="780" y="1393"/>
                  </a:moveTo>
                  <a:moveTo>
                    <a:pt x="780" y="1425"/>
                  </a:moveTo>
                  <a:moveTo>
                    <a:pt x="875" y="1389"/>
                  </a:moveTo>
                  <a:moveTo>
                    <a:pt x="159" y="77"/>
                  </a:moveTo>
                  <a:moveTo>
                    <a:pt x="458" y="43"/>
                  </a:moveTo>
                  <a:moveTo>
                    <a:pt x="774" y="1455"/>
                  </a:moveTo>
                  <a:moveTo>
                    <a:pt x="778" y="1452"/>
                  </a:moveTo>
                  <a:moveTo>
                    <a:pt x="697" y="1314"/>
                  </a:moveTo>
                  <a:moveTo>
                    <a:pt x="779" y="1452"/>
                  </a:moveTo>
                  <a:moveTo>
                    <a:pt x="769" y="1464"/>
                  </a:moveTo>
                  <a:moveTo>
                    <a:pt x="266" y="30"/>
                  </a:moveTo>
                  <a:moveTo>
                    <a:pt x="444" y="26"/>
                  </a:moveTo>
                  <a:moveTo>
                    <a:pt x="462" y="28"/>
                  </a:moveTo>
                  <a:moveTo>
                    <a:pt x="500" y="28"/>
                  </a:moveTo>
                  <a:moveTo>
                    <a:pt x="242" y="21"/>
                  </a:moveTo>
                  <a:moveTo>
                    <a:pt x="795" y="1350"/>
                  </a:moveTo>
                  <a:moveTo>
                    <a:pt x="566" y="1323"/>
                  </a:moveTo>
                  <a:moveTo>
                    <a:pt x="392" y="1328"/>
                  </a:moveTo>
                  <a:moveTo>
                    <a:pt x="692" y="167"/>
                  </a:moveTo>
                  <a:moveTo>
                    <a:pt x="847" y="1289"/>
                  </a:moveTo>
                  <a:moveTo>
                    <a:pt x="693" y="1325"/>
                  </a:moveTo>
                  <a:moveTo>
                    <a:pt x="832" y="1317"/>
                  </a:moveTo>
                  <a:moveTo>
                    <a:pt x="645" y="135"/>
                  </a:moveTo>
                  <a:moveTo>
                    <a:pt x="654" y="1356"/>
                  </a:moveTo>
                  <a:moveTo>
                    <a:pt x="921" y="1274"/>
                  </a:moveTo>
                  <a:moveTo>
                    <a:pt x="1078" y="1203"/>
                  </a:moveTo>
                  <a:moveTo>
                    <a:pt x="765" y="1314"/>
                  </a:moveTo>
                  <a:moveTo>
                    <a:pt x="619" y="108"/>
                  </a:moveTo>
                  <a:moveTo>
                    <a:pt x="599" y="104"/>
                  </a:moveTo>
                  <a:moveTo>
                    <a:pt x="663" y="146"/>
                  </a:moveTo>
                  <a:moveTo>
                    <a:pt x="595" y="109"/>
                  </a:moveTo>
                  <a:moveTo>
                    <a:pt x="74" y="248"/>
                  </a:moveTo>
                  <a:moveTo>
                    <a:pt x="351" y="104"/>
                  </a:moveTo>
                  <a:moveTo>
                    <a:pt x="572" y="132"/>
                  </a:moveTo>
                  <a:moveTo>
                    <a:pt x="455" y="99"/>
                  </a:moveTo>
                  <a:moveTo>
                    <a:pt x="864" y="1324"/>
                  </a:moveTo>
                  <a:moveTo>
                    <a:pt x="378" y="1346"/>
                  </a:moveTo>
                  <a:moveTo>
                    <a:pt x="93" y="154"/>
                  </a:moveTo>
                  <a:moveTo>
                    <a:pt x="314" y="1382"/>
                  </a:moveTo>
                  <a:moveTo>
                    <a:pt x="464" y="73"/>
                  </a:moveTo>
                  <a:moveTo>
                    <a:pt x="873" y="1343"/>
                  </a:moveTo>
                  <a:moveTo>
                    <a:pt x="873" y="1352"/>
                  </a:moveTo>
                  <a:moveTo>
                    <a:pt x="922" y="1324"/>
                  </a:moveTo>
                  <a:moveTo>
                    <a:pt x="1032" y="1251"/>
                  </a:moveTo>
                  <a:moveTo>
                    <a:pt x="513" y="104"/>
                  </a:moveTo>
                  <a:moveTo>
                    <a:pt x="535" y="105"/>
                  </a:moveTo>
                  <a:moveTo>
                    <a:pt x="1102" y="1212"/>
                  </a:moveTo>
                  <a:moveTo>
                    <a:pt x="189" y="325"/>
                  </a:moveTo>
                  <a:moveTo>
                    <a:pt x="557" y="310"/>
                  </a:moveTo>
                  <a:moveTo>
                    <a:pt x="977" y="869"/>
                  </a:moveTo>
                  <a:moveTo>
                    <a:pt x="1054" y="820"/>
                  </a:moveTo>
                  <a:moveTo>
                    <a:pt x="1060" y="818"/>
                  </a:moveTo>
                  <a:moveTo>
                    <a:pt x="1089" y="844"/>
                  </a:moveTo>
                  <a:moveTo>
                    <a:pt x="1023" y="877"/>
                  </a:moveTo>
                  <a:moveTo>
                    <a:pt x="1083" y="806"/>
                  </a:moveTo>
                  <a:moveTo>
                    <a:pt x="684" y="327"/>
                  </a:moveTo>
                  <a:moveTo>
                    <a:pt x="1100" y="778"/>
                  </a:moveTo>
                  <a:moveTo>
                    <a:pt x="1092" y="787"/>
                  </a:moveTo>
                  <a:moveTo>
                    <a:pt x="1121" y="847"/>
                  </a:moveTo>
                  <a:moveTo>
                    <a:pt x="889" y="1127"/>
                  </a:moveTo>
                  <a:moveTo>
                    <a:pt x="934" y="1110"/>
                  </a:moveTo>
                  <a:moveTo>
                    <a:pt x="713" y="1133"/>
                  </a:moveTo>
                  <a:moveTo>
                    <a:pt x="750" y="1143"/>
                  </a:moveTo>
                  <a:moveTo>
                    <a:pt x="627" y="1130"/>
                  </a:moveTo>
                  <a:moveTo>
                    <a:pt x="988" y="1103"/>
                  </a:moveTo>
                  <a:moveTo>
                    <a:pt x="1143" y="1003"/>
                  </a:moveTo>
                  <a:moveTo>
                    <a:pt x="1092" y="1054"/>
                  </a:moveTo>
                  <a:moveTo>
                    <a:pt x="1029" y="1090"/>
                  </a:moveTo>
                  <a:moveTo>
                    <a:pt x="509" y="285"/>
                  </a:moveTo>
                  <a:moveTo>
                    <a:pt x="403" y="284"/>
                  </a:moveTo>
                  <a:moveTo>
                    <a:pt x="410" y="281"/>
                  </a:moveTo>
                  <a:moveTo>
                    <a:pt x="360" y="286"/>
                  </a:moveTo>
                  <a:moveTo>
                    <a:pt x="350" y="295"/>
                  </a:moveTo>
                  <a:moveTo>
                    <a:pt x="529" y="286"/>
                  </a:moveTo>
                  <a:moveTo>
                    <a:pt x="543" y="288"/>
                  </a:moveTo>
                  <a:moveTo>
                    <a:pt x="555" y="291"/>
                  </a:moveTo>
                  <a:moveTo>
                    <a:pt x="203" y="349"/>
                  </a:moveTo>
                  <a:moveTo>
                    <a:pt x="197" y="1223"/>
                  </a:moveTo>
                  <a:moveTo>
                    <a:pt x="668" y="789"/>
                  </a:moveTo>
                  <a:moveTo>
                    <a:pt x="727" y="780"/>
                  </a:moveTo>
                  <a:moveTo>
                    <a:pt x="188" y="350"/>
                  </a:moveTo>
                  <a:moveTo>
                    <a:pt x="399" y="281"/>
                  </a:moveTo>
                  <a:moveTo>
                    <a:pt x="462" y="285"/>
                  </a:moveTo>
                  <a:moveTo>
                    <a:pt x="593" y="1142"/>
                  </a:moveTo>
                  <a:moveTo>
                    <a:pt x="342" y="313"/>
                  </a:moveTo>
                  <a:moveTo>
                    <a:pt x="474" y="286"/>
                  </a:moveTo>
                  <a:moveTo>
                    <a:pt x="506" y="281"/>
                  </a:moveTo>
                  <a:moveTo>
                    <a:pt x="482" y="291"/>
                  </a:moveTo>
                  <a:moveTo>
                    <a:pt x="249" y="816"/>
                  </a:moveTo>
                  <a:moveTo>
                    <a:pt x="371" y="351"/>
                  </a:moveTo>
                  <a:moveTo>
                    <a:pt x="646" y="345"/>
                  </a:moveTo>
                  <a:moveTo>
                    <a:pt x="99" y="390"/>
                  </a:moveTo>
                  <a:moveTo>
                    <a:pt x="310" y="330"/>
                  </a:moveTo>
                  <a:moveTo>
                    <a:pt x="341" y="359"/>
                  </a:moveTo>
                  <a:moveTo>
                    <a:pt x="165" y="887"/>
                  </a:moveTo>
                  <a:moveTo>
                    <a:pt x="67" y="421"/>
                  </a:moveTo>
                  <a:moveTo>
                    <a:pt x="139" y="891"/>
                  </a:moveTo>
                  <a:moveTo>
                    <a:pt x="579" y="1134"/>
                  </a:moveTo>
                  <a:moveTo>
                    <a:pt x="201" y="385"/>
                  </a:moveTo>
                  <a:moveTo>
                    <a:pt x="899" y="788"/>
                  </a:moveTo>
                  <a:moveTo>
                    <a:pt x="772" y="778"/>
                  </a:moveTo>
                  <a:moveTo>
                    <a:pt x="1098" y="769"/>
                  </a:moveTo>
                  <a:moveTo>
                    <a:pt x="754" y="362"/>
                  </a:moveTo>
                  <a:moveTo>
                    <a:pt x="842" y="317"/>
                  </a:moveTo>
                  <a:moveTo>
                    <a:pt x="808" y="347"/>
                  </a:moveTo>
                  <a:moveTo>
                    <a:pt x="813" y="323"/>
                  </a:moveTo>
                  <a:moveTo>
                    <a:pt x="114" y="1002"/>
                  </a:moveTo>
                  <a:moveTo>
                    <a:pt x="394" y="1074"/>
                  </a:moveTo>
                  <a:moveTo>
                    <a:pt x="343" y="829"/>
                  </a:moveTo>
                  <a:moveTo>
                    <a:pt x="338" y="758"/>
                  </a:moveTo>
                  <a:moveTo>
                    <a:pt x="496" y="1107"/>
                  </a:moveTo>
                  <a:moveTo>
                    <a:pt x="442" y="1133"/>
                  </a:moveTo>
                  <a:moveTo>
                    <a:pt x="355" y="680"/>
                  </a:moveTo>
                  <a:moveTo>
                    <a:pt x="456" y="1138"/>
                  </a:moveTo>
                  <a:moveTo>
                    <a:pt x="227" y="813"/>
                  </a:moveTo>
                  <a:moveTo>
                    <a:pt x="237" y="778"/>
                  </a:moveTo>
                  <a:moveTo>
                    <a:pt x="235" y="787"/>
                  </a:moveTo>
                  <a:moveTo>
                    <a:pt x="216" y="854"/>
                  </a:moveTo>
                  <a:moveTo>
                    <a:pt x="192" y="828"/>
                  </a:moveTo>
                  <a:moveTo>
                    <a:pt x="101" y="385"/>
                  </a:moveTo>
                  <a:moveTo>
                    <a:pt x="301" y="652"/>
                  </a:moveTo>
                  <a:moveTo>
                    <a:pt x="326" y="616"/>
                  </a:moveTo>
                  <a:moveTo>
                    <a:pt x="355" y="640"/>
                  </a:moveTo>
                  <a:moveTo>
                    <a:pt x="156" y="921"/>
                  </a:moveTo>
                  <a:moveTo>
                    <a:pt x="377" y="326"/>
                  </a:moveTo>
                  <a:moveTo>
                    <a:pt x="695" y="1210"/>
                  </a:moveTo>
                  <a:moveTo>
                    <a:pt x="958" y="1181"/>
                  </a:moveTo>
                  <a:moveTo>
                    <a:pt x="751" y="1209"/>
                  </a:moveTo>
                  <a:moveTo>
                    <a:pt x="575" y="1212"/>
                  </a:moveTo>
                  <a:moveTo>
                    <a:pt x="937" y="1171"/>
                  </a:moveTo>
                  <a:moveTo>
                    <a:pt x="443" y="1167"/>
                  </a:moveTo>
                  <a:moveTo>
                    <a:pt x="874" y="1176"/>
                  </a:moveTo>
                  <a:moveTo>
                    <a:pt x="821" y="1209"/>
                  </a:moveTo>
                  <a:moveTo>
                    <a:pt x="602" y="1201"/>
                  </a:moveTo>
                  <a:moveTo>
                    <a:pt x="229" y="1005"/>
                  </a:moveTo>
                  <a:moveTo>
                    <a:pt x="348" y="1097"/>
                  </a:moveTo>
                  <a:moveTo>
                    <a:pt x="162" y="1029"/>
                  </a:moveTo>
                  <a:moveTo>
                    <a:pt x="230" y="990"/>
                  </a:moveTo>
                  <a:moveTo>
                    <a:pt x="267" y="1008"/>
                  </a:moveTo>
                  <a:moveTo>
                    <a:pt x="278" y="897"/>
                  </a:moveTo>
                  <a:moveTo>
                    <a:pt x="276" y="969"/>
                  </a:moveTo>
                  <a:moveTo>
                    <a:pt x="152" y="314"/>
                  </a:moveTo>
                  <a:moveTo>
                    <a:pt x="535" y="243"/>
                  </a:moveTo>
                  <a:moveTo>
                    <a:pt x="284" y="256"/>
                  </a:moveTo>
                  <a:moveTo>
                    <a:pt x="311" y="247"/>
                  </a:moveTo>
                  <a:moveTo>
                    <a:pt x="109" y="318"/>
                  </a:moveTo>
                  <a:moveTo>
                    <a:pt x="150" y="1131"/>
                  </a:moveTo>
                  <a:moveTo>
                    <a:pt x="1074" y="1098"/>
                  </a:moveTo>
                  <a:moveTo>
                    <a:pt x="186" y="1202"/>
                  </a:moveTo>
                  <a:moveTo>
                    <a:pt x="205" y="1176"/>
                  </a:moveTo>
                  <a:moveTo>
                    <a:pt x="56" y="327"/>
                  </a:moveTo>
                  <a:moveTo>
                    <a:pt x="1104" y="1102"/>
                  </a:moveTo>
                  <a:moveTo>
                    <a:pt x="1115" y="1063"/>
                  </a:moveTo>
                  <a:moveTo>
                    <a:pt x="1143" y="1057"/>
                  </a:moveTo>
                  <a:moveTo>
                    <a:pt x="573" y="275"/>
                  </a:moveTo>
                  <a:moveTo>
                    <a:pt x="140" y="1097"/>
                  </a:moveTo>
                  <a:moveTo>
                    <a:pt x="698" y="246"/>
                  </a:moveTo>
                  <a:moveTo>
                    <a:pt x="549" y="243"/>
                  </a:moveTo>
                  <a:moveTo>
                    <a:pt x="559" y="247"/>
                  </a:moveTo>
                  <a:moveTo>
                    <a:pt x="337" y="778"/>
                  </a:moveTo>
                  <a:moveTo>
                    <a:pt x="308" y="780"/>
                  </a:moveTo>
                  <a:moveTo>
                    <a:pt x="333" y="672"/>
                  </a:moveTo>
                  <a:moveTo>
                    <a:pt x="328" y="720"/>
                  </a:moveTo>
                  <a:moveTo>
                    <a:pt x="488" y="1171"/>
                  </a:moveTo>
                  <a:moveTo>
                    <a:pt x="1004" y="1126"/>
                  </a:moveTo>
                  <a:moveTo>
                    <a:pt x="766" y="1167"/>
                  </a:moveTo>
                  <a:moveTo>
                    <a:pt x="783" y="1166"/>
                  </a:moveTo>
                  <a:moveTo>
                    <a:pt x="96" y="329"/>
                  </a:moveTo>
                  <a:moveTo>
                    <a:pt x="1013" y="1142"/>
                  </a:moveTo>
                  <a:moveTo>
                    <a:pt x="189" y="854"/>
                  </a:moveTo>
                  <a:moveTo>
                    <a:pt x="128" y="1054"/>
                  </a:moveTo>
                  <a:moveTo>
                    <a:pt x="272" y="740"/>
                  </a:moveTo>
                  <a:moveTo>
                    <a:pt x="239" y="891"/>
                  </a:moveTo>
                  <a:moveTo>
                    <a:pt x="234" y="883"/>
                  </a:moveTo>
                  <a:moveTo>
                    <a:pt x="281" y="746"/>
                  </a:moveTo>
                  <a:moveTo>
                    <a:pt x="259" y="816"/>
                  </a:moveTo>
                  <a:moveTo>
                    <a:pt x="211" y="891"/>
                  </a:moveTo>
                  <a:moveTo>
                    <a:pt x="265" y="813"/>
                  </a:moveTo>
                  <a:moveTo>
                    <a:pt x="181" y="960"/>
                  </a:moveTo>
                  <a:moveTo>
                    <a:pt x="431" y="244"/>
                  </a:moveTo>
                  <a:moveTo>
                    <a:pt x="354" y="248"/>
                  </a:moveTo>
                  <a:moveTo>
                    <a:pt x="450" y="249"/>
                  </a:moveTo>
                  <a:moveTo>
                    <a:pt x="394" y="266"/>
                  </a:moveTo>
                  <a:moveTo>
                    <a:pt x="194" y="317"/>
                  </a:moveTo>
                  <a:moveTo>
                    <a:pt x="112" y="350"/>
                  </a:moveTo>
                  <a:moveTo>
                    <a:pt x="181" y="325"/>
                  </a:moveTo>
                  <a:moveTo>
                    <a:pt x="611" y="286"/>
                  </a:moveTo>
                  <a:moveTo>
                    <a:pt x="1147" y="1033"/>
                  </a:moveTo>
                  <a:moveTo>
                    <a:pt x="793" y="240"/>
                  </a:moveTo>
                  <a:moveTo>
                    <a:pt x="1032" y="1132"/>
                  </a:moveTo>
                  <a:moveTo>
                    <a:pt x="1030" y="1131"/>
                  </a:moveTo>
                  <a:moveTo>
                    <a:pt x="820" y="284"/>
                  </a:moveTo>
                  <a:moveTo>
                    <a:pt x="785" y="241"/>
                  </a:moveTo>
                  <a:moveTo>
                    <a:pt x="770" y="248"/>
                  </a:moveTo>
                  <a:moveTo>
                    <a:pt x="175" y="394"/>
                  </a:moveTo>
                  <a:moveTo>
                    <a:pt x="52" y="404"/>
                  </a:moveTo>
                  <a:moveTo>
                    <a:pt x="141" y="1076"/>
                  </a:moveTo>
                  <a:moveTo>
                    <a:pt x="53" y="398"/>
                  </a:moveTo>
                  <a:moveTo>
                    <a:pt x="8" y="409"/>
                  </a:moveTo>
                  <a:moveTo>
                    <a:pt x="541" y="1135"/>
                  </a:moveTo>
                  <a:moveTo>
                    <a:pt x="98" y="389"/>
                  </a:moveTo>
                  <a:moveTo>
                    <a:pt x="437" y="315"/>
                  </a:moveTo>
                  <a:moveTo>
                    <a:pt x="143" y="385"/>
                  </a:moveTo>
                  <a:moveTo>
                    <a:pt x="315" y="779"/>
                  </a:moveTo>
                  <a:moveTo>
                    <a:pt x="518" y="1166"/>
                  </a:moveTo>
                  <a:moveTo>
                    <a:pt x="444" y="322"/>
                  </a:moveTo>
                  <a:moveTo>
                    <a:pt x="427" y="1108"/>
                  </a:moveTo>
                  <a:moveTo>
                    <a:pt x="537" y="1140"/>
                  </a:moveTo>
                  <a:moveTo>
                    <a:pt x="344" y="655"/>
                  </a:moveTo>
                  <a:moveTo>
                    <a:pt x="333" y="710"/>
                  </a:moveTo>
                  <a:moveTo>
                    <a:pt x="299" y="645"/>
                  </a:moveTo>
                  <a:moveTo>
                    <a:pt x="216" y="886"/>
                  </a:moveTo>
                  <a:moveTo>
                    <a:pt x="55" y="391"/>
                  </a:moveTo>
                  <a:moveTo>
                    <a:pt x="351" y="936"/>
                  </a:moveTo>
                  <a:moveTo>
                    <a:pt x="852" y="1145"/>
                  </a:moveTo>
                  <a:moveTo>
                    <a:pt x="454" y="1106"/>
                  </a:moveTo>
                  <a:moveTo>
                    <a:pt x="552" y="310"/>
                  </a:moveTo>
                  <a:moveTo>
                    <a:pt x="480" y="1131"/>
                  </a:moveTo>
                  <a:moveTo>
                    <a:pt x="386" y="1053"/>
                  </a:moveTo>
                  <a:moveTo>
                    <a:pt x="348" y="899"/>
                  </a:moveTo>
                  <a:moveTo>
                    <a:pt x="389" y="1071"/>
                  </a:moveTo>
                  <a:moveTo>
                    <a:pt x="608" y="1143"/>
                  </a:moveTo>
                  <a:moveTo>
                    <a:pt x="1017" y="821"/>
                  </a:moveTo>
                  <a:moveTo>
                    <a:pt x="362" y="894"/>
                  </a:moveTo>
                  <a:moveTo>
                    <a:pt x="745" y="317"/>
                  </a:moveTo>
                  <a:moveTo>
                    <a:pt x="1006" y="821"/>
                  </a:moveTo>
                  <a:moveTo>
                    <a:pt x="1116" y="1035"/>
                  </a:moveTo>
                  <a:moveTo>
                    <a:pt x="1006" y="1073"/>
                  </a:moveTo>
                  <a:moveTo>
                    <a:pt x="1000" y="1091"/>
                  </a:moveTo>
                  <a:moveTo>
                    <a:pt x="859" y="1143"/>
                  </a:moveTo>
                  <a:moveTo>
                    <a:pt x="164" y="1027"/>
                  </a:moveTo>
                  <a:moveTo>
                    <a:pt x="190" y="1000"/>
                  </a:moveTo>
                  <a:moveTo>
                    <a:pt x="148" y="1068"/>
                  </a:moveTo>
                  <a:moveTo>
                    <a:pt x="254" y="961"/>
                  </a:moveTo>
                  <a:moveTo>
                    <a:pt x="208" y="930"/>
                  </a:moveTo>
                  <a:moveTo>
                    <a:pt x="916" y="1139"/>
                  </a:moveTo>
                  <a:moveTo>
                    <a:pt x="61" y="355"/>
                  </a:moveTo>
                  <a:moveTo>
                    <a:pt x="49" y="333"/>
                  </a:moveTo>
                  <a:moveTo>
                    <a:pt x="611" y="1204"/>
                  </a:moveTo>
                  <a:moveTo>
                    <a:pt x="601" y="1208"/>
                  </a:moveTo>
                  <a:moveTo>
                    <a:pt x="300" y="918"/>
                  </a:moveTo>
                  <a:moveTo>
                    <a:pt x="624" y="1214"/>
                  </a:moveTo>
                  <a:moveTo>
                    <a:pt x="615" y="1211"/>
                  </a:moveTo>
                  <a:moveTo>
                    <a:pt x="467" y="1185"/>
                  </a:moveTo>
                  <a:moveTo>
                    <a:pt x="71" y="386"/>
                  </a:moveTo>
                  <a:moveTo>
                    <a:pt x="553" y="1202"/>
                  </a:moveTo>
                  <a:moveTo>
                    <a:pt x="50" y="369"/>
                  </a:moveTo>
                  <a:moveTo>
                    <a:pt x="1050" y="1105"/>
                  </a:moveTo>
                  <a:moveTo>
                    <a:pt x="1052" y="1101"/>
                  </a:moveTo>
                  <a:moveTo>
                    <a:pt x="1081" y="1073"/>
                  </a:moveTo>
                  <a:moveTo>
                    <a:pt x="1117" y="830"/>
                  </a:moveTo>
                  <a:moveTo>
                    <a:pt x="1142" y="1022"/>
                  </a:moveTo>
                  <a:moveTo>
                    <a:pt x="945" y="1119"/>
                  </a:moveTo>
                  <a:moveTo>
                    <a:pt x="983" y="1126"/>
                  </a:moveTo>
                  <a:moveTo>
                    <a:pt x="962" y="1135"/>
                  </a:moveTo>
                  <a:moveTo>
                    <a:pt x="687" y="311"/>
                  </a:moveTo>
                  <a:moveTo>
                    <a:pt x="1108" y="794"/>
                  </a:moveTo>
                  <a:moveTo>
                    <a:pt x="561" y="293"/>
                  </a:moveTo>
                  <a:moveTo>
                    <a:pt x="256" y="289"/>
                  </a:moveTo>
                  <a:moveTo>
                    <a:pt x="158" y="349"/>
                  </a:moveTo>
                  <a:moveTo>
                    <a:pt x="1109" y="785"/>
                  </a:moveTo>
                  <a:moveTo>
                    <a:pt x="1058" y="805"/>
                  </a:moveTo>
                  <a:moveTo>
                    <a:pt x="733" y="316"/>
                  </a:moveTo>
                  <a:moveTo>
                    <a:pt x="703" y="313"/>
                  </a:moveTo>
                  <a:moveTo>
                    <a:pt x="145" y="421"/>
                  </a:moveTo>
                  <a:moveTo>
                    <a:pt x="363" y="849"/>
                  </a:moveTo>
                  <a:moveTo>
                    <a:pt x="379" y="781"/>
                  </a:moveTo>
                  <a:moveTo>
                    <a:pt x="332" y="598"/>
                  </a:moveTo>
                  <a:moveTo>
                    <a:pt x="567" y="1094"/>
                  </a:moveTo>
                  <a:moveTo>
                    <a:pt x="565" y="1101"/>
                  </a:moveTo>
                  <a:moveTo>
                    <a:pt x="741" y="560"/>
                  </a:moveTo>
                  <a:moveTo>
                    <a:pt x="393" y="680"/>
                  </a:moveTo>
                  <a:moveTo>
                    <a:pt x="379" y="706"/>
                  </a:moveTo>
                  <a:moveTo>
                    <a:pt x="369" y="848"/>
                  </a:moveTo>
                  <a:moveTo>
                    <a:pt x="705" y="1108"/>
                  </a:moveTo>
                  <a:moveTo>
                    <a:pt x="646" y="1076"/>
                  </a:moveTo>
                  <a:moveTo>
                    <a:pt x="641" y="1105"/>
                  </a:moveTo>
                  <a:moveTo>
                    <a:pt x="986" y="1069"/>
                  </a:moveTo>
                  <a:moveTo>
                    <a:pt x="641" y="1112"/>
                  </a:moveTo>
                  <a:moveTo>
                    <a:pt x="578" y="1108"/>
                  </a:moveTo>
                  <a:moveTo>
                    <a:pt x="590" y="1108"/>
                  </a:moveTo>
                  <a:moveTo>
                    <a:pt x="569" y="1103"/>
                  </a:moveTo>
                  <a:moveTo>
                    <a:pt x="97" y="436"/>
                  </a:moveTo>
                  <a:moveTo>
                    <a:pt x="1050" y="1037"/>
                  </a:moveTo>
                  <a:moveTo>
                    <a:pt x="328" y="611"/>
                  </a:moveTo>
                  <a:moveTo>
                    <a:pt x="135" y="435"/>
                  </a:moveTo>
                  <a:moveTo>
                    <a:pt x="77" y="457"/>
                  </a:moveTo>
                  <a:moveTo>
                    <a:pt x="184" y="428"/>
                  </a:moveTo>
                  <a:moveTo>
                    <a:pt x="218" y="401"/>
                  </a:moveTo>
                  <a:moveTo>
                    <a:pt x="189" y="420"/>
                  </a:moveTo>
                  <a:moveTo>
                    <a:pt x="43" y="493"/>
                  </a:moveTo>
                  <a:moveTo>
                    <a:pt x="93" y="432"/>
                  </a:moveTo>
                  <a:moveTo>
                    <a:pt x="267" y="637"/>
                  </a:moveTo>
                  <a:moveTo>
                    <a:pt x="203" y="723"/>
                  </a:moveTo>
                  <a:moveTo>
                    <a:pt x="293" y="610"/>
                  </a:moveTo>
                  <a:moveTo>
                    <a:pt x="8" y="493"/>
                  </a:moveTo>
                  <a:moveTo>
                    <a:pt x="95" y="947"/>
                  </a:moveTo>
                  <a:moveTo>
                    <a:pt x="195" y="748"/>
                  </a:moveTo>
                  <a:moveTo>
                    <a:pt x="170" y="735"/>
                  </a:moveTo>
                  <a:moveTo>
                    <a:pt x="1066" y="1034"/>
                  </a:moveTo>
                  <a:moveTo>
                    <a:pt x="781" y="349"/>
                  </a:moveTo>
                  <a:moveTo>
                    <a:pt x="908" y="789"/>
                  </a:moveTo>
                  <a:moveTo>
                    <a:pt x="1002" y="786"/>
                  </a:moveTo>
                  <a:moveTo>
                    <a:pt x="951" y="787"/>
                  </a:moveTo>
                  <a:moveTo>
                    <a:pt x="274" y="365"/>
                  </a:moveTo>
                  <a:moveTo>
                    <a:pt x="174" y="402"/>
                  </a:moveTo>
                  <a:moveTo>
                    <a:pt x="271" y="367"/>
                  </a:moveTo>
                  <a:moveTo>
                    <a:pt x="781" y="325"/>
                  </a:moveTo>
                  <a:moveTo>
                    <a:pt x="1041" y="786"/>
                  </a:moveTo>
                  <a:moveTo>
                    <a:pt x="1029" y="782"/>
                  </a:moveTo>
                  <a:moveTo>
                    <a:pt x="642" y="1210"/>
                  </a:moveTo>
                  <a:moveTo>
                    <a:pt x="9" y="450"/>
                  </a:moveTo>
                  <a:moveTo>
                    <a:pt x="91" y="706"/>
                  </a:moveTo>
                  <a:moveTo>
                    <a:pt x="359" y="668"/>
                  </a:moveTo>
                  <a:moveTo>
                    <a:pt x="274" y="686"/>
                  </a:moveTo>
                  <a:moveTo>
                    <a:pt x="19" y="429"/>
                  </a:moveTo>
                  <a:moveTo>
                    <a:pt x="56" y="440"/>
                  </a:moveTo>
                  <a:moveTo>
                    <a:pt x="47" y="439"/>
                  </a:moveTo>
                  <a:moveTo>
                    <a:pt x="1001" y="924"/>
                  </a:moveTo>
                  <a:moveTo>
                    <a:pt x="1048" y="1061"/>
                  </a:moveTo>
                  <a:moveTo>
                    <a:pt x="1053" y="1055"/>
                  </a:moveTo>
                  <a:moveTo>
                    <a:pt x="863" y="781"/>
                  </a:moveTo>
                  <a:moveTo>
                    <a:pt x="1134" y="901"/>
                  </a:moveTo>
                  <a:moveTo>
                    <a:pt x="1048" y="1058"/>
                  </a:moveTo>
                  <a:moveTo>
                    <a:pt x="1052" y="1057"/>
                  </a:moveTo>
                  <a:moveTo>
                    <a:pt x="1129" y="880"/>
                  </a:moveTo>
                  <a:moveTo>
                    <a:pt x="1069" y="912"/>
                  </a:moveTo>
                  <a:moveTo>
                    <a:pt x="1025" y="1063"/>
                  </a:moveTo>
                  <a:moveTo>
                    <a:pt x="1096" y="1021"/>
                  </a:moveTo>
                  <a:moveTo>
                    <a:pt x="804" y="773"/>
                  </a:moveTo>
                  <a:moveTo>
                    <a:pt x="906" y="932"/>
                  </a:moveTo>
                  <a:moveTo>
                    <a:pt x="831" y="775"/>
                  </a:moveTo>
                  <a:moveTo>
                    <a:pt x="356" y="794"/>
                  </a:moveTo>
                  <a:moveTo>
                    <a:pt x="1121" y="861"/>
                  </a:moveTo>
                  <a:moveTo>
                    <a:pt x="918" y="949"/>
                  </a:moveTo>
                  <a:moveTo>
                    <a:pt x="926" y="931"/>
                  </a:moveTo>
                  <a:moveTo>
                    <a:pt x="354" y="1206"/>
                  </a:moveTo>
                  <a:moveTo>
                    <a:pt x="362" y="110"/>
                  </a:moveTo>
                  <a:moveTo>
                    <a:pt x="67" y="208"/>
                  </a:moveTo>
                  <a:moveTo>
                    <a:pt x="67" y="207"/>
                  </a:moveTo>
                  <a:moveTo>
                    <a:pt x="773" y="1351"/>
                  </a:moveTo>
                  <a:moveTo>
                    <a:pt x="680" y="1352"/>
                  </a:moveTo>
                  <a:moveTo>
                    <a:pt x="143" y="144"/>
                  </a:moveTo>
                  <a:moveTo>
                    <a:pt x="449" y="104"/>
                  </a:moveTo>
                  <a:moveTo>
                    <a:pt x="767" y="1214"/>
                  </a:moveTo>
                  <a:moveTo>
                    <a:pt x="610" y="105"/>
                  </a:moveTo>
                  <a:moveTo>
                    <a:pt x="807" y="1348"/>
                  </a:moveTo>
                  <a:moveTo>
                    <a:pt x="1011" y="1319"/>
                  </a:moveTo>
                  <a:moveTo>
                    <a:pt x="957" y="1378"/>
                  </a:moveTo>
                  <a:moveTo>
                    <a:pt x="1012" y="1340"/>
                  </a:moveTo>
                  <a:moveTo>
                    <a:pt x="1017" y="1310"/>
                  </a:moveTo>
                  <a:moveTo>
                    <a:pt x="850" y="1352"/>
                  </a:moveTo>
                  <a:moveTo>
                    <a:pt x="656" y="112"/>
                  </a:moveTo>
                  <a:moveTo>
                    <a:pt x="957" y="1357"/>
                  </a:moveTo>
                  <a:moveTo>
                    <a:pt x="1005" y="1341"/>
                  </a:moveTo>
                  <a:moveTo>
                    <a:pt x="594" y="134"/>
                  </a:moveTo>
                  <a:moveTo>
                    <a:pt x="867" y="1281"/>
                  </a:moveTo>
                  <a:moveTo>
                    <a:pt x="796" y="1282"/>
                  </a:moveTo>
                  <a:moveTo>
                    <a:pt x="838" y="1285"/>
                  </a:moveTo>
                  <a:moveTo>
                    <a:pt x="1126" y="1194"/>
                  </a:moveTo>
                  <a:moveTo>
                    <a:pt x="266" y="1289"/>
                  </a:moveTo>
                  <a:moveTo>
                    <a:pt x="294" y="1319"/>
                  </a:moveTo>
                  <a:moveTo>
                    <a:pt x="965" y="1285"/>
                  </a:moveTo>
                  <a:moveTo>
                    <a:pt x="42" y="268"/>
                  </a:moveTo>
                  <a:moveTo>
                    <a:pt x="983" y="1322"/>
                  </a:moveTo>
                  <a:moveTo>
                    <a:pt x="745" y="1312"/>
                  </a:moveTo>
                  <a:moveTo>
                    <a:pt x="669" y="1312"/>
                  </a:moveTo>
                  <a:moveTo>
                    <a:pt x="729" y="1323"/>
                  </a:moveTo>
                  <a:moveTo>
                    <a:pt x="592" y="1316"/>
                  </a:moveTo>
                  <a:moveTo>
                    <a:pt x="509" y="146"/>
                  </a:moveTo>
                  <a:moveTo>
                    <a:pt x="261" y="1284"/>
                  </a:moveTo>
                  <a:moveTo>
                    <a:pt x="475" y="1318"/>
                  </a:moveTo>
                  <a:moveTo>
                    <a:pt x="257" y="1325"/>
                  </a:moveTo>
                  <a:moveTo>
                    <a:pt x="398" y="0"/>
                  </a:moveTo>
                  <a:moveTo>
                    <a:pt x="386" y="0"/>
                  </a:moveTo>
                  <a:moveTo>
                    <a:pt x="327" y="3"/>
                  </a:moveTo>
                  <a:moveTo>
                    <a:pt x="404" y="2"/>
                  </a:moveTo>
                  <a:moveTo>
                    <a:pt x="378" y="7"/>
                  </a:moveTo>
                  <a:moveTo>
                    <a:pt x="423" y="5"/>
                  </a:moveTo>
                  <a:moveTo>
                    <a:pt x="399" y="4"/>
                  </a:moveTo>
                  <a:moveTo>
                    <a:pt x="197" y="47"/>
                  </a:moveTo>
                  <a:moveTo>
                    <a:pt x="418" y="7"/>
                  </a:moveTo>
                  <a:moveTo>
                    <a:pt x="678" y="1427"/>
                  </a:moveTo>
                  <a:moveTo>
                    <a:pt x="155" y="109"/>
                  </a:moveTo>
                  <a:moveTo>
                    <a:pt x="306" y="78"/>
                  </a:moveTo>
                  <a:moveTo>
                    <a:pt x="739" y="1416"/>
                  </a:moveTo>
                  <a:moveTo>
                    <a:pt x="443" y="1458"/>
                  </a:moveTo>
                  <a:moveTo>
                    <a:pt x="474" y="1428"/>
                  </a:moveTo>
                  <a:moveTo>
                    <a:pt x="753" y="1417"/>
                  </a:moveTo>
                  <a:moveTo>
                    <a:pt x="434" y="7"/>
                  </a:moveTo>
                  <a:moveTo>
                    <a:pt x="348" y="79"/>
                  </a:moveTo>
                  <a:moveTo>
                    <a:pt x="574" y="72"/>
                  </a:moveTo>
                  <a:moveTo>
                    <a:pt x="452" y="74"/>
                  </a:moveTo>
                  <a:moveTo>
                    <a:pt x="440" y="67"/>
                  </a:moveTo>
                  <a:moveTo>
                    <a:pt x="1003" y="1287"/>
                  </a:moveTo>
                  <a:moveTo>
                    <a:pt x="347" y="106"/>
                  </a:moveTo>
                  <a:moveTo>
                    <a:pt x="1023" y="1286"/>
                  </a:moveTo>
                  <a:moveTo>
                    <a:pt x="1028" y="1276"/>
                  </a:moveTo>
                  <a:moveTo>
                    <a:pt x="1102" y="1240"/>
                  </a:moveTo>
                  <a:moveTo>
                    <a:pt x="1097" y="1248"/>
                  </a:moveTo>
                  <a:moveTo>
                    <a:pt x="549" y="29"/>
                  </a:moveTo>
                  <a:moveTo>
                    <a:pt x="427" y="28"/>
                  </a:moveTo>
                  <a:moveTo>
                    <a:pt x="1067" y="1285"/>
                  </a:moveTo>
                  <a:moveTo>
                    <a:pt x="431" y="41"/>
                  </a:moveTo>
                  <a:moveTo>
                    <a:pt x="807" y="1395"/>
                  </a:moveTo>
                  <a:moveTo>
                    <a:pt x="715" y="1380"/>
                  </a:moveTo>
                  <a:moveTo>
                    <a:pt x="921" y="1389"/>
                  </a:moveTo>
                  <a:moveTo>
                    <a:pt x="821" y="1384"/>
                  </a:moveTo>
                  <a:moveTo>
                    <a:pt x="642" y="110"/>
                  </a:moveTo>
                  <a:moveTo>
                    <a:pt x="638" y="114"/>
                  </a:moveTo>
                  <a:moveTo>
                    <a:pt x="939" y="1209"/>
                  </a:moveTo>
                  <a:moveTo>
                    <a:pt x="946" y="1206"/>
                  </a:moveTo>
                  <a:moveTo>
                    <a:pt x="933" y="1205"/>
                  </a:moveTo>
                  <a:moveTo>
                    <a:pt x="1010" y="1162"/>
                  </a:moveTo>
                  <a:moveTo>
                    <a:pt x="281" y="973"/>
                  </a:moveTo>
                  <a:moveTo>
                    <a:pt x="380" y="1194"/>
                  </a:moveTo>
                  <a:moveTo>
                    <a:pt x="1111" y="1090"/>
                  </a:moveTo>
                  <a:moveTo>
                    <a:pt x="279" y="1069"/>
                  </a:moveTo>
                  <a:moveTo>
                    <a:pt x="354" y="171"/>
                  </a:moveTo>
                  <a:moveTo>
                    <a:pt x="212" y="1241"/>
                  </a:moveTo>
                  <a:moveTo>
                    <a:pt x="351" y="1132"/>
                  </a:moveTo>
                  <a:moveTo>
                    <a:pt x="267" y="1132"/>
                  </a:moveTo>
                  <a:moveTo>
                    <a:pt x="333" y="1170"/>
                  </a:moveTo>
                  <a:moveTo>
                    <a:pt x="174" y="1170"/>
                  </a:moveTo>
                  <a:moveTo>
                    <a:pt x="412" y="206"/>
                  </a:moveTo>
                  <a:moveTo>
                    <a:pt x="143" y="288"/>
                  </a:moveTo>
                  <a:moveTo>
                    <a:pt x="88" y="295"/>
                  </a:moveTo>
                  <a:moveTo>
                    <a:pt x="296" y="1134"/>
                  </a:moveTo>
                  <a:moveTo>
                    <a:pt x="705" y="241"/>
                  </a:moveTo>
                  <a:moveTo>
                    <a:pt x="674" y="292"/>
                  </a:moveTo>
                  <a:moveTo>
                    <a:pt x="1126" y="1061"/>
                  </a:moveTo>
                  <a:moveTo>
                    <a:pt x="662" y="290"/>
                  </a:moveTo>
                  <a:moveTo>
                    <a:pt x="1035" y="1135"/>
                  </a:moveTo>
                  <a:moveTo>
                    <a:pt x="261" y="1074"/>
                  </a:moveTo>
                  <a:moveTo>
                    <a:pt x="1023" y="1144"/>
                  </a:moveTo>
                  <a:moveTo>
                    <a:pt x="411" y="242"/>
                  </a:moveTo>
                  <a:moveTo>
                    <a:pt x="979" y="1162"/>
                  </a:moveTo>
                  <a:moveTo>
                    <a:pt x="193" y="1009"/>
                  </a:moveTo>
                  <a:moveTo>
                    <a:pt x="164" y="1112"/>
                  </a:moveTo>
                  <a:moveTo>
                    <a:pt x="212" y="1098"/>
                  </a:moveTo>
                  <a:moveTo>
                    <a:pt x="68" y="350"/>
                  </a:moveTo>
                  <a:moveTo>
                    <a:pt x="387" y="241"/>
                  </a:moveTo>
                  <a:moveTo>
                    <a:pt x="366" y="247"/>
                  </a:moveTo>
                  <a:moveTo>
                    <a:pt x="350" y="242"/>
                  </a:moveTo>
                  <a:moveTo>
                    <a:pt x="417" y="1180"/>
                  </a:moveTo>
                  <a:moveTo>
                    <a:pt x="295" y="1204"/>
                  </a:moveTo>
                  <a:moveTo>
                    <a:pt x="163" y="244"/>
                  </a:moveTo>
                  <a:moveTo>
                    <a:pt x="65" y="287"/>
                  </a:moveTo>
                  <a:moveTo>
                    <a:pt x="278" y="1284"/>
                  </a:moveTo>
                  <a:moveTo>
                    <a:pt x="229" y="399"/>
                  </a:moveTo>
                  <a:moveTo>
                    <a:pt x="384" y="175"/>
                  </a:moveTo>
                  <a:moveTo>
                    <a:pt x="369" y="177"/>
                  </a:moveTo>
                  <a:moveTo>
                    <a:pt x="397" y="170"/>
                  </a:moveTo>
                  <a:moveTo>
                    <a:pt x="714" y="176"/>
                  </a:moveTo>
                  <a:moveTo>
                    <a:pt x="701" y="168"/>
                  </a:moveTo>
                  <a:moveTo>
                    <a:pt x="714" y="170"/>
                  </a:moveTo>
                  <a:moveTo>
                    <a:pt x="695" y="173"/>
                  </a:moveTo>
                  <a:moveTo>
                    <a:pt x="959" y="1242"/>
                  </a:moveTo>
                  <a:moveTo>
                    <a:pt x="511" y="211"/>
                  </a:moveTo>
                  <a:moveTo>
                    <a:pt x="1074" y="1170"/>
                  </a:moveTo>
                  <a:moveTo>
                    <a:pt x="1119" y="1144"/>
                  </a:moveTo>
                  <a:moveTo>
                    <a:pt x="940" y="1251"/>
                  </a:moveTo>
                  <a:moveTo>
                    <a:pt x="663" y="239"/>
                  </a:moveTo>
                  <a:moveTo>
                    <a:pt x="478" y="1243"/>
                  </a:moveTo>
                  <a:moveTo>
                    <a:pt x="518" y="1246"/>
                  </a:moveTo>
                  <a:moveTo>
                    <a:pt x="549" y="1247"/>
                  </a:moveTo>
                  <a:moveTo>
                    <a:pt x="537" y="1237"/>
                  </a:moveTo>
                  <a:moveTo>
                    <a:pt x="374" y="1246"/>
                  </a:moveTo>
                  <a:moveTo>
                    <a:pt x="331" y="1257"/>
                  </a:moveTo>
                  <a:moveTo>
                    <a:pt x="358" y="1254"/>
                  </a:moveTo>
                  <a:moveTo>
                    <a:pt x="432" y="1221"/>
                  </a:moveTo>
                  <a:moveTo>
                    <a:pt x="740" y="209"/>
                  </a:moveTo>
                  <a:moveTo>
                    <a:pt x="734" y="171"/>
                  </a:moveTo>
                  <a:moveTo>
                    <a:pt x="633" y="206"/>
                  </a:moveTo>
                  <a:moveTo>
                    <a:pt x="559" y="1249"/>
                  </a:moveTo>
                  <a:moveTo>
                    <a:pt x="854" y="1217"/>
                  </a:moveTo>
                  <a:moveTo>
                    <a:pt x="1146" y="1116"/>
                  </a:moveTo>
                  <a:moveTo>
                    <a:pt x="1090" y="1140"/>
                  </a:moveTo>
                  <a:moveTo>
                    <a:pt x="111" y="421"/>
                  </a:moveTo>
                  <a:moveTo>
                    <a:pt x="518" y="849"/>
                  </a:moveTo>
                  <a:moveTo>
                    <a:pt x="543" y="882"/>
                  </a:moveTo>
                  <a:moveTo>
                    <a:pt x="604" y="956"/>
                  </a:moveTo>
                  <a:moveTo>
                    <a:pt x="523" y="885"/>
                  </a:moveTo>
                  <a:moveTo>
                    <a:pt x="526" y="649"/>
                  </a:moveTo>
                  <a:moveTo>
                    <a:pt x="563" y="991"/>
                  </a:moveTo>
                  <a:moveTo>
                    <a:pt x="173" y="461"/>
                  </a:moveTo>
                  <a:moveTo>
                    <a:pt x="537" y="970"/>
                  </a:moveTo>
                  <a:moveTo>
                    <a:pt x="664" y="644"/>
                  </a:moveTo>
                  <a:moveTo>
                    <a:pt x="626" y="640"/>
                  </a:moveTo>
                  <a:moveTo>
                    <a:pt x="169" y="469"/>
                  </a:moveTo>
                  <a:moveTo>
                    <a:pt x="555" y="889"/>
                  </a:moveTo>
                  <a:moveTo>
                    <a:pt x="705" y="669"/>
                  </a:moveTo>
                  <a:moveTo>
                    <a:pt x="727" y="675"/>
                  </a:moveTo>
                  <a:moveTo>
                    <a:pt x="736" y="677"/>
                  </a:moveTo>
                  <a:moveTo>
                    <a:pt x="591" y="987"/>
                  </a:moveTo>
                  <a:moveTo>
                    <a:pt x="508" y="925"/>
                  </a:moveTo>
                  <a:moveTo>
                    <a:pt x="488" y="815"/>
                  </a:moveTo>
                  <a:moveTo>
                    <a:pt x="489" y="826"/>
                  </a:moveTo>
                  <a:moveTo>
                    <a:pt x="482" y="815"/>
                  </a:moveTo>
                  <a:moveTo>
                    <a:pt x="32" y="511"/>
                  </a:moveTo>
                  <a:moveTo>
                    <a:pt x="579" y="745"/>
                  </a:moveTo>
                  <a:moveTo>
                    <a:pt x="466" y="793"/>
                  </a:moveTo>
                  <a:moveTo>
                    <a:pt x="47" y="748"/>
                  </a:moveTo>
                  <a:moveTo>
                    <a:pt x="517" y="711"/>
                  </a:moveTo>
                  <a:moveTo>
                    <a:pt x="111" y="506"/>
                  </a:moveTo>
                  <a:moveTo>
                    <a:pt x="111" y="497"/>
                  </a:moveTo>
                  <a:moveTo>
                    <a:pt x="119" y="497"/>
                  </a:moveTo>
                  <a:moveTo>
                    <a:pt x="494" y="747"/>
                  </a:moveTo>
                  <a:moveTo>
                    <a:pt x="108" y="511"/>
                  </a:moveTo>
                  <a:moveTo>
                    <a:pt x="152" y="463"/>
                  </a:moveTo>
                  <a:moveTo>
                    <a:pt x="462" y="777"/>
                  </a:moveTo>
                  <a:moveTo>
                    <a:pt x="519" y="711"/>
                  </a:moveTo>
                  <a:moveTo>
                    <a:pt x="757" y="718"/>
                  </a:moveTo>
                  <a:moveTo>
                    <a:pt x="677" y="704"/>
                  </a:moveTo>
                  <a:moveTo>
                    <a:pt x="709" y="705"/>
                  </a:moveTo>
                  <a:moveTo>
                    <a:pt x="485" y="433"/>
                  </a:moveTo>
                  <a:moveTo>
                    <a:pt x="635" y="713"/>
                  </a:moveTo>
                  <a:moveTo>
                    <a:pt x="640" y="716"/>
                  </a:moveTo>
                  <a:moveTo>
                    <a:pt x="665" y="712"/>
                  </a:moveTo>
                  <a:moveTo>
                    <a:pt x="654" y="714"/>
                  </a:moveTo>
                  <a:moveTo>
                    <a:pt x="683" y="704"/>
                  </a:moveTo>
                  <a:moveTo>
                    <a:pt x="766" y="717"/>
                  </a:moveTo>
                  <a:moveTo>
                    <a:pt x="784" y="706"/>
                  </a:moveTo>
                  <a:moveTo>
                    <a:pt x="464" y="817"/>
                  </a:moveTo>
                  <a:moveTo>
                    <a:pt x="900" y="701"/>
                  </a:moveTo>
                  <a:moveTo>
                    <a:pt x="706" y="711"/>
                  </a:moveTo>
                  <a:moveTo>
                    <a:pt x="718" y="707"/>
                  </a:moveTo>
                  <a:moveTo>
                    <a:pt x="672" y="1031"/>
                  </a:moveTo>
                  <a:moveTo>
                    <a:pt x="561" y="1039"/>
                  </a:moveTo>
                  <a:moveTo>
                    <a:pt x="557" y="1062"/>
                  </a:moveTo>
                  <a:moveTo>
                    <a:pt x="523" y="1030"/>
                  </a:moveTo>
                  <a:moveTo>
                    <a:pt x="666" y="1032"/>
                  </a:moveTo>
                  <a:moveTo>
                    <a:pt x="617" y="1005"/>
                  </a:moveTo>
                  <a:moveTo>
                    <a:pt x="668" y="1032"/>
                  </a:moveTo>
                  <a:moveTo>
                    <a:pt x="438" y="775"/>
                  </a:moveTo>
                  <a:moveTo>
                    <a:pt x="494" y="425"/>
                  </a:moveTo>
                  <a:moveTo>
                    <a:pt x="430" y="782"/>
                  </a:moveTo>
                  <a:moveTo>
                    <a:pt x="433" y="817"/>
                  </a:moveTo>
                  <a:moveTo>
                    <a:pt x="580" y="899"/>
                  </a:moveTo>
                  <a:moveTo>
                    <a:pt x="565" y="744"/>
                  </a:moveTo>
                  <a:moveTo>
                    <a:pt x="195" y="492"/>
                  </a:moveTo>
                  <a:moveTo>
                    <a:pt x="611" y="957"/>
                  </a:moveTo>
                  <a:moveTo>
                    <a:pt x="441" y="747"/>
                  </a:moveTo>
                  <a:moveTo>
                    <a:pt x="679" y="1031"/>
                  </a:moveTo>
                  <a:moveTo>
                    <a:pt x="512" y="857"/>
                  </a:moveTo>
                  <a:moveTo>
                    <a:pt x="556" y="622"/>
                  </a:moveTo>
                  <a:moveTo>
                    <a:pt x="461" y="686"/>
                  </a:moveTo>
                  <a:moveTo>
                    <a:pt x="454" y="1002"/>
                  </a:moveTo>
                  <a:moveTo>
                    <a:pt x="851" y="628"/>
                  </a:moveTo>
                  <a:moveTo>
                    <a:pt x="777" y="639"/>
                  </a:moveTo>
                  <a:moveTo>
                    <a:pt x="583" y="1006"/>
                  </a:moveTo>
                  <a:moveTo>
                    <a:pt x="564" y="1041"/>
                  </a:moveTo>
                  <a:moveTo>
                    <a:pt x="520" y="1028"/>
                  </a:moveTo>
                  <a:moveTo>
                    <a:pt x="603" y="643"/>
                  </a:moveTo>
                  <a:moveTo>
                    <a:pt x="673" y="1033"/>
                  </a:moveTo>
                  <a:moveTo>
                    <a:pt x="739" y="636"/>
                  </a:moveTo>
                  <a:moveTo>
                    <a:pt x="581" y="649"/>
                  </a:moveTo>
                  <a:moveTo>
                    <a:pt x="824" y="598"/>
                  </a:moveTo>
                  <a:moveTo>
                    <a:pt x="669" y="641"/>
                  </a:moveTo>
                  <a:moveTo>
                    <a:pt x="543" y="609"/>
                  </a:moveTo>
                  <a:moveTo>
                    <a:pt x="488" y="648"/>
                  </a:moveTo>
                  <a:moveTo>
                    <a:pt x="500" y="641"/>
                  </a:moveTo>
                  <a:moveTo>
                    <a:pt x="922" y="988"/>
                  </a:moveTo>
                  <a:moveTo>
                    <a:pt x="879" y="1020"/>
                  </a:moveTo>
                  <a:moveTo>
                    <a:pt x="843" y="1060"/>
                  </a:moveTo>
                  <a:moveTo>
                    <a:pt x="929" y="1001"/>
                  </a:moveTo>
                  <a:moveTo>
                    <a:pt x="887" y="991"/>
                  </a:moveTo>
                  <a:moveTo>
                    <a:pt x="877" y="1002"/>
                  </a:moveTo>
                  <a:moveTo>
                    <a:pt x="854" y="1003"/>
                  </a:moveTo>
                  <a:moveTo>
                    <a:pt x="812" y="1067"/>
                  </a:moveTo>
                  <a:moveTo>
                    <a:pt x="811" y="1027"/>
                  </a:moveTo>
                  <a:moveTo>
                    <a:pt x="815" y="1064"/>
                  </a:moveTo>
                  <a:moveTo>
                    <a:pt x="836" y="1025"/>
                  </a:moveTo>
                  <a:moveTo>
                    <a:pt x="799" y="1069"/>
                  </a:moveTo>
                  <a:moveTo>
                    <a:pt x="758" y="1057"/>
                  </a:moveTo>
                  <a:moveTo>
                    <a:pt x="758" y="1063"/>
                  </a:moveTo>
                  <a:moveTo>
                    <a:pt x="539" y="741"/>
                  </a:moveTo>
                  <a:moveTo>
                    <a:pt x="523" y="792"/>
                  </a:moveTo>
                  <a:moveTo>
                    <a:pt x="455" y="720"/>
                  </a:moveTo>
                  <a:moveTo>
                    <a:pt x="251" y="571"/>
                  </a:moveTo>
                  <a:moveTo>
                    <a:pt x="513" y="685"/>
                  </a:moveTo>
                  <a:moveTo>
                    <a:pt x="437" y="467"/>
                  </a:moveTo>
                  <a:moveTo>
                    <a:pt x="848" y="500"/>
                  </a:moveTo>
                  <a:moveTo>
                    <a:pt x="461" y="714"/>
                  </a:moveTo>
                  <a:moveTo>
                    <a:pt x="562" y="685"/>
                  </a:moveTo>
                  <a:moveTo>
                    <a:pt x="506" y="738"/>
                  </a:moveTo>
                  <a:moveTo>
                    <a:pt x="529" y="959"/>
                  </a:moveTo>
                  <a:moveTo>
                    <a:pt x="525" y="952"/>
                  </a:moveTo>
                  <a:moveTo>
                    <a:pt x="572" y="822"/>
                  </a:moveTo>
                  <a:moveTo>
                    <a:pt x="750" y="1023"/>
                  </a:moveTo>
                  <a:moveTo>
                    <a:pt x="569" y="708"/>
                  </a:moveTo>
                  <a:moveTo>
                    <a:pt x="437" y="784"/>
                  </a:moveTo>
                  <a:moveTo>
                    <a:pt x="814" y="690"/>
                  </a:moveTo>
                  <a:moveTo>
                    <a:pt x="565" y="738"/>
                  </a:moveTo>
                  <a:moveTo>
                    <a:pt x="722" y="994"/>
                  </a:moveTo>
                  <a:moveTo>
                    <a:pt x="869" y="534"/>
                  </a:moveTo>
                  <a:moveTo>
                    <a:pt x="426" y="818"/>
                  </a:moveTo>
                  <a:moveTo>
                    <a:pt x="755" y="678"/>
                  </a:moveTo>
                  <a:moveTo>
                    <a:pt x="677" y="674"/>
                  </a:moveTo>
                  <a:moveTo>
                    <a:pt x="651" y="673"/>
                  </a:moveTo>
                  <a:moveTo>
                    <a:pt x="924" y="637"/>
                  </a:moveTo>
                  <a:moveTo>
                    <a:pt x="889" y="539"/>
                  </a:moveTo>
                  <a:moveTo>
                    <a:pt x="875" y="540"/>
                  </a:moveTo>
                  <a:moveTo>
                    <a:pt x="626" y="676"/>
                  </a:moveTo>
                  <a:moveTo>
                    <a:pt x="575" y="927"/>
                  </a:moveTo>
                  <a:moveTo>
                    <a:pt x="601" y="990"/>
                  </a:moveTo>
                  <a:moveTo>
                    <a:pt x="516" y="996"/>
                  </a:moveTo>
                  <a:moveTo>
                    <a:pt x="466" y="853"/>
                  </a:moveTo>
                  <a:moveTo>
                    <a:pt x="861" y="529"/>
                  </a:moveTo>
                  <a:moveTo>
                    <a:pt x="543" y="780"/>
                  </a:moveTo>
                  <a:moveTo>
                    <a:pt x="429" y="502"/>
                  </a:moveTo>
                  <a:moveTo>
                    <a:pt x="232" y="491"/>
                  </a:moveTo>
                  <a:moveTo>
                    <a:pt x="984" y="742"/>
                  </a:moveTo>
                  <a:moveTo>
                    <a:pt x="494" y="572"/>
                  </a:moveTo>
                  <a:moveTo>
                    <a:pt x="502" y="576"/>
                  </a:moveTo>
                  <a:moveTo>
                    <a:pt x="516" y="570"/>
                  </a:moveTo>
                  <a:moveTo>
                    <a:pt x="509" y="571"/>
                  </a:moveTo>
                  <a:moveTo>
                    <a:pt x="657" y="560"/>
                  </a:moveTo>
                  <a:moveTo>
                    <a:pt x="652" y="562"/>
                  </a:moveTo>
                  <a:moveTo>
                    <a:pt x="495" y="563"/>
                  </a:moveTo>
                  <a:moveTo>
                    <a:pt x="506" y="1061"/>
                  </a:moveTo>
                  <a:moveTo>
                    <a:pt x="233" y="396"/>
                  </a:moveTo>
                  <a:moveTo>
                    <a:pt x="252" y="464"/>
                  </a:moveTo>
                  <a:moveTo>
                    <a:pt x="523" y="1070"/>
                  </a:moveTo>
                  <a:moveTo>
                    <a:pt x="270" y="508"/>
                  </a:moveTo>
                  <a:moveTo>
                    <a:pt x="387" y="739"/>
                  </a:moveTo>
                  <a:moveTo>
                    <a:pt x="474" y="596"/>
                  </a:moveTo>
                  <a:moveTo>
                    <a:pt x="82" y="536"/>
                  </a:moveTo>
                  <a:moveTo>
                    <a:pt x="363" y="532"/>
                  </a:moveTo>
                  <a:moveTo>
                    <a:pt x="716" y="648"/>
                  </a:moveTo>
                  <a:moveTo>
                    <a:pt x="868" y="708"/>
                  </a:moveTo>
                  <a:moveTo>
                    <a:pt x="875" y="710"/>
                  </a:moveTo>
                  <a:moveTo>
                    <a:pt x="1047" y="1002"/>
                  </a:moveTo>
                  <a:moveTo>
                    <a:pt x="286" y="574"/>
                  </a:moveTo>
                  <a:moveTo>
                    <a:pt x="819" y="709"/>
                  </a:moveTo>
                  <a:moveTo>
                    <a:pt x="160" y="528"/>
                  </a:moveTo>
                  <a:moveTo>
                    <a:pt x="744" y="536"/>
                  </a:moveTo>
                  <a:moveTo>
                    <a:pt x="676" y="566"/>
                  </a:moveTo>
                  <a:moveTo>
                    <a:pt x="1008" y="743"/>
                  </a:moveTo>
                  <a:moveTo>
                    <a:pt x="373" y="526"/>
                  </a:moveTo>
                  <a:moveTo>
                    <a:pt x="839" y="1025"/>
                  </a:moveTo>
                  <a:moveTo>
                    <a:pt x="121" y="528"/>
                  </a:moveTo>
                  <a:moveTo>
                    <a:pt x="123" y="577"/>
                  </a:moveTo>
                  <a:moveTo>
                    <a:pt x="789" y="929"/>
                  </a:moveTo>
                  <a:moveTo>
                    <a:pt x="669" y="920"/>
                  </a:moveTo>
                  <a:moveTo>
                    <a:pt x="738" y="892"/>
                  </a:moveTo>
                  <a:moveTo>
                    <a:pt x="813" y="928"/>
                  </a:moveTo>
                  <a:moveTo>
                    <a:pt x="683" y="919"/>
                  </a:moveTo>
                  <a:moveTo>
                    <a:pt x="819" y="927"/>
                  </a:moveTo>
                  <a:moveTo>
                    <a:pt x="882" y="369"/>
                  </a:moveTo>
                  <a:moveTo>
                    <a:pt x="1081" y="733"/>
                  </a:moveTo>
                  <a:moveTo>
                    <a:pt x="792" y="398"/>
                  </a:moveTo>
                  <a:moveTo>
                    <a:pt x="338" y="387"/>
                  </a:moveTo>
                  <a:moveTo>
                    <a:pt x="107" y="681"/>
                  </a:moveTo>
                  <a:moveTo>
                    <a:pt x="870" y="397"/>
                  </a:moveTo>
                  <a:moveTo>
                    <a:pt x="877" y="718"/>
                  </a:moveTo>
                  <a:moveTo>
                    <a:pt x="840" y="390"/>
                  </a:moveTo>
                  <a:moveTo>
                    <a:pt x="83" y="531"/>
                  </a:moveTo>
                  <a:moveTo>
                    <a:pt x="1141" y="964"/>
                  </a:moveTo>
                  <a:moveTo>
                    <a:pt x="1015" y="959"/>
                  </a:moveTo>
                  <a:moveTo>
                    <a:pt x="1080" y="998"/>
                  </a:moveTo>
                  <a:moveTo>
                    <a:pt x="230" y="541"/>
                  </a:moveTo>
                  <a:moveTo>
                    <a:pt x="642" y="928"/>
                  </a:moveTo>
                  <a:moveTo>
                    <a:pt x="1138" y="923"/>
                  </a:moveTo>
                  <a:moveTo>
                    <a:pt x="1110" y="955"/>
                  </a:moveTo>
                  <a:moveTo>
                    <a:pt x="1050" y="748"/>
                  </a:moveTo>
                  <a:moveTo>
                    <a:pt x="984" y="960"/>
                  </a:moveTo>
                  <a:moveTo>
                    <a:pt x="173" y="563"/>
                  </a:moveTo>
                  <a:moveTo>
                    <a:pt x="707" y="953"/>
                  </a:moveTo>
                  <a:moveTo>
                    <a:pt x="715" y="963"/>
                  </a:moveTo>
                  <a:moveTo>
                    <a:pt x="737" y="960"/>
                  </a:moveTo>
                  <a:moveTo>
                    <a:pt x="913" y="956"/>
                  </a:moveTo>
                  <a:moveTo>
                    <a:pt x="881" y="958"/>
                  </a:moveTo>
                  <a:moveTo>
                    <a:pt x="316" y="543"/>
                  </a:moveTo>
                  <a:moveTo>
                    <a:pt x="713" y="711"/>
                  </a:moveTo>
                  <a:moveTo>
                    <a:pt x="631" y="744"/>
                  </a:moveTo>
                  <a:moveTo>
                    <a:pt x="649" y="741"/>
                  </a:moveTo>
                  <a:moveTo>
                    <a:pt x="711" y="987"/>
                  </a:moveTo>
                  <a:moveTo>
                    <a:pt x="791" y="744"/>
                  </a:moveTo>
                  <a:moveTo>
                    <a:pt x="620" y="932"/>
                  </a:moveTo>
                  <a:moveTo>
                    <a:pt x="928" y="1037"/>
                  </a:moveTo>
                  <a:moveTo>
                    <a:pt x="581" y="827"/>
                  </a:moveTo>
                  <a:moveTo>
                    <a:pt x="762" y="741"/>
                  </a:moveTo>
                  <a:moveTo>
                    <a:pt x="819" y="747"/>
                  </a:moveTo>
                  <a:moveTo>
                    <a:pt x="832" y="738"/>
                  </a:moveTo>
                  <a:moveTo>
                    <a:pt x="752" y="738"/>
                  </a:moveTo>
                  <a:moveTo>
                    <a:pt x="209" y="688"/>
                  </a:moveTo>
                  <a:moveTo>
                    <a:pt x="755" y="748"/>
                  </a:moveTo>
                  <a:moveTo>
                    <a:pt x="216" y="570"/>
                  </a:moveTo>
                  <a:moveTo>
                    <a:pt x="432" y="686"/>
                  </a:moveTo>
                  <a:moveTo>
                    <a:pt x="403" y="709"/>
                  </a:moveTo>
                  <a:moveTo>
                    <a:pt x="473" y="1028"/>
                  </a:moveTo>
                  <a:moveTo>
                    <a:pt x="437" y="968"/>
                  </a:moveTo>
                  <a:moveTo>
                    <a:pt x="398" y="739"/>
                  </a:moveTo>
                  <a:moveTo>
                    <a:pt x="788" y="644"/>
                  </a:moveTo>
                  <a:moveTo>
                    <a:pt x="844" y="743"/>
                  </a:moveTo>
                  <a:moveTo>
                    <a:pt x="483" y="636"/>
                  </a:moveTo>
                  <a:moveTo>
                    <a:pt x="785" y="1063"/>
                  </a:moveTo>
                  <a:moveTo>
                    <a:pt x="465" y="1007"/>
                  </a:moveTo>
                  <a:moveTo>
                    <a:pt x="764" y="1065"/>
                  </a:moveTo>
                  <a:moveTo>
                    <a:pt x="858" y="1056"/>
                  </a:moveTo>
                  <a:moveTo>
                    <a:pt x="394" y="434"/>
                  </a:moveTo>
                  <a:moveTo>
                    <a:pt x="544" y="1059"/>
                  </a:moveTo>
                  <a:moveTo>
                    <a:pt x="566" y="1068"/>
                  </a:moveTo>
                  <a:moveTo>
                    <a:pt x="773" y="742"/>
                  </a:moveTo>
                  <a:moveTo>
                    <a:pt x="261" y="424"/>
                  </a:moveTo>
                  <a:moveTo>
                    <a:pt x="233" y="456"/>
                  </a:moveTo>
                  <a:moveTo>
                    <a:pt x="32" y="677"/>
                  </a:moveTo>
                  <a:moveTo>
                    <a:pt x="271" y="428"/>
                  </a:moveTo>
                  <a:moveTo>
                    <a:pt x="449" y="388"/>
                  </a:moveTo>
                  <a:moveTo>
                    <a:pt x="316" y="425"/>
                  </a:moveTo>
                  <a:moveTo>
                    <a:pt x="275" y="455"/>
                  </a:moveTo>
                  <a:moveTo>
                    <a:pt x="65" y="687"/>
                  </a:moveTo>
                  <a:moveTo>
                    <a:pt x="33" y="502"/>
                  </a:moveTo>
                  <a:moveTo>
                    <a:pt x="843" y="744"/>
                  </a:moveTo>
                  <a:moveTo>
                    <a:pt x="188" y="670"/>
                  </a:moveTo>
                  <a:moveTo>
                    <a:pt x="49" y="528"/>
                  </a:moveTo>
                  <a:moveTo>
                    <a:pt x="50" y="582"/>
                  </a:moveTo>
                  <a:moveTo>
                    <a:pt x="177" y="456"/>
                  </a:moveTo>
                  <a:moveTo>
                    <a:pt x="34" y="508"/>
                  </a:moveTo>
                  <a:moveTo>
                    <a:pt x="769" y="419"/>
                  </a:moveTo>
                  <a:moveTo>
                    <a:pt x="142" y="689"/>
                  </a:moveTo>
                  <a:moveTo>
                    <a:pt x="870" y="751"/>
                  </a:moveTo>
                  <a:moveTo>
                    <a:pt x="939" y="764"/>
                  </a:moveTo>
                  <a:moveTo>
                    <a:pt x="861" y="749"/>
                  </a:moveTo>
                  <a:moveTo>
                    <a:pt x="1088" y="749"/>
                  </a:moveTo>
                  <a:moveTo>
                    <a:pt x="207" y="573"/>
                  </a:moveTo>
                  <a:moveTo>
                    <a:pt x="200" y="579"/>
                  </a:moveTo>
                  <a:moveTo>
                    <a:pt x="830" y="438"/>
                  </a:moveTo>
                  <a:moveTo>
                    <a:pt x="809" y="433"/>
                  </a:moveTo>
                  <a:moveTo>
                    <a:pt x="114" y="746"/>
                  </a:moveTo>
                  <a:moveTo>
                    <a:pt x="1079" y="741"/>
                  </a:moveTo>
                  <a:moveTo>
                    <a:pt x="785" y="423"/>
                  </a:moveTo>
                  <a:moveTo>
                    <a:pt x="883" y="433"/>
                  </a:moveTo>
                  <a:moveTo>
                    <a:pt x="959" y="717"/>
                  </a:moveTo>
                  <a:cubicBezTo>
                    <a:pt x="379" y="754"/>
                    <a:pt x="379" y="754"/>
                    <a:pt x="379" y="753"/>
                  </a:cubicBezTo>
                  <a:cubicBezTo>
                    <a:pt x="379" y="753"/>
                    <a:pt x="379" y="753"/>
                    <a:pt x="379" y="752"/>
                  </a:cubicBezTo>
                  <a:cubicBezTo>
                    <a:pt x="379" y="753"/>
                    <a:pt x="379" y="753"/>
                    <a:pt x="379" y="754"/>
                  </a:cubicBezTo>
                  <a:cubicBezTo>
                    <a:pt x="455" y="639"/>
                    <a:pt x="454" y="638"/>
                    <a:pt x="453" y="638"/>
                  </a:cubicBezTo>
                  <a:cubicBezTo>
                    <a:pt x="431" y="656"/>
                    <a:pt x="413" y="679"/>
                    <a:pt x="399" y="706"/>
                  </a:cubicBezTo>
                  <a:cubicBezTo>
                    <a:pt x="398" y="706"/>
                    <a:pt x="398" y="707"/>
                    <a:pt x="398" y="708"/>
                  </a:cubicBezTo>
                  <a:cubicBezTo>
                    <a:pt x="399" y="708"/>
                    <a:pt x="400" y="708"/>
                    <a:pt x="402" y="708"/>
                  </a:cubicBezTo>
                  <a:cubicBezTo>
                    <a:pt x="401" y="707"/>
                    <a:pt x="400" y="706"/>
                    <a:pt x="400" y="704"/>
                  </a:cubicBezTo>
                  <a:cubicBezTo>
                    <a:pt x="407" y="704"/>
                    <a:pt x="407" y="704"/>
                    <a:pt x="407" y="704"/>
                  </a:cubicBezTo>
                  <a:cubicBezTo>
                    <a:pt x="410" y="698"/>
                    <a:pt x="413" y="693"/>
                    <a:pt x="417" y="687"/>
                  </a:cubicBezTo>
                  <a:cubicBezTo>
                    <a:pt x="419" y="683"/>
                    <a:pt x="422" y="679"/>
                    <a:pt x="425" y="675"/>
                  </a:cubicBezTo>
                  <a:cubicBezTo>
                    <a:pt x="425" y="675"/>
                    <a:pt x="424" y="675"/>
                    <a:pt x="423" y="675"/>
                  </a:cubicBezTo>
                  <a:cubicBezTo>
                    <a:pt x="423" y="674"/>
                    <a:pt x="423" y="673"/>
                    <a:pt x="423" y="672"/>
                  </a:cubicBezTo>
                  <a:cubicBezTo>
                    <a:pt x="423" y="672"/>
                    <a:pt x="424" y="672"/>
                    <a:pt x="424" y="672"/>
                  </a:cubicBezTo>
                  <a:cubicBezTo>
                    <a:pt x="424" y="672"/>
                    <a:pt x="424" y="672"/>
                    <a:pt x="424" y="672"/>
                  </a:cubicBezTo>
                  <a:cubicBezTo>
                    <a:pt x="426" y="671"/>
                    <a:pt x="427" y="670"/>
                    <a:pt x="429" y="670"/>
                  </a:cubicBezTo>
                  <a:cubicBezTo>
                    <a:pt x="429" y="670"/>
                    <a:pt x="429" y="670"/>
                    <a:pt x="429" y="670"/>
                  </a:cubicBezTo>
                  <a:cubicBezTo>
                    <a:pt x="439" y="659"/>
                    <a:pt x="449" y="648"/>
                    <a:pt x="461" y="640"/>
                  </a:cubicBezTo>
                  <a:cubicBezTo>
                    <a:pt x="461" y="638"/>
                    <a:pt x="461" y="637"/>
                    <a:pt x="463" y="637"/>
                  </a:cubicBezTo>
                  <a:cubicBezTo>
                    <a:pt x="463" y="638"/>
                    <a:pt x="463" y="638"/>
                    <a:pt x="463" y="638"/>
                  </a:cubicBezTo>
                  <a:cubicBezTo>
                    <a:pt x="475" y="628"/>
                    <a:pt x="489" y="621"/>
                    <a:pt x="503" y="614"/>
                  </a:cubicBezTo>
                  <a:cubicBezTo>
                    <a:pt x="501" y="614"/>
                    <a:pt x="501" y="614"/>
                    <a:pt x="501" y="614"/>
                  </a:cubicBezTo>
                  <a:cubicBezTo>
                    <a:pt x="502" y="612"/>
                    <a:pt x="502" y="610"/>
                    <a:pt x="502" y="607"/>
                  </a:cubicBezTo>
                  <a:cubicBezTo>
                    <a:pt x="501" y="608"/>
                    <a:pt x="499" y="609"/>
                    <a:pt x="498" y="610"/>
                  </a:cubicBezTo>
                  <a:cubicBezTo>
                    <a:pt x="498" y="612"/>
                    <a:pt x="498" y="613"/>
                    <a:pt x="498" y="614"/>
                  </a:cubicBezTo>
                  <a:cubicBezTo>
                    <a:pt x="490" y="614"/>
                    <a:pt x="490" y="614"/>
                    <a:pt x="490" y="614"/>
                  </a:cubicBezTo>
                  <a:cubicBezTo>
                    <a:pt x="490" y="614"/>
                    <a:pt x="490" y="614"/>
                    <a:pt x="490" y="614"/>
                  </a:cubicBezTo>
                  <a:cubicBezTo>
                    <a:pt x="477" y="620"/>
                    <a:pt x="466" y="628"/>
                    <a:pt x="455" y="636"/>
                  </a:cubicBezTo>
                  <a:cubicBezTo>
                    <a:pt x="456" y="637"/>
                    <a:pt x="457" y="639"/>
                    <a:pt x="455" y="640"/>
                  </a:cubicBezTo>
                  <a:cubicBezTo>
                    <a:pt x="380" y="750"/>
                    <a:pt x="380" y="751"/>
                    <a:pt x="380" y="751"/>
                  </a:cubicBezTo>
                  <a:cubicBezTo>
                    <a:pt x="380" y="751"/>
                    <a:pt x="381" y="751"/>
                    <a:pt x="381" y="751"/>
                  </a:cubicBezTo>
                  <a:cubicBezTo>
                    <a:pt x="382" y="751"/>
                    <a:pt x="382" y="750"/>
                    <a:pt x="382" y="750"/>
                  </a:cubicBezTo>
                  <a:cubicBezTo>
                    <a:pt x="381" y="750"/>
                    <a:pt x="381" y="749"/>
                    <a:pt x="381" y="749"/>
                  </a:cubicBezTo>
                  <a:cubicBezTo>
                    <a:pt x="378" y="784"/>
                    <a:pt x="378" y="784"/>
                    <a:pt x="378" y="784"/>
                  </a:cubicBezTo>
                  <a:cubicBezTo>
                    <a:pt x="378" y="784"/>
                    <a:pt x="378" y="785"/>
                    <a:pt x="378" y="785"/>
                  </a:cubicBezTo>
                  <a:cubicBezTo>
                    <a:pt x="378" y="785"/>
                    <a:pt x="378" y="784"/>
                    <a:pt x="378" y="784"/>
                  </a:cubicBezTo>
                  <a:cubicBezTo>
                    <a:pt x="387" y="752"/>
                    <a:pt x="387" y="752"/>
                    <a:pt x="387" y="752"/>
                  </a:cubicBezTo>
                  <a:cubicBezTo>
                    <a:pt x="387" y="752"/>
                    <a:pt x="387" y="752"/>
                    <a:pt x="387" y="752"/>
                  </a:cubicBezTo>
                  <a:cubicBezTo>
                    <a:pt x="387" y="752"/>
                    <a:pt x="387" y="752"/>
                    <a:pt x="387" y="752"/>
                  </a:cubicBezTo>
                  <a:cubicBezTo>
                    <a:pt x="480" y="601"/>
                    <a:pt x="480" y="601"/>
                    <a:pt x="480" y="601"/>
                  </a:cubicBezTo>
                  <a:cubicBezTo>
                    <a:pt x="480" y="601"/>
                    <a:pt x="479" y="601"/>
                    <a:pt x="479" y="602"/>
                  </a:cubicBezTo>
                  <a:cubicBezTo>
                    <a:pt x="476" y="598"/>
                    <a:pt x="472" y="601"/>
                    <a:pt x="469" y="600"/>
                  </a:cubicBezTo>
                  <a:cubicBezTo>
                    <a:pt x="468" y="600"/>
                    <a:pt x="467" y="601"/>
                    <a:pt x="466" y="601"/>
                  </a:cubicBezTo>
                  <a:cubicBezTo>
                    <a:pt x="466" y="604"/>
                    <a:pt x="468" y="606"/>
                    <a:pt x="468" y="609"/>
                  </a:cubicBezTo>
                  <a:cubicBezTo>
                    <a:pt x="472" y="606"/>
                    <a:pt x="476" y="604"/>
                    <a:pt x="480" y="602"/>
                  </a:cubicBezTo>
                  <a:cubicBezTo>
                    <a:pt x="743" y="594"/>
                    <a:pt x="723" y="584"/>
                    <a:pt x="702" y="576"/>
                  </a:cubicBezTo>
                  <a:cubicBezTo>
                    <a:pt x="702" y="576"/>
                    <a:pt x="702" y="576"/>
                    <a:pt x="702" y="577"/>
                  </a:cubicBezTo>
                  <a:cubicBezTo>
                    <a:pt x="688" y="577"/>
                    <a:pt x="688" y="577"/>
                    <a:pt x="688" y="577"/>
                  </a:cubicBezTo>
                  <a:cubicBezTo>
                    <a:pt x="688" y="575"/>
                    <a:pt x="688" y="574"/>
                    <a:pt x="688" y="572"/>
                  </a:cubicBezTo>
                  <a:cubicBezTo>
                    <a:pt x="691" y="573"/>
                    <a:pt x="691" y="572"/>
                    <a:pt x="692" y="572"/>
                  </a:cubicBezTo>
                  <a:cubicBezTo>
                    <a:pt x="687" y="570"/>
                    <a:pt x="683" y="568"/>
                    <a:pt x="678" y="567"/>
                  </a:cubicBezTo>
                  <a:cubicBezTo>
                    <a:pt x="680" y="569"/>
                    <a:pt x="683" y="571"/>
                    <a:pt x="684" y="574"/>
                  </a:cubicBezTo>
                  <a:cubicBezTo>
                    <a:pt x="684" y="575"/>
                    <a:pt x="683" y="575"/>
                    <a:pt x="683" y="575"/>
                  </a:cubicBezTo>
                  <a:cubicBezTo>
                    <a:pt x="698" y="581"/>
                    <a:pt x="713" y="587"/>
                    <a:pt x="727" y="594"/>
                  </a:cubicBezTo>
                  <a:cubicBezTo>
                    <a:pt x="729" y="594"/>
                    <a:pt x="729" y="594"/>
                    <a:pt x="729" y="594"/>
                  </a:cubicBezTo>
                  <a:cubicBezTo>
                    <a:pt x="729" y="594"/>
                    <a:pt x="729" y="595"/>
                    <a:pt x="729" y="595"/>
                  </a:cubicBezTo>
                  <a:cubicBezTo>
                    <a:pt x="736" y="598"/>
                    <a:pt x="743" y="601"/>
                    <a:pt x="749" y="605"/>
                  </a:cubicBezTo>
                  <a:cubicBezTo>
                    <a:pt x="749" y="605"/>
                    <a:pt x="749" y="604"/>
                    <a:pt x="749" y="604"/>
                  </a:cubicBezTo>
                  <a:cubicBezTo>
                    <a:pt x="753" y="604"/>
                    <a:pt x="753" y="606"/>
                    <a:pt x="754" y="607"/>
                  </a:cubicBezTo>
                  <a:cubicBezTo>
                    <a:pt x="755" y="608"/>
                    <a:pt x="756" y="608"/>
                    <a:pt x="756" y="608"/>
                  </a:cubicBezTo>
                  <a:cubicBezTo>
                    <a:pt x="757" y="608"/>
                    <a:pt x="757" y="608"/>
                    <a:pt x="758" y="608"/>
                  </a:cubicBezTo>
                  <a:cubicBezTo>
                    <a:pt x="758" y="609"/>
                    <a:pt x="758" y="609"/>
                    <a:pt x="758" y="609"/>
                  </a:cubicBezTo>
                  <a:cubicBezTo>
                    <a:pt x="760" y="609"/>
                    <a:pt x="762" y="610"/>
                    <a:pt x="763" y="609"/>
                  </a:cubicBezTo>
                  <a:cubicBezTo>
                    <a:pt x="763" y="608"/>
                    <a:pt x="763" y="606"/>
                    <a:pt x="763" y="604"/>
                  </a:cubicBezTo>
                  <a:cubicBezTo>
                    <a:pt x="781" y="575"/>
                    <a:pt x="780" y="575"/>
                    <a:pt x="777" y="575"/>
                  </a:cubicBezTo>
                  <a:cubicBezTo>
                    <a:pt x="777" y="574"/>
                    <a:pt x="776" y="573"/>
                    <a:pt x="777" y="572"/>
                  </a:cubicBezTo>
                  <a:cubicBezTo>
                    <a:pt x="768" y="568"/>
                    <a:pt x="759" y="565"/>
                    <a:pt x="750" y="563"/>
                  </a:cubicBezTo>
                  <a:cubicBezTo>
                    <a:pt x="750" y="563"/>
                    <a:pt x="750" y="564"/>
                    <a:pt x="749" y="564"/>
                  </a:cubicBezTo>
                  <a:cubicBezTo>
                    <a:pt x="749" y="565"/>
                    <a:pt x="749" y="565"/>
                    <a:pt x="749" y="565"/>
                  </a:cubicBezTo>
                  <a:cubicBezTo>
                    <a:pt x="749" y="565"/>
                    <a:pt x="748" y="565"/>
                    <a:pt x="748" y="565"/>
                  </a:cubicBezTo>
                  <a:cubicBezTo>
                    <a:pt x="747" y="566"/>
                    <a:pt x="747" y="567"/>
                    <a:pt x="747" y="568"/>
                  </a:cubicBezTo>
                  <a:cubicBezTo>
                    <a:pt x="748" y="570"/>
                    <a:pt x="752" y="569"/>
                    <a:pt x="753" y="571"/>
                  </a:cubicBezTo>
                  <a:cubicBezTo>
                    <a:pt x="762" y="574"/>
                    <a:pt x="772" y="577"/>
                    <a:pt x="782" y="581"/>
                  </a:cubicBezTo>
                  <a:cubicBezTo>
                    <a:pt x="792" y="584"/>
                    <a:pt x="803" y="589"/>
                    <a:pt x="813" y="593"/>
                  </a:cubicBezTo>
                  <a:cubicBezTo>
                    <a:pt x="814" y="593"/>
                    <a:pt x="814" y="593"/>
                    <a:pt x="814" y="593"/>
                  </a:cubicBezTo>
                  <a:cubicBezTo>
                    <a:pt x="814" y="593"/>
                    <a:pt x="815" y="594"/>
                    <a:pt x="815" y="594"/>
                  </a:cubicBezTo>
                  <a:cubicBezTo>
                    <a:pt x="816" y="594"/>
                    <a:pt x="816" y="594"/>
                    <a:pt x="817" y="595"/>
                  </a:cubicBezTo>
                  <a:cubicBezTo>
                    <a:pt x="817" y="594"/>
                    <a:pt x="817" y="594"/>
                    <a:pt x="817" y="593"/>
                  </a:cubicBezTo>
                  <a:cubicBezTo>
                    <a:pt x="830" y="593"/>
                    <a:pt x="830" y="593"/>
                    <a:pt x="830" y="593"/>
                  </a:cubicBezTo>
                  <a:cubicBezTo>
                    <a:pt x="814" y="586"/>
                    <a:pt x="798" y="579"/>
                    <a:pt x="781" y="573"/>
                  </a:cubicBezTo>
                  <a:cubicBezTo>
                    <a:pt x="803" y="604"/>
                    <a:pt x="800" y="602"/>
                    <a:pt x="798" y="601"/>
                  </a:cubicBezTo>
                  <a:cubicBezTo>
                    <a:pt x="798" y="601"/>
                    <a:pt x="798" y="601"/>
                    <a:pt x="797" y="601"/>
                  </a:cubicBezTo>
                  <a:cubicBezTo>
                    <a:pt x="780" y="593"/>
                    <a:pt x="763" y="585"/>
                    <a:pt x="745" y="579"/>
                  </a:cubicBezTo>
                  <a:cubicBezTo>
                    <a:pt x="741" y="577"/>
                    <a:pt x="738" y="583"/>
                    <a:pt x="742" y="585"/>
                  </a:cubicBezTo>
                  <a:cubicBezTo>
                    <a:pt x="753" y="589"/>
                    <a:pt x="764" y="593"/>
                    <a:pt x="775" y="598"/>
                  </a:cubicBezTo>
                  <a:cubicBezTo>
                    <a:pt x="775" y="595"/>
                    <a:pt x="777" y="595"/>
                    <a:pt x="778" y="593"/>
                  </a:cubicBezTo>
                  <a:cubicBezTo>
                    <a:pt x="781" y="593"/>
                    <a:pt x="781" y="593"/>
                    <a:pt x="781" y="593"/>
                  </a:cubicBezTo>
                  <a:cubicBezTo>
                    <a:pt x="782" y="594"/>
                    <a:pt x="782" y="596"/>
                    <a:pt x="782" y="598"/>
                  </a:cubicBezTo>
                  <a:cubicBezTo>
                    <a:pt x="781" y="598"/>
                    <a:pt x="779" y="599"/>
                    <a:pt x="778" y="599"/>
                  </a:cubicBezTo>
                  <a:cubicBezTo>
                    <a:pt x="780" y="601"/>
                    <a:pt x="783" y="602"/>
                    <a:pt x="786" y="603"/>
                  </a:cubicBezTo>
                  <a:cubicBezTo>
                    <a:pt x="785" y="601"/>
                    <a:pt x="786" y="600"/>
                    <a:pt x="787" y="599"/>
                  </a:cubicBezTo>
                  <a:cubicBezTo>
                    <a:pt x="788" y="599"/>
                    <a:pt x="789" y="599"/>
                    <a:pt x="790" y="599"/>
                  </a:cubicBezTo>
                  <a:cubicBezTo>
                    <a:pt x="791" y="601"/>
                    <a:pt x="790" y="603"/>
                    <a:pt x="788" y="604"/>
                  </a:cubicBezTo>
                  <a:cubicBezTo>
                    <a:pt x="792" y="606"/>
                    <a:pt x="796" y="608"/>
                    <a:pt x="799" y="609"/>
                  </a:cubicBezTo>
                  <a:cubicBezTo>
                    <a:pt x="802" y="609"/>
                    <a:pt x="804" y="607"/>
                    <a:pt x="805" y="605"/>
                  </a:cubicBezTo>
                  <a:cubicBezTo>
                    <a:pt x="525" y="524"/>
                    <a:pt x="525" y="524"/>
                    <a:pt x="525" y="524"/>
                  </a:cubicBezTo>
                  <a:cubicBezTo>
                    <a:pt x="525" y="525"/>
                    <a:pt x="525" y="526"/>
                    <a:pt x="525" y="527"/>
                  </a:cubicBezTo>
                  <a:cubicBezTo>
                    <a:pt x="523" y="528"/>
                    <a:pt x="520" y="528"/>
                    <a:pt x="517" y="528"/>
                  </a:cubicBezTo>
                  <a:cubicBezTo>
                    <a:pt x="517" y="527"/>
                    <a:pt x="518" y="527"/>
                    <a:pt x="518" y="526"/>
                  </a:cubicBezTo>
                  <a:cubicBezTo>
                    <a:pt x="516" y="526"/>
                    <a:pt x="515" y="527"/>
                    <a:pt x="513" y="527"/>
                  </a:cubicBezTo>
                  <a:cubicBezTo>
                    <a:pt x="514" y="529"/>
                    <a:pt x="515" y="531"/>
                    <a:pt x="516" y="533"/>
                  </a:cubicBezTo>
                  <a:cubicBezTo>
                    <a:pt x="510" y="534"/>
                    <a:pt x="508" y="532"/>
                    <a:pt x="506" y="529"/>
                  </a:cubicBezTo>
                  <a:cubicBezTo>
                    <a:pt x="500" y="531"/>
                    <a:pt x="493" y="533"/>
                    <a:pt x="487" y="536"/>
                  </a:cubicBezTo>
                  <a:cubicBezTo>
                    <a:pt x="487" y="536"/>
                    <a:pt x="488" y="537"/>
                    <a:pt x="488" y="538"/>
                  </a:cubicBezTo>
                  <a:cubicBezTo>
                    <a:pt x="489" y="538"/>
                    <a:pt x="491" y="538"/>
                    <a:pt x="492" y="538"/>
                  </a:cubicBezTo>
                  <a:cubicBezTo>
                    <a:pt x="492" y="539"/>
                    <a:pt x="492" y="540"/>
                    <a:pt x="492" y="541"/>
                  </a:cubicBezTo>
                  <a:cubicBezTo>
                    <a:pt x="501" y="538"/>
                    <a:pt x="510" y="535"/>
                    <a:pt x="519" y="533"/>
                  </a:cubicBezTo>
                  <a:cubicBezTo>
                    <a:pt x="520" y="531"/>
                    <a:pt x="520" y="530"/>
                    <a:pt x="521" y="529"/>
                  </a:cubicBezTo>
                  <a:cubicBezTo>
                    <a:pt x="524" y="528"/>
                    <a:pt x="526" y="529"/>
                    <a:pt x="527" y="530"/>
                  </a:cubicBezTo>
                  <a:cubicBezTo>
                    <a:pt x="527" y="529"/>
                    <a:pt x="528" y="527"/>
                    <a:pt x="529" y="526"/>
                  </a:cubicBezTo>
                  <a:cubicBezTo>
                    <a:pt x="528" y="526"/>
                    <a:pt x="528" y="525"/>
                    <a:pt x="528" y="524"/>
                  </a:cubicBezTo>
                  <a:cubicBezTo>
                    <a:pt x="546" y="524"/>
                    <a:pt x="546" y="524"/>
                    <a:pt x="546" y="524"/>
                  </a:cubicBezTo>
                  <a:cubicBezTo>
                    <a:pt x="547" y="525"/>
                    <a:pt x="548" y="526"/>
                    <a:pt x="549" y="526"/>
                  </a:cubicBezTo>
                  <a:cubicBezTo>
                    <a:pt x="549" y="526"/>
                    <a:pt x="550" y="526"/>
                    <a:pt x="551" y="526"/>
                  </a:cubicBezTo>
                  <a:cubicBezTo>
                    <a:pt x="551" y="526"/>
                    <a:pt x="551" y="526"/>
                    <a:pt x="551" y="525"/>
                  </a:cubicBezTo>
                  <a:cubicBezTo>
                    <a:pt x="551" y="525"/>
                    <a:pt x="550" y="525"/>
                    <a:pt x="550" y="524"/>
                  </a:cubicBezTo>
                  <a:cubicBezTo>
                    <a:pt x="554" y="524"/>
                    <a:pt x="554" y="524"/>
                    <a:pt x="554" y="524"/>
                  </a:cubicBezTo>
                  <a:cubicBezTo>
                    <a:pt x="554" y="525"/>
                    <a:pt x="551" y="524"/>
                    <a:pt x="552" y="525"/>
                  </a:cubicBezTo>
                  <a:cubicBezTo>
                    <a:pt x="552" y="525"/>
                    <a:pt x="553" y="525"/>
                    <a:pt x="554" y="525"/>
                  </a:cubicBezTo>
                  <a:cubicBezTo>
                    <a:pt x="554" y="525"/>
                    <a:pt x="554" y="525"/>
                    <a:pt x="554" y="525"/>
                  </a:cubicBezTo>
                  <a:cubicBezTo>
                    <a:pt x="586" y="520"/>
                    <a:pt x="618" y="520"/>
                    <a:pt x="649" y="523"/>
                  </a:cubicBezTo>
                  <a:cubicBezTo>
                    <a:pt x="651" y="523"/>
                    <a:pt x="651" y="523"/>
                    <a:pt x="651" y="523"/>
                  </a:cubicBezTo>
                  <a:cubicBezTo>
                    <a:pt x="651" y="523"/>
                    <a:pt x="651" y="523"/>
                    <a:pt x="650" y="523"/>
                  </a:cubicBezTo>
                  <a:cubicBezTo>
                    <a:pt x="668" y="525"/>
                    <a:pt x="686" y="528"/>
                    <a:pt x="704" y="532"/>
                  </a:cubicBezTo>
                  <a:cubicBezTo>
                    <a:pt x="704" y="531"/>
                    <a:pt x="704" y="531"/>
                    <a:pt x="705" y="530"/>
                  </a:cubicBezTo>
                  <a:cubicBezTo>
                    <a:pt x="708" y="530"/>
                    <a:pt x="709" y="532"/>
                    <a:pt x="710" y="534"/>
                  </a:cubicBezTo>
                  <a:cubicBezTo>
                    <a:pt x="718" y="536"/>
                    <a:pt x="727" y="538"/>
                    <a:pt x="735" y="540"/>
                  </a:cubicBezTo>
                  <a:cubicBezTo>
                    <a:pt x="736" y="538"/>
                    <a:pt x="737" y="536"/>
                    <a:pt x="738" y="534"/>
                  </a:cubicBezTo>
                  <a:cubicBezTo>
                    <a:pt x="686" y="519"/>
                    <a:pt x="632" y="512"/>
                    <a:pt x="578" y="516"/>
                  </a:cubicBezTo>
                  <a:cubicBezTo>
                    <a:pt x="560" y="517"/>
                    <a:pt x="542" y="520"/>
                    <a:pt x="524" y="524"/>
                  </a:cubicBezTo>
                  <a:cubicBezTo>
                    <a:pt x="495" y="537"/>
                    <a:pt x="494" y="537"/>
                    <a:pt x="492" y="536"/>
                  </a:cubicBezTo>
                  <a:cubicBezTo>
                    <a:pt x="492" y="533"/>
                    <a:pt x="495" y="533"/>
                    <a:pt x="498" y="533"/>
                  </a:cubicBezTo>
                  <a:cubicBezTo>
                    <a:pt x="498" y="535"/>
                    <a:pt x="498" y="536"/>
                    <a:pt x="498" y="537"/>
                  </a:cubicBezTo>
                  <a:cubicBezTo>
                    <a:pt x="535" y="598"/>
                    <a:pt x="537" y="599"/>
                    <a:pt x="538" y="600"/>
                  </a:cubicBezTo>
                  <a:cubicBezTo>
                    <a:pt x="539" y="601"/>
                    <a:pt x="539" y="601"/>
                    <a:pt x="540" y="601"/>
                  </a:cubicBezTo>
                  <a:cubicBezTo>
                    <a:pt x="569" y="593"/>
                    <a:pt x="600" y="589"/>
                    <a:pt x="630" y="590"/>
                  </a:cubicBezTo>
                  <a:cubicBezTo>
                    <a:pt x="611" y="590"/>
                    <a:pt x="592" y="592"/>
                    <a:pt x="574" y="596"/>
                  </a:cubicBezTo>
                  <a:cubicBezTo>
                    <a:pt x="575" y="598"/>
                    <a:pt x="577" y="599"/>
                    <a:pt x="579" y="601"/>
                  </a:cubicBezTo>
                  <a:cubicBezTo>
                    <a:pt x="579" y="599"/>
                    <a:pt x="580" y="599"/>
                    <a:pt x="582" y="599"/>
                  </a:cubicBezTo>
                  <a:cubicBezTo>
                    <a:pt x="582" y="600"/>
                    <a:pt x="583" y="600"/>
                    <a:pt x="583" y="601"/>
                  </a:cubicBezTo>
                  <a:cubicBezTo>
                    <a:pt x="593" y="599"/>
                    <a:pt x="604" y="597"/>
                    <a:pt x="614" y="597"/>
                  </a:cubicBezTo>
                  <a:cubicBezTo>
                    <a:pt x="613" y="596"/>
                    <a:pt x="612" y="596"/>
                    <a:pt x="611" y="595"/>
                  </a:cubicBezTo>
                  <a:cubicBezTo>
                    <a:pt x="621" y="595"/>
                    <a:pt x="621" y="595"/>
                    <a:pt x="621" y="595"/>
                  </a:cubicBezTo>
                  <a:cubicBezTo>
                    <a:pt x="621" y="595"/>
                    <a:pt x="621" y="595"/>
                    <a:pt x="622" y="596"/>
                  </a:cubicBezTo>
                  <a:cubicBezTo>
                    <a:pt x="620" y="596"/>
                    <a:pt x="619" y="596"/>
                    <a:pt x="618" y="596"/>
                  </a:cubicBezTo>
                  <a:cubicBezTo>
                    <a:pt x="618" y="596"/>
                    <a:pt x="618" y="596"/>
                    <a:pt x="618" y="597"/>
                  </a:cubicBezTo>
                  <a:cubicBezTo>
                    <a:pt x="620" y="596"/>
                    <a:pt x="621" y="596"/>
                    <a:pt x="623" y="596"/>
                  </a:cubicBezTo>
                  <a:cubicBezTo>
                    <a:pt x="623" y="596"/>
                    <a:pt x="623" y="595"/>
                    <a:pt x="623" y="595"/>
                  </a:cubicBezTo>
                  <a:cubicBezTo>
                    <a:pt x="633" y="595"/>
                    <a:pt x="633" y="595"/>
                    <a:pt x="633" y="595"/>
                  </a:cubicBezTo>
                  <a:cubicBezTo>
                    <a:pt x="633" y="595"/>
                    <a:pt x="633" y="596"/>
                    <a:pt x="633" y="596"/>
                  </a:cubicBezTo>
                  <a:cubicBezTo>
                    <a:pt x="639" y="596"/>
                    <a:pt x="645" y="596"/>
                    <a:pt x="652" y="597"/>
                  </a:cubicBezTo>
                  <a:cubicBezTo>
                    <a:pt x="652" y="596"/>
                    <a:pt x="652" y="596"/>
                    <a:pt x="652" y="596"/>
                  </a:cubicBezTo>
                  <a:cubicBezTo>
                    <a:pt x="652" y="595"/>
                    <a:pt x="652" y="595"/>
                    <a:pt x="652" y="595"/>
                  </a:cubicBezTo>
                  <a:cubicBezTo>
                    <a:pt x="663" y="594"/>
                    <a:pt x="663" y="594"/>
                    <a:pt x="663" y="594"/>
                  </a:cubicBezTo>
                  <a:cubicBezTo>
                    <a:pt x="664" y="595"/>
                    <a:pt x="664" y="595"/>
                    <a:pt x="664" y="595"/>
                  </a:cubicBezTo>
                  <a:cubicBezTo>
                    <a:pt x="664" y="595"/>
                    <a:pt x="664" y="595"/>
                    <a:pt x="664" y="594"/>
                  </a:cubicBezTo>
                  <a:cubicBezTo>
                    <a:pt x="664" y="594"/>
                    <a:pt x="664" y="594"/>
                    <a:pt x="664" y="594"/>
                  </a:cubicBezTo>
                  <a:cubicBezTo>
                    <a:pt x="665" y="595"/>
                    <a:pt x="666" y="595"/>
                    <a:pt x="667" y="594"/>
                  </a:cubicBezTo>
                  <a:cubicBezTo>
                    <a:pt x="669" y="594"/>
                    <a:pt x="669" y="594"/>
                    <a:pt x="669" y="594"/>
                  </a:cubicBezTo>
                  <a:cubicBezTo>
                    <a:pt x="669" y="594"/>
                    <a:pt x="669" y="594"/>
                    <a:pt x="669" y="595"/>
                  </a:cubicBezTo>
                  <a:cubicBezTo>
                    <a:pt x="669" y="595"/>
                    <a:pt x="668" y="595"/>
                    <a:pt x="668" y="595"/>
                  </a:cubicBezTo>
                  <a:cubicBezTo>
                    <a:pt x="668" y="596"/>
                    <a:pt x="669" y="597"/>
                    <a:pt x="669" y="598"/>
                  </a:cubicBezTo>
                  <a:cubicBezTo>
                    <a:pt x="670" y="598"/>
                    <a:pt x="671" y="599"/>
                    <a:pt x="672" y="599"/>
                  </a:cubicBezTo>
                  <a:cubicBezTo>
                    <a:pt x="675" y="600"/>
                    <a:pt x="677" y="600"/>
                    <a:pt x="679" y="600"/>
                  </a:cubicBezTo>
                  <a:cubicBezTo>
                    <a:pt x="678" y="598"/>
                    <a:pt x="678" y="596"/>
                    <a:pt x="677" y="594"/>
                  </a:cubicBezTo>
                  <a:cubicBezTo>
                    <a:pt x="685" y="594"/>
                    <a:pt x="685" y="594"/>
                    <a:pt x="685" y="594"/>
                  </a:cubicBezTo>
                  <a:cubicBezTo>
                    <a:pt x="684" y="597"/>
                    <a:pt x="683" y="599"/>
                    <a:pt x="681" y="601"/>
                  </a:cubicBezTo>
                  <a:cubicBezTo>
                    <a:pt x="688" y="602"/>
                    <a:pt x="696" y="604"/>
                    <a:pt x="703" y="606"/>
                  </a:cubicBezTo>
                  <a:cubicBezTo>
                    <a:pt x="699" y="604"/>
                    <a:pt x="698" y="601"/>
                    <a:pt x="694" y="599"/>
                  </a:cubicBezTo>
                  <a:cubicBezTo>
                    <a:pt x="697" y="599"/>
                    <a:pt x="696" y="595"/>
                    <a:pt x="700" y="596"/>
                  </a:cubicBezTo>
                  <a:cubicBezTo>
                    <a:pt x="701" y="596"/>
                    <a:pt x="701" y="596"/>
                    <a:pt x="702" y="596"/>
                  </a:cubicBezTo>
                  <a:cubicBezTo>
                    <a:pt x="686" y="589"/>
                    <a:pt x="671" y="583"/>
                    <a:pt x="655" y="577"/>
                  </a:cubicBezTo>
                  <a:cubicBezTo>
                    <a:pt x="645" y="577"/>
                    <a:pt x="645" y="577"/>
                    <a:pt x="645" y="577"/>
                  </a:cubicBezTo>
                  <a:cubicBezTo>
                    <a:pt x="646" y="577"/>
                    <a:pt x="646" y="576"/>
                    <a:pt x="646" y="576"/>
                  </a:cubicBezTo>
                  <a:cubicBezTo>
                    <a:pt x="645" y="575"/>
                    <a:pt x="645" y="574"/>
                    <a:pt x="644" y="574"/>
                  </a:cubicBezTo>
                  <a:cubicBezTo>
                    <a:pt x="641" y="573"/>
                    <a:pt x="637" y="572"/>
                    <a:pt x="634" y="571"/>
                  </a:cubicBezTo>
                  <a:cubicBezTo>
                    <a:pt x="634" y="571"/>
                    <a:pt x="634" y="572"/>
                    <a:pt x="634" y="572"/>
                  </a:cubicBezTo>
                  <a:cubicBezTo>
                    <a:pt x="630" y="572"/>
                    <a:pt x="628" y="571"/>
                    <a:pt x="627" y="569"/>
                  </a:cubicBezTo>
                  <a:cubicBezTo>
                    <a:pt x="624" y="568"/>
                    <a:pt x="622" y="568"/>
                    <a:pt x="619" y="567"/>
                  </a:cubicBezTo>
                  <a:cubicBezTo>
                    <a:pt x="619" y="568"/>
                    <a:pt x="619" y="568"/>
                    <a:pt x="618" y="569"/>
                  </a:cubicBezTo>
                  <a:cubicBezTo>
                    <a:pt x="624" y="570"/>
                    <a:pt x="626" y="573"/>
                    <a:pt x="628" y="576"/>
                  </a:cubicBezTo>
                  <a:cubicBezTo>
                    <a:pt x="638" y="578"/>
                    <a:pt x="647" y="581"/>
                    <a:pt x="656" y="584"/>
                  </a:cubicBezTo>
                  <a:cubicBezTo>
                    <a:pt x="620" y="581"/>
                    <a:pt x="583" y="584"/>
                    <a:pt x="548" y="592"/>
                  </a:cubicBezTo>
                  <a:cubicBezTo>
                    <a:pt x="543" y="593"/>
                    <a:pt x="538" y="595"/>
                    <a:pt x="533" y="596"/>
                  </a:cubicBezTo>
                  <a:cubicBezTo>
                    <a:pt x="675" y="592"/>
                    <a:pt x="678" y="593"/>
                    <a:pt x="680" y="594"/>
                  </a:cubicBezTo>
                  <a:cubicBezTo>
                    <a:pt x="677" y="593"/>
                    <a:pt x="674" y="593"/>
                    <a:pt x="671" y="592"/>
                  </a:cubicBezTo>
                  <a:cubicBezTo>
                    <a:pt x="672" y="592"/>
                    <a:pt x="672" y="591"/>
                    <a:pt x="672" y="591"/>
                  </a:cubicBezTo>
                  <a:cubicBezTo>
                    <a:pt x="388" y="848"/>
                    <a:pt x="388" y="848"/>
                    <a:pt x="388" y="848"/>
                  </a:cubicBezTo>
                  <a:cubicBezTo>
                    <a:pt x="389" y="848"/>
                    <a:pt x="390" y="848"/>
                    <a:pt x="390" y="848"/>
                  </a:cubicBezTo>
                  <a:cubicBezTo>
                    <a:pt x="390" y="848"/>
                    <a:pt x="390" y="848"/>
                    <a:pt x="390" y="847"/>
                  </a:cubicBezTo>
                  <a:cubicBezTo>
                    <a:pt x="389" y="847"/>
                    <a:pt x="387" y="847"/>
                    <a:pt x="386" y="847"/>
                  </a:cubicBezTo>
                  <a:cubicBezTo>
                    <a:pt x="386" y="847"/>
                    <a:pt x="386" y="847"/>
                    <a:pt x="386" y="846"/>
                  </a:cubicBezTo>
                  <a:cubicBezTo>
                    <a:pt x="390" y="846"/>
                    <a:pt x="390" y="846"/>
                    <a:pt x="390" y="846"/>
                  </a:cubicBezTo>
                  <a:cubicBezTo>
                    <a:pt x="389" y="837"/>
                    <a:pt x="389" y="828"/>
                    <a:pt x="390" y="819"/>
                  </a:cubicBezTo>
                  <a:cubicBezTo>
                    <a:pt x="389" y="819"/>
                    <a:pt x="388" y="819"/>
                    <a:pt x="386" y="819"/>
                  </a:cubicBezTo>
                  <a:cubicBezTo>
                    <a:pt x="386" y="817"/>
                    <a:pt x="386" y="814"/>
                    <a:pt x="386" y="812"/>
                  </a:cubicBezTo>
                  <a:cubicBezTo>
                    <a:pt x="387" y="812"/>
                    <a:pt x="387" y="811"/>
                    <a:pt x="388" y="811"/>
                  </a:cubicBezTo>
                  <a:cubicBezTo>
                    <a:pt x="390" y="811"/>
                    <a:pt x="390" y="811"/>
                    <a:pt x="390" y="811"/>
                  </a:cubicBezTo>
                  <a:cubicBezTo>
                    <a:pt x="391" y="800"/>
                    <a:pt x="392" y="789"/>
                    <a:pt x="394" y="778"/>
                  </a:cubicBezTo>
                  <a:cubicBezTo>
                    <a:pt x="394" y="778"/>
                    <a:pt x="394" y="778"/>
                    <a:pt x="394" y="778"/>
                  </a:cubicBezTo>
                  <a:cubicBezTo>
                    <a:pt x="394" y="778"/>
                    <a:pt x="394" y="777"/>
                    <a:pt x="394" y="777"/>
                  </a:cubicBezTo>
                  <a:cubicBezTo>
                    <a:pt x="394" y="776"/>
                    <a:pt x="394" y="776"/>
                    <a:pt x="394" y="775"/>
                  </a:cubicBezTo>
                  <a:cubicBezTo>
                    <a:pt x="395" y="775"/>
                    <a:pt x="395" y="775"/>
                    <a:pt x="395" y="775"/>
                  </a:cubicBezTo>
                  <a:cubicBezTo>
                    <a:pt x="397" y="769"/>
                    <a:pt x="398" y="762"/>
                    <a:pt x="400" y="756"/>
                  </a:cubicBezTo>
                  <a:cubicBezTo>
                    <a:pt x="399" y="754"/>
                    <a:pt x="397" y="753"/>
                    <a:pt x="394" y="752"/>
                  </a:cubicBezTo>
                  <a:cubicBezTo>
                    <a:pt x="394" y="753"/>
                    <a:pt x="394" y="753"/>
                    <a:pt x="393" y="754"/>
                  </a:cubicBezTo>
                  <a:cubicBezTo>
                    <a:pt x="395" y="755"/>
                    <a:pt x="395" y="756"/>
                    <a:pt x="395" y="758"/>
                  </a:cubicBezTo>
                  <a:cubicBezTo>
                    <a:pt x="392" y="758"/>
                    <a:pt x="392" y="758"/>
                    <a:pt x="392" y="758"/>
                  </a:cubicBezTo>
                  <a:cubicBezTo>
                    <a:pt x="389" y="768"/>
                    <a:pt x="387" y="779"/>
                    <a:pt x="386" y="790"/>
                  </a:cubicBezTo>
                  <a:cubicBezTo>
                    <a:pt x="387" y="791"/>
                    <a:pt x="387" y="792"/>
                    <a:pt x="387" y="793"/>
                  </a:cubicBezTo>
                  <a:cubicBezTo>
                    <a:pt x="387" y="793"/>
                    <a:pt x="386" y="793"/>
                    <a:pt x="386" y="793"/>
                  </a:cubicBezTo>
                  <a:cubicBezTo>
                    <a:pt x="385" y="793"/>
                    <a:pt x="385" y="793"/>
                    <a:pt x="385" y="793"/>
                  </a:cubicBezTo>
                  <a:cubicBezTo>
                    <a:pt x="384" y="802"/>
                    <a:pt x="383" y="811"/>
                    <a:pt x="383" y="820"/>
                  </a:cubicBezTo>
                  <a:cubicBezTo>
                    <a:pt x="387" y="820"/>
                    <a:pt x="390" y="822"/>
                    <a:pt x="389" y="826"/>
                  </a:cubicBezTo>
                  <a:cubicBezTo>
                    <a:pt x="389" y="827"/>
                    <a:pt x="387" y="827"/>
                    <a:pt x="386" y="827"/>
                  </a:cubicBezTo>
                  <a:cubicBezTo>
                    <a:pt x="386" y="828"/>
                    <a:pt x="387" y="828"/>
                    <a:pt x="387" y="829"/>
                  </a:cubicBezTo>
                  <a:cubicBezTo>
                    <a:pt x="383" y="829"/>
                    <a:pt x="383" y="829"/>
                    <a:pt x="383" y="829"/>
                  </a:cubicBezTo>
                  <a:cubicBezTo>
                    <a:pt x="383" y="851"/>
                    <a:pt x="385" y="873"/>
                    <a:pt x="390" y="894"/>
                  </a:cubicBezTo>
                  <a:cubicBezTo>
                    <a:pt x="390" y="894"/>
                    <a:pt x="391" y="894"/>
                    <a:pt x="391" y="894"/>
                  </a:cubicBezTo>
                  <a:cubicBezTo>
                    <a:pt x="391" y="893"/>
                    <a:pt x="391" y="893"/>
                    <a:pt x="391" y="892"/>
                  </a:cubicBezTo>
                  <a:cubicBezTo>
                    <a:pt x="392" y="891"/>
                    <a:pt x="394" y="891"/>
                    <a:pt x="396" y="890"/>
                  </a:cubicBezTo>
                  <a:cubicBezTo>
                    <a:pt x="394" y="882"/>
                    <a:pt x="392" y="873"/>
                    <a:pt x="391" y="865"/>
                  </a:cubicBezTo>
                  <a:cubicBezTo>
                    <a:pt x="387" y="865"/>
                    <a:pt x="387" y="865"/>
                    <a:pt x="387" y="865"/>
                  </a:cubicBezTo>
                  <a:cubicBezTo>
                    <a:pt x="388" y="863"/>
                    <a:pt x="389" y="861"/>
                    <a:pt x="391" y="859"/>
                  </a:cubicBezTo>
                  <a:cubicBezTo>
                    <a:pt x="389" y="858"/>
                    <a:pt x="389" y="857"/>
                    <a:pt x="386" y="857"/>
                  </a:cubicBezTo>
                  <a:cubicBezTo>
                    <a:pt x="387" y="854"/>
                    <a:pt x="385" y="849"/>
                    <a:pt x="388" y="848"/>
                  </a:cubicBezTo>
                  <a:cubicBezTo>
                    <a:pt x="600" y="567"/>
                    <a:pt x="598" y="565"/>
                    <a:pt x="597" y="563"/>
                  </a:cubicBezTo>
                  <a:cubicBezTo>
                    <a:pt x="592" y="562"/>
                    <a:pt x="587" y="562"/>
                    <a:pt x="583" y="561"/>
                  </a:cubicBezTo>
                  <a:cubicBezTo>
                    <a:pt x="587" y="565"/>
                    <a:pt x="590" y="568"/>
                    <a:pt x="594" y="572"/>
                  </a:cubicBezTo>
                  <a:cubicBezTo>
                    <a:pt x="597" y="572"/>
                    <a:pt x="600" y="572"/>
                    <a:pt x="604" y="573"/>
                  </a:cubicBezTo>
                  <a:cubicBezTo>
                    <a:pt x="605" y="573"/>
                    <a:pt x="606" y="572"/>
                    <a:pt x="607" y="571"/>
                  </a:cubicBezTo>
                  <a:cubicBezTo>
                    <a:pt x="609" y="572"/>
                    <a:pt x="612" y="572"/>
                    <a:pt x="615" y="573"/>
                  </a:cubicBezTo>
                  <a:cubicBezTo>
                    <a:pt x="615" y="570"/>
                    <a:pt x="617" y="569"/>
                    <a:pt x="615" y="567"/>
                  </a:cubicBezTo>
                  <a:cubicBezTo>
                    <a:pt x="613" y="568"/>
                    <a:pt x="611" y="569"/>
                    <a:pt x="607" y="569"/>
                  </a:cubicBezTo>
                  <a:cubicBezTo>
                    <a:pt x="605" y="567"/>
                    <a:pt x="605" y="565"/>
                    <a:pt x="606" y="564"/>
                  </a:cubicBezTo>
                  <a:cubicBezTo>
                    <a:pt x="605" y="564"/>
                    <a:pt x="604" y="564"/>
                    <a:pt x="602" y="564"/>
                  </a:cubicBezTo>
                  <a:cubicBezTo>
                    <a:pt x="603" y="565"/>
                    <a:pt x="604" y="566"/>
                    <a:pt x="605" y="567"/>
                  </a:cubicBezTo>
                  <a:cubicBezTo>
                    <a:pt x="604" y="568"/>
                    <a:pt x="603" y="569"/>
                    <a:pt x="601" y="569"/>
                  </a:cubicBezTo>
                  <a:cubicBezTo>
                    <a:pt x="559" y="563"/>
                    <a:pt x="557" y="567"/>
                    <a:pt x="564" y="566"/>
                  </a:cubicBezTo>
                  <a:cubicBezTo>
                    <a:pt x="564" y="569"/>
                    <a:pt x="564" y="571"/>
                    <a:pt x="564" y="574"/>
                  </a:cubicBezTo>
                  <a:cubicBezTo>
                    <a:pt x="573" y="573"/>
                    <a:pt x="581" y="572"/>
                    <a:pt x="590" y="572"/>
                  </a:cubicBezTo>
                  <a:cubicBezTo>
                    <a:pt x="587" y="570"/>
                    <a:pt x="585" y="568"/>
                    <a:pt x="582" y="566"/>
                  </a:cubicBezTo>
                  <a:cubicBezTo>
                    <a:pt x="582" y="567"/>
                    <a:pt x="582" y="567"/>
                    <a:pt x="581" y="568"/>
                  </a:cubicBezTo>
                  <a:cubicBezTo>
                    <a:pt x="576" y="569"/>
                    <a:pt x="576" y="565"/>
                    <a:pt x="575" y="562"/>
                  </a:cubicBezTo>
                  <a:cubicBezTo>
                    <a:pt x="576" y="562"/>
                    <a:pt x="576" y="562"/>
                    <a:pt x="577" y="561"/>
                  </a:cubicBezTo>
                  <a:cubicBezTo>
                    <a:pt x="577" y="561"/>
                    <a:pt x="577" y="561"/>
                    <a:pt x="577" y="561"/>
                  </a:cubicBezTo>
                  <a:cubicBezTo>
                    <a:pt x="576" y="561"/>
                    <a:pt x="574" y="561"/>
                    <a:pt x="573" y="561"/>
                  </a:cubicBezTo>
                  <a:cubicBezTo>
                    <a:pt x="573" y="562"/>
                    <a:pt x="573" y="564"/>
                    <a:pt x="573" y="565"/>
                  </a:cubicBezTo>
                  <a:cubicBezTo>
                    <a:pt x="567" y="566"/>
                    <a:pt x="565" y="564"/>
                    <a:pt x="564" y="561"/>
                  </a:cubicBezTo>
                  <a:cubicBezTo>
                    <a:pt x="562" y="561"/>
                    <a:pt x="560" y="561"/>
                    <a:pt x="558" y="561"/>
                  </a:cubicBezTo>
                  <a:cubicBezTo>
                    <a:pt x="570" y="566"/>
                    <a:pt x="574" y="567"/>
                    <a:pt x="575" y="569"/>
                  </a:cubicBezTo>
                  <a:cubicBezTo>
                    <a:pt x="574" y="572"/>
                    <a:pt x="571" y="573"/>
                    <a:pt x="568" y="573"/>
                  </a:cubicBezTo>
                  <a:cubicBezTo>
                    <a:pt x="567" y="572"/>
                    <a:pt x="567" y="570"/>
                    <a:pt x="568" y="567"/>
                  </a:cubicBezTo>
                  <a:cubicBezTo>
                    <a:pt x="709" y="1069"/>
                    <a:pt x="706" y="1068"/>
                    <a:pt x="703" y="1067"/>
                  </a:cubicBezTo>
                  <a:cubicBezTo>
                    <a:pt x="702" y="1067"/>
                    <a:pt x="702" y="1067"/>
                    <a:pt x="702" y="1067"/>
                  </a:cubicBezTo>
                  <a:cubicBezTo>
                    <a:pt x="702" y="1068"/>
                    <a:pt x="702" y="1070"/>
                    <a:pt x="701" y="1070"/>
                  </a:cubicBezTo>
                  <a:cubicBezTo>
                    <a:pt x="697" y="1070"/>
                    <a:pt x="696" y="1067"/>
                    <a:pt x="697" y="1065"/>
                  </a:cubicBezTo>
                  <a:cubicBezTo>
                    <a:pt x="696" y="1064"/>
                    <a:pt x="695" y="1064"/>
                    <a:pt x="694" y="1063"/>
                  </a:cubicBezTo>
                  <a:cubicBezTo>
                    <a:pt x="692" y="1063"/>
                    <a:pt x="690" y="1064"/>
                    <a:pt x="689" y="1063"/>
                  </a:cubicBezTo>
                  <a:cubicBezTo>
                    <a:pt x="689" y="1062"/>
                    <a:pt x="690" y="1062"/>
                    <a:pt x="690" y="1062"/>
                  </a:cubicBezTo>
                  <a:cubicBezTo>
                    <a:pt x="689" y="1061"/>
                    <a:pt x="688" y="1061"/>
                    <a:pt x="687" y="1061"/>
                  </a:cubicBezTo>
                  <a:cubicBezTo>
                    <a:pt x="687" y="1061"/>
                    <a:pt x="687" y="1061"/>
                    <a:pt x="687" y="1061"/>
                  </a:cubicBezTo>
                  <a:cubicBezTo>
                    <a:pt x="685" y="1061"/>
                    <a:pt x="684" y="1061"/>
                    <a:pt x="684" y="1060"/>
                  </a:cubicBezTo>
                  <a:cubicBezTo>
                    <a:pt x="683" y="1062"/>
                    <a:pt x="682" y="1063"/>
                    <a:pt x="681" y="1065"/>
                  </a:cubicBezTo>
                  <a:cubicBezTo>
                    <a:pt x="683" y="1066"/>
                    <a:pt x="685" y="1067"/>
                    <a:pt x="687" y="1068"/>
                  </a:cubicBezTo>
                  <a:cubicBezTo>
                    <a:pt x="688" y="1067"/>
                    <a:pt x="689" y="1067"/>
                    <a:pt x="690" y="1067"/>
                  </a:cubicBezTo>
                  <a:cubicBezTo>
                    <a:pt x="690" y="1068"/>
                    <a:pt x="690" y="1068"/>
                    <a:pt x="690" y="1069"/>
                  </a:cubicBezTo>
                  <a:cubicBezTo>
                    <a:pt x="692" y="1070"/>
                    <a:pt x="694" y="1071"/>
                    <a:pt x="696" y="1071"/>
                  </a:cubicBezTo>
                  <a:cubicBezTo>
                    <a:pt x="695" y="1069"/>
                    <a:pt x="692" y="1068"/>
                    <a:pt x="692" y="1065"/>
                  </a:cubicBezTo>
                  <a:cubicBezTo>
                    <a:pt x="694" y="1067"/>
                    <a:pt x="698" y="1068"/>
                    <a:pt x="698" y="1072"/>
                  </a:cubicBezTo>
                  <a:cubicBezTo>
                    <a:pt x="698" y="1072"/>
                    <a:pt x="699" y="1073"/>
                    <a:pt x="700" y="1073"/>
                  </a:cubicBezTo>
                  <a:cubicBezTo>
                    <a:pt x="719" y="1081"/>
                    <a:pt x="739" y="1088"/>
                    <a:pt x="760" y="1093"/>
                  </a:cubicBezTo>
                  <a:cubicBezTo>
                    <a:pt x="771" y="1093"/>
                    <a:pt x="771" y="1093"/>
                    <a:pt x="771" y="1093"/>
                  </a:cubicBezTo>
                  <a:cubicBezTo>
                    <a:pt x="771" y="1093"/>
                    <a:pt x="771" y="1093"/>
                    <a:pt x="771" y="1093"/>
                  </a:cubicBezTo>
                  <a:cubicBezTo>
                    <a:pt x="772" y="1093"/>
                    <a:pt x="772" y="1093"/>
                    <a:pt x="772" y="1093"/>
                  </a:cubicBezTo>
                  <a:cubicBezTo>
                    <a:pt x="784" y="1093"/>
                    <a:pt x="784" y="1093"/>
                    <a:pt x="784" y="1093"/>
                  </a:cubicBezTo>
                  <a:cubicBezTo>
                    <a:pt x="783" y="1094"/>
                    <a:pt x="783" y="1095"/>
                    <a:pt x="782" y="1096"/>
                  </a:cubicBezTo>
                  <a:cubicBezTo>
                    <a:pt x="783" y="1094"/>
                    <a:pt x="786" y="1094"/>
                    <a:pt x="787" y="1093"/>
                  </a:cubicBezTo>
                  <a:cubicBezTo>
                    <a:pt x="787" y="1093"/>
                    <a:pt x="787" y="1093"/>
                    <a:pt x="787" y="1093"/>
                  </a:cubicBezTo>
                  <a:cubicBezTo>
                    <a:pt x="806" y="1092"/>
                    <a:pt x="806" y="1092"/>
                    <a:pt x="806" y="1092"/>
                  </a:cubicBezTo>
                  <a:cubicBezTo>
                    <a:pt x="806" y="1093"/>
                    <a:pt x="806" y="1093"/>
                    <a:pt x="806" y="1093"/>
                  </a:cubicBezTo>
                  <a:cubicBezTo>
                    <a:pt x="806" y="1094"/>
                    <a:pt x="806" y="1094"/>
                    <a:pt x="806" y="1094"/>
                  </a:cubicBezTo>
                  <a:cubicBezTo>
                    <a:pt x="807" y="1094"/>
                    <a:pt x="808" y="1094"/>
                    <a:pt x="808" y="1095"/>
                  </a:cubicBezTo>
                  <a:cubicBezTo>
                    <a:pt x="808" y="1096"/>
                    <a:pt x="808" y="1096"/>
                    <a:pt x="808" y="1096"/>
                  </a:cubicBezTo>
                  <a:cubicBezTo>
                    <a:pt x="808" y="1097"/>
                    <a:pt x="809" y="1098"/>
                    <a:pt x="810" y="1099"/>
                  </a:cubicBezTo>
                  <a:cubicBezTo>
                    <a:pt x="815" y="1099"/>
                    <a:pt x="821" y="1098"/>
                    <a:pt x="827" y="1098"/>
                  </a:cubicBezTo>
                  <a:cubicBezTo>
                    <a:pt x="826" y="1097"/>
                    <a:pt x="827" y="1095"/>
                    <a:pt x="828" y="1094"/>
                  </a:cubicBezTo>
                  <a:cubicBezTo>
                    <a:pt x="828" y="1093"/>
                    <a:pt x="827" y="1093"/>
                    <a:pt x="827" y="1092"/>
                  </a:cubicBezTo>
                  <a:cubicBezTo>
                    <a:pt x="840" y="1092"/>
                    <a:pt x="840" y="1092"/>
                    <a:pt x="840" y="1092"/>
                  </a:cubicBezTo>
                  <a:cubicBezTo>
                    <a:pt x="840" y="1094"/>
                    <a:pt x="839" y="1095"/>
                    <a:pt x="838" y="1097"/>
                  </a:cubicBezTo>
                  <a:cubicBezTo>
                    <a:pt x="841" y="1096"/>
                    <a:pt x="843" y="1096"/>
                    <a:pt x="845" y="1096"/>
                  </a:cubicBezTo>
                  <a:cubicBezTo>
                    <a:pt x="845" y="1095"/>
                    <a:pt x="844" y="1093"/>
                    <a:pt x="844" y="1092"/>
                  </a:cubicBezTo>
                  <a:cubicBezTo>
                    <a:pt x="851" y="1092"/>
                    <a:pt x="851" y="1092"/>
                    <a:pt x="851" y="1092"/>
                  </a:cubicBezTo>
                  <a:cubicBezTo>
                    <a:pt x="851" y="1093"/>
                    <a:pt x="852" y="1094"/>
                    <a:pt x="853" y="1094"/>
                  </a:cubicBezTo>
                  <a:cubicBezTo>
                    <a:pt x="857" y="1094"/>
                    <a:pt x="860" y="1093"/>
                    <a:pt x="864" y="1092"/>
                  </a:cubicBezTo>
                  <a:cubicBezTo>
                    <a:pt x="864" y="1092"/>
                    <a:pt x="864" y="1092"/>
                    <a:pt x="864" y="1092"/>
                  </a:cubicBezTo>
                  <a:cubicBezTo>
                    <a:pt x="865" y="1092"/>
                    <a:pt x="865" y="1092"/>
                    <a:pt x="865" y="1092"/>
                  </a:cubicBezTo>
                  <a:cubicBezTo>
                    <a:pt x="883" y="1088"/>
                    <a:pt x="901" y="1081"/>
                    <a:pt x="919" y="1074"/>
                  </a:cubicBezTo>
                  <a:cubicBezTo>
                    <a:pt x="901" y="1074"/>
                    <a:pt x="901" y="1074"/>
                    <a:pt x="901" y="1074"/>
                  </a:cubicBezTo>
                  <a:cubicBezTo>
                    <a:pt x="866" y="1087"/>
                    <a:pt x="830" y="1094"/>
                    <a:pt x="793" y="1091"/>
                  </a:cubicBezTo>
                  <a:cubicBezTo>
                    <a:pt x="765" y="1089"/>
                    <a:pt x="738" y="1081"/>
                    <a:pt x="711" y="1070"/>
                  </a:cubicBezTo>
                  <a:cubicBezTo>
                    <a:pt x="709" y="1076"/>
                    <a:pt x="709" y="1076"/>
                    <a:pt x="709" y="1076"/>
                  </a:cubicBezTo>
                  <a:cubicBezTo>
                    <a:pt x="709" y="1075"/>
                    <a:pt x="709" y="1074"/>
                    <a:pt x="709" y="1073"/>
                  </a:cubicBezTo>
                  <a:cubicBezTo>
                    <a:pt x="713" y="1072"/>
                    <a:pt x="712" y="1073"/>
                    <a:pt x="716" y="1073"/>
                  </a:cubicBezTo>
                  <a:cubicBezTo>
                    <a:pt x="716" y="1074"/>
                    <a:pt x="716" y="1074"/>
                    <a:pt x="716" y="1074"/>
                  </a:cubicBezTo>
                  <a:cubicBezTo>
                    <a:pt x="717" y="1074"/>
                    <a:pt x="717" y="1076"/>
                    <a:pt x="720" y="1076"/>
                  </a:cubicBezTo>
                  <a:cubicBezTo>
                    <a:pt x="720" y="1076"/>
                    <a:pt x="720" y="1076"/>
                    <a:pt x="720" y="1076"/>
                  </a:cubicBezTo>
                  <a:cubicBezTo>
                    <a:pt x="781" y="974"/>
                    <a:pt x="820" y="973"/>
                    <a:pt x="857" y="968"/>
                  </a:cubicBezTo>
                  <a:cubicBezTo>
                    <a:pt x="821" y="968"/>
                    <a:pt x="821" y="968"/>
                    <a:pt x="821" y="968"/>
                  </a:cubicBezTo>
                  <a:cubicBezTo>
                    <a:pt x="821" y="967"/>
                    <a:pt x="820" y="966"/>
                    <a:pt x="819" y="965"/>
                  </a:cubicBezTo>
                  <a:cubicBezTo>
                    <a:pt x="819" y="965"/>
                    <a:pt x="819" y="965"/>
                    <a:pt x="819" y="965"/>
                  </a:cubicBezTo>
                  <a:cubicBezTo>
                    <a:pt x="819" y="966"/>
                    <a:pt x="819" y="967"/>
                    <a:pt x="819" y="968"/>
                  </a:cubicBezTo>
                  <a:cubicBezTo>
                    <a:pt x="808" y="968"/>
                    <a:pt x="808" y="968"/>
                    <a:pt x="808" y="968"/>
                  </a:cubicBezTo>
                  <a:cubicBezTo>
                    <a:pt x="808" y="967"/>
                    <a:pt x="808" y="967"/>
                    <a:pt x="808" y="966"/>
                  </a:cubicBezTo>
                  <a:cubicBezTo>
                    <a:pt x="808" y="966"/>
                    <a:pt x="808" y="966"/>
                    <a:pt x="809" y="966"/>
                  </a:cubicBezTo>
                  <a:cubicBezTo>
                    <a:pt x="808" y="966"/>
                    <a:pt x="807" y="966"/>
                    <a:pt x="806" y="966"/>
                  </a:cubicBezTo>
                  <a:cubicBezTo>
                    <a:pt x="806" y="967"/>
                    <a:pt x="805" y="967"/>
                    <a:pt x="804" y="968"/>
                  </a:cubicBezTo>
                  <a:cubicBezTo>
                    <a:pt x="790" y="968"/>
                    <a:pt x="790" y="968"/>
                    <a:pt x="790" y="968"/>
                  </a:cubicBezTo>
                  <a:cubicBezTo>
                    <a:pt x="791" y="968"/>
                    <a:pt x="792" y="967"/>
                    <a:pt x="792" y="966"/>
                  </a:cubicBezTo>
                  <a:cubicBezTo>
                    <a:pt x="792" y="966"/>
                    <a:pt x="792" y="966"/>
                    <a:pt x="792" y="966"/>
                  </a:cubicBezTo>
                  <a:cubicBezTo>
                    <a:pt x="792" y="966"/>
                    <a:pt x="792" y="966"/>
                    <a:pt x="792" y="966"/>
                  </a:cubicBezTo>
                  <a:cubicBezTo>
                    <a:pt x="791" y="966"/>
                    <a:pt x="790" y="967"/>
                    <a:pt x="789" y="966"/>
                  </a:cubicBezTo>
                  <a:cubicBezTo>
                    <a:pt x="789" y="966"/>
                    <a:pt x="789" y="966"/>
                    <a:pt x="789" y="966"/>
                  </a:cubicBezTo>
                  <a:cubicBezTo>
                    <a:pt x="787" y="966"/>
                    <a:pt x="785" y="966"/>
                    <a:pt x="784" y="966"/>
                  </a:cubicBezTo>
                  <a:cubicBezTo>
                    <a:pt x="783" y="966"/>
                    <a:pt x="783" y="966"/>
                    <a:pt x="783" y="966"/>
                  </a:cubicBezTo>
                  <a:cubicBezTo>
                    <a:pt x="783" y="966"/>
                    <a:pt x="783" y="966"/>
                    <a:pt x="782" y="966"/>
                  </a:cubicBezTo>
                  <a:cubicBezTo>
                    <a:pt x="781" y="965"/>
                    <a:pt x="780" y="965"/>
                    <a:pt x="779" y="965"/>
                  </a:cubicBezTo>
                  <a:cubicBezTo>
                    <a:pt x="779" y="966"/>
                    <a:pt x="779" y="966"/>
                    <a:pt x="779" y="967"/>
                  </a:cubicBezTo>
                  <a:cubicBezTo>
                    <a:pt x="780" y="967"/>
                    <a:pt x="781" y="967"/>
                    <a:pt x="781" y="968"/>
                  </a:cubicBezTo>
                  <a:cubicBezTo>
                    <a:pt x="776" y="968"/>
                    <a:pt x="776" y="968"/>
                    <a:pt x="776" y="968"/>
                  </a:cubicBezTo>
                  <a:cubicBezTo>
                    <a:pt x="776" y="968"/>
                    <a:pt x="776" y="968"/>
                    <a:pt x="776" y="968"/>
                  </a:cubicBezTo>
                  <a:cubicBezTo>
                    <a:pt x="776" y="967"/>
                    <a:pt x="776" y="966"/>
                    <a:pt x="777" y="965"/>
                  </a:cubicBezTo>
                  <a:cubicBezTo>
                    <a:pt x="776" y="965"/>
                    <a:pt x="775" y="965"/>
                    <a:pt x="774" y="965"/>
                  </a:cubicBezTo>
                  <a:cubicBezTo>
                    <a:pt x="773" y="966"/>
                    <a:pt x="771" y="967"/>
                    <a:pt x="770" y="967"/>
                  </a:cubicBezTo>
                  <a:cubicBezTo>
                    <a:pt x="770" y="967"/>
                    <a:pt x="770" y="968"/>
                    <a:pt x="770" y="968"/>
                  </a:cubicBezTo>
                  <a:cubicBezTo>
                    <a:pt x="752" y="969"/>
                    <a:pt x="752" y="969"/>
                    <a:pt x="752" y="969"/>
                  </a:cubicBezTo>
                  <a:cubicBezTo>
                    <a:pt x="751" y="967"/>
                    <a:pt x="751" y="965"/>
                    <a:pt x="751" y="963"/>
                  </a:cubicBezTo>
                  <a:cubicBezTo>
                    <a:pt x="751" y="963"/>
                    <a:pt x="751" y="963"/>
                    <a:pt x="750" y="963"/>
                  </a:cubicBezTo>
                  <a:cubicBezTo>
                    <a:pt x="749" y="962"/>
                    <a:pt x="748" y="962"/>
                    <a:pt x="746" y="962"/>
                  </a:cubicBezTo>
                  <a:cubicBezTo>
                    <a:pt x="745" y="962"/>
                    <a:pt x="744" y="962"/>
                    <a:pt x="743" y="962"/>
                  </a:cubicBezTo>
                  <a:cubicBezTo>
                    <a:pt x="744" y="962"/>
                    <a:pt x="744" y="962"/>
                    <a:pt x="744" y="961"/>
                  </a:cubicBezTo>
                  <a:cubicBezTo>
                    <a:pt x="743" y="961"/>
                    <a:pt x="743" y="961"/>
                    <a:pt x="743" y="961"/>
                  </a:cubicBezTo>
                  <a:cubicBezTo>
                    <a:pt x="745" y="963"/>
                    <a:pt x="745" y="966"/>
                    <a:pt x="746" y="969"/>
                  </a:cubicBezTo>
                  <a:cubicBezTo>
                    <a:pt x="455" y="1038"/>
                    <a:pt x="459" y="1043"/>
                    <a:pt x="463" y="1048"/>
                  </a:cubicBezTo>
                  <a:cubicBezTo>
                    <a:pt x="468" y="1053"/>
                    <a:pt x="473" y="1058"/>
                    <a:pt x="478" y="1063"/>
                  </a:cubicBezTo>
                  <a:cubicBezTo>
                    <a:pt x="478" y="1063"/>
                    <a:pt x="478" y="1063"/>
                    <a:pt x="479" y="1063"/>
                  </a:cubicBezTo>
                  <a:cubicBezTo>
                    <a:pt x="480" y="1062"/>
                    <a:pt x="481" y="1061"/>
                    <a:pt x="483" y="1060"/>
                  </a:cubicBezTo>
                  <a:cubicBezTo>
                    <a:pt x="484" y="1060"/>
                    <a:pt x="484" y="1060"/>
                    <a:pt x="484" y="1060"/>
                  </a:cubicBezTo>
                  <a:cubicBezTo>
                    <a:pt x="483" y="1059"/>
                    <a:pt x="482" y="1058"/>
                    <a:pt x="481" y="1057"/>
                  </a:cubicBezTo>
                  <a:cubicBezTo>
                    <a:pt x="476" y="1052"/>
                    <a:pt x="472" y="1047"/>
                    <a:pt x="467" y="1042"/>
                  </a:cubicBezTo>
                  <a:cubicBezTo>
                    <a:pt x="459" y="1042"/>
                    <a:pt x="459" y="1042"/>
                    <a:pt x="459" y="1042"/>
                  </a:cubicBezTo>
                  <a:cubicBezTo>
                    <a:pt x="460" y="1042"/>
                    <a:pt x="461" y="1042"/>
                    <a:pt x="461" y="1041"/>
                  </a:cubicBezTo>
                  <a:cubicBezTo>
                    <a:pt x="459" y="1038"/>
                    <a:pt x="456" y="1033"/>
                    <a:pt x="456" y="1028"/>
                  </a:cubicBezTo>
                  <a:cubicBezTo>
                    <a:pt x="451" y="1021"/>
                    <a:pt x="446" y="1014"/>
                    <a:pt x="442" y="1007"/>
                  </a:cubicBezTo>
                  <a:cubicBezTo>
                    <a:pt x="435" y="1007"/>
                    <a:pt x="435" y="1007"/>
                    <a:pt x="435" y="1007"/>
                  </a:cubicBezTo>
                  <a:cubicBezTo>
                    <a:pt x="437" y="1005"/>
                    <a:pt x="440" y="1005"/>
                    <a:pt x="442" y="1007"/>
                  </a:cubicBezTo>
                  <a:cubicBezTo>
                    <a:pt x="440" y="1005"/>
                    <a:pt x="439" y="1002"/>
                    <a:pt x="438" y="1000"/>
                  </a:cubicBezTo>
                  <a:cubicBezTo>
                    <a:pt x="437" y="1002"/>
                    <a:pt x="435" y="1004"/>
                    <a:pt x="434" y="1003"/>
                  </a:cubicBezTo>
                  <a:cubicBezTo>
                    <a:pt x="431" y="1000"/>
                    <a:pt x="433" y="998"/>
                    <a:pt x="435" y="995"/>
                  </a:cubicBezTo>
                  <a:cubicBezTo>
                    <a:pt x="430" y="987"/>
                    <a:pt x="426" y="979"/>
                    <a:pt x="423" y="971"/>
                  </a:cubicBezTo>
                  <a:cubicBezTo>
                    <a:pt x="415" y="971"/>
                    <a:pt x="415" y="971"/>
                    <a:pt x="415" y="971"/>
                  </a:cubicBezTo>
                  <a:cubicBezTo>
                    <a:pt x="418" y="977"/>
                    <a:pt x="420" y="982"/>
                    <a:pt x="423" y="987"/>
                  </a:cubicBezTo>
                  <a:cubicBezTo>
                    <a:pt x="423" y="987"/>
                    <a:pt x="423" y="988"/>
                    <a:pt x="424" y="989"/>
                  </a:cubicBezTo>
                  <a:cubicBezTo>
                    <a:pt x="428" y="989"/>
                    <a:pt x="428" y="989"/>
                    <a:pt x="428" y="989"/>
                  </a:cubicBezTo>
                  <a:cubicBezTo>
                    <a:pt x="428" y="989"/>
                    <a:pt x="427" y="990"/>
                    <a:pt x="427" y="991"/>
                  </a:cubicBezTo>
                  <a:cubicBezTo>
                    <a:pt x="426" y="991"/>
                    <a:pt x="426" y="991"/>
                    <a:pt x="425" y="991"/>
                  </a:cubicBezTo>
                  <a:cubicBezTo>
                    <a:pt x="431" y="1003"/>
                    <a:pt x="438" y="1014"/>
                    <a:pt x="445" y="1024"/>
                  </a:cubicBezTo>
                  <a:cubicBezTo>
                    <a:pt x="447" y="1024"/>
                    <a:pt x="447" y="1024"/>
                    <a:pt x="447" y="1024"/>
                  </a:cubicBezTo>
                  <a:cubicBezTo>
                    <a:pt x="449" y="1027"/>
                    <a:pt x="451" y="1029"/>
                    <a:pt x="452" y="1031"/>
                  </a:cubicBezTo>
                  <a:cubicBezTo>
                    <a:pt x="452" y="1031"/>
                    <a:pt x="451" y="1032"/>
                    <a:pt x="451" y="1032"/>
                  </a:cubicBezTo>
                  <a:cubicBezTo>
                    <a:pt x="841" y="925"/>
                    <a:pt x="836" y="925"/>
                    <a:pt x="832" y="926"/>
                  </a:cubicBezTo>
                  <a:cubicBezTo>
                    <a:pt x="831" y="926"/>
                    <a:pt x="830" y="926"/>
                    <a:pt x="829" y="926"/>
                  </a:cubicBezTo>
                  <a:cubicBezTo>
                    <a:pt x="829" y="927"/>
                    <a:pt x="829" y="928"/>
                    <a:pt x="829" y="929"/>
                  </a:cubicBezTo>
                  <a:cubicBezTo>
                    <a:pt x="830" y="930"/>
                    <a:pt x="834" y="928"/>
                    <a:pt x="835" y="930"/>
                  </a:cubicBezTo>
                  <a:cubicBezTo>
                    <a:pt x="835" y="930"/>
                    <a:pt x="835" y="930"/>
                    <a:pt x="835" y="930"/>
                  </a:cubicBezTo>
                  <a:cubicBezTo>
                    <a:pt x="836" y="928"/>
                    <a:pt x="839" y="929"/>
                    <a:pt x="841" y="929"/>
                  </a:cubicBezTo>
                  <a:cubicBezTo>
                    <a:pt x="842" y="930"/>
                    <a:pt x="841" y="931"/>
                    <a:pt x="841" y="932"/>
                  </a:cubicBezTo>
                  <a:cubicBezTo>
                    <a:pt x="843" y="932"/>
                    <a:pt x="845" y="931"/>
                    <a:pt x="847" y="931"/>
                  </a:cubicBezTo>
                  <a:cubicBezTo>
                    <a:pt x="847" y="931"/>
                    <a:pt x="847" y="930"/>
                    <a:pt x="847" y="930"/>
                  </a:cubicBezTo>
                  <a:cubicBezTo>
                    <a:pt x="850" y="930"/>
                    <a:pt x="853" y="930"/>
                    <a:pt x="854" y="928"/>
                  </a:cubicBezTo>
                  <a:cubicBezTo>
                    <a:pt x="854" y="928"/>
                    <a:pt x="853" y="928"/>
                    <a:pt x="852" y="927"/>
                  </a:cubicBezTo>
                  <a:cubicBezTo>
                    <a:pt x="853" y="925"/>
                    <a:pt x="852" y="924"/>
                    <a:pt x="851" y="923"/>
                  </a:cubicBezTo>
                  <a:cubicBezTo>
                    <a:pt x="851" y="923"/>
                    <a:pt x="850" y="923"/>
                    <a:pt x="849" y="923"/>
                  </a:cubicBezTo>
                  <a:cubicBezTo>
                    <a:pt x="849" y="924"/>
                    <a:pt x="850" y="924"/>
                    <a:pt x="850" y="924"/>
                  </a:cubicBezTo>
                  <a:cubicBezTo>
                    <a:pt x="848" y="925"/>
                    <a:pt x="847" y="925"/>
                    <a:pt x="846" y="924"/>
                  </a:cubicBezTo>
                  <a:cubicBezTo>
                    <a:pt x="992" y="954"/>
                    <a:pt x="994" y="954"/>
                    <a:pt x="995" y="955"/>
                  </a:cubicBezTo>
                  <a:cubicBezTo>
                    <a:pt x="995" y="955"/>
                    <a:pt x="996" y="955"/>
                    <a:pt x="996" y="955"/>
                  </a:cubicBezTo>
                  <a:cubicBezTo>
                    <a:pt x="997" y="952"/>
                    <a:pt x="998" y="950"/>
                    <a:pt x="999" y="949"/>
                  </a:cubicBezTo>
                  <a:cubicBezTo>
                    <a:pt x="999" y="948"/>
                    <a:pt x="999" y="948"/>
                    <a:pt x="999" y="948"/>
                  </a:cubicBezTo>
                  <a:cubicBezTo>
                    <a:pt x="1006" y="948"/>
                    <a:pt x="1006" y="948"/>
                    <a:pt x="1006" y="948"/>
                  </a:cubicBezTo>
                  <a:cubicBezTo>
                    <a:pt x="1006" y="948"/>
                    <a:pt x="1006" y="948"/>
                    <a:pt x="1006" y="948"/>
                  </a:cubicBezTo>
                  <a:cubicBezTo>
                    <a:pt x="1007" y="948"/>
                    <a:pt x="1008" y="949"/>
                    <a:pt x="1008" y="949"/>
                  </a:cubicBezTo>
                  <a:cubicBezTo>
                    <a:pt x="1009" y="949"/>
                    <a:pt x="1010" y="948"/>
                    <a:pt x="1010" y="948"/>
                  </a:cubicBezTo>
                  <a:cubicBezTo>
                    <a:pt x="1010" y="948"/>
                    <a:pt x="1010" y="948"/>
                    <a:pt x="1010" y="948"/>
                  </a:cubicBezTo>
                  <a:cubicBezTo>
                    <a:pt x="1010" y="948"/>
                    <a:pt x="1010" y="948"/>
                    <a:pt x="1010" y="948"/>
                  </a:cubicBezTo>
                  <a:cubicBezTo>
                    <a:pt x="1023" y="942"/>
                    <a:pt x="1035" y="935"/>
                    <a:pt x="1047" y="929"/>
                  </a:cubicBezTo>
                  <a:cubicBezTo>
                    <a:pt x="1047" y="929"/>
                    <a:pt x="1046" y="929"/>
                    <a:pt x="1046" y="929"/>
                  </a:cubicBezTo>
                  <a:cubicBezTo>
                    <a:pt x="1045" y="927"/>
                    <a:pt x="1043" y="925"/>
                    <a:pt x="1042" y="923"/>
                  </a:cubicBezTo>
                  <a:cubicBezTo>
                    <a:pt x="1040" y="925"/>
                    <a:pt x="1037" y="926"/>
                    <a:pt x="1035" y="927"/>
                  </a:cubicBezTo>
                  <a:cubicBezTo>
                    <a:pt x="1035" y="928"/>
                    <a:pt x="1036" y="929"/>
                    <a:pt x="1036" y="930"/>
                  </a:cubicBezTo>
                  <a:cubicBezTo>
                    <a:pt x="1029" y="930"/>
                    <a:pt x="1029" y="930"/>
                    <a:pt x="1029" y="930"/>
                  </a:cubicBezTo>
                  <a:cubicBezTo>
                    <a:pt x="1017" y="936"/>
                    <a:pt x="1006" y="942"/>
                    <a:pt x="994" y="948"/>
                  </a:cubicBezTo>
                  <a:cubicBezTo>
                    <a:pt x="993" y="949"/>
                    <a:pt x="992" y="950"/>
                    <a:pt x="992" y="951"/>
                  </a:cubicBezTo>
                  <a:cubicBezTo>
                    <a:pt x="1046" y="965"/>
                    <a:pt x="1046" y="965"/>
                    <a:pt x="1045" y="964"/>
                  </a:cubicBezTo>
                  <a:cubicBezTo>
                    <a:pt x="1044" y="964"/>
                    <a:pt x="1043" y="965"/>
                    <a:pt x="1042" y="966"/>
                  </a:cubicBezTo>
                  <a:cubicBezTo>
                    <a:pt x="1042" y="966"/>
                    <a:pt x="1042" y="966"/>
                    <a:pt x="1042" y="966"/>
                  </a:cubicBezTo>
                  <a:cubicBezTo>
                    <a:pt x="1042" y="966"/>
                    <a:pt x="1042" y="966"/>
                    <a:pt x="1042" y="966"/>
                  </a:cubicBezTo>
                  <a:cubicBezTo>
                    <a:pt x="1042" y="966"/>
                    <a:pt x="1042" y="966"/>
                    <a:pt x="1042" y="966"/>
                  </a:cubicBezTo>
                  <a:cubicBezTo>
                    <a:pt x="1032" y="972"/>
                    <a:pt x="1023" y="978"/>
                    <a:pt x="1013" y="984"/>
                  </a:cubicBezTo>
                  <a:cubicBezTo>
                    <a:pt x="1022" y="984"/>
                    <a:pt x="1022" y="984"/>
                    <a:pt x="1022" y="984"/>
                  </a:cubicBezTo>
                  <a:cubicBezTo>
                    <a:pt x="1022" y="984"/>
                    <a:pt x="1022" y="985"/>
                    <a:pt x="1022" y="986"/>
                  </a:cubicBezTo>
                  <a:cubicBezTo>
                    <a:pt x="1023" y="986"/>
                    <a:pt x="1023" y="986"/>
                    <a:pt x="1023" y="986"/>
                  </a:cubicBezTo>
                  <a:cubicBezTo>
                    <a:pt x="1023" y="985"/>
                    <a:pt x="1023" y="985"/>
                    <a:pt x="1024" y="984"/>
                  </a:cubicBezTo>
                  <a:cubicBezTo>
                    <a:pt x="1024" y="984"/>
                    <a:pt x="1025" y="984"/>
                    <a:pt x="1026" y="984"/>
                  </a:cubicBezTo>
                  <a:cubicBezTo>
                    <a:pt x="1036" y="978"/>
                    <a:pt x="1046" y="972"/>
                    <a:pt x="1056" y="966"/>
                  </a:cubicBezTo>
                  <a:cubicBezTo>
                    <a:pt x="1060" y="964"/>
                    <a:pt x="1064" y="961"/>
                    <a:pt x="1067" y="959"/>
                  </a:cubicBezTo>
                  <a:cubicBezTo>
                    <a:pt x="1067" y="958"/>
                    <a:pt x="1068" y="956"/>
                    <a:pt x="1069" y="955"/>
                  </a:cubicBezTo>
                  <a:cubicBezTo>
                    <a:pt x="1069" y="954"/>
                    <a:pt x="1068" y="952"/>
                    <a:pt x="1067" y="951"/>
                  </a:cubicBezTo>
                  <a:cubicBezTo>
                    <a:pt x="1065" y="952"/>
                    <a:pt x="1064" y="953"/>
                    <a:pt x="1062" y="953"/>
                  </a:cubicBezTo>
                  <a:cubicBezTo>
                    <a:pt x="1063" y="954"/>
                    <a:pt x="1064" y="955"/>
                    <a:pt x="1064" y="956"/>
                  </a:cubicBezTo>
                  <a:cubicBezTo>
                    <a:pt x="1064" y="959"/>
                    <a:pt x="1062" y="959"/>
                    <a:pt x="1058" y="959"/>
                  </a:cubicBezTo>
                  <a:cubicBezTo>
                    <a:pt x="1058" y="958"/>
                    <a:pt x="1058" y="957"/>
                    <a:pt x="1058" y="956"/>
                  </a:cubicBezTo>
                  <a:cubicBezTo>
                    <a:pt x="1057" y="956"/>
                    <a:pt x="1057" y="956"/>
                    <a:pt x="1057" y="957"/>
                  </a:cubicBezTo>
                  <a:cubicBezTo>
                    <a:pt x="1057" y="959"/>
                    <a:pt x="1057" y="962"/>
                    <a:pt x="1052" y="962"/>
                  </a:cubicBezTo>
                  <a:cubicBezTo>
                    <a:pt x="1052" y="961"/>
                    <a:pt x="1052" y="960"/>
                    <a:pt x="1052" y="960"/>
                  </a:cubicBezTo>
                  <a:cubicBezTo>
                    <a:pt x="1051" y="960"/>
                    <a:pt x="1050" y="961"/>
                    <a:pt x="1049" y="962"/>
                  </a:cubicBezTo>
                  <a:cubicBezTo>
                    <a:pt x="1050" y="961"/>
                    <a:pt x="1050" y="962"/>
                    <a:pt x="1051" y="962"/>
                  </a:cubicBezTo>
                  <a:cubicBezTo>
                    <a:pt x="1051" y="963"/>
                    <a:pt x="1051" y="965"/>
                    <a:pt x="1051" y="966"/>
                  </a:cubicBezTo>
                  <a:cubicBezTo>
                    <a:pt x="863" y="921"/>
                    <a:pt x="864" y="922"/>
                    <a:pt x="864" y="924"/>
                  </a:cubicBezTo>
                  <a:cubicBezTo>
                    <a:pt x="875" y="924"/>
                    <a:pt x="875" y="924"/>
                    <a:pt x="875" y="924"/>
                  </a:cubicBezTo>
                  <a:cubicBezTo>
                    <a:pt x="875" y="922"/>
                    <a:pt x="873" y="921"/>
                    <a:pt x="873" y="920"/>
                  </a:cubicBezTo>
                  <a:cubicBezTo>
                    <a:pt x="871" y="920"/>
                    <a:pt x="870" y="921"/>
                    <a:pt x="868" y="921"/>
                  </a:cubicBezTo>
                  <a:cubicBezTo>
                    <a:pt x="868" y="920"/>
                    <a:pt x="868" y="920"/>
                    <a:pt x="868" y="920"/>
                  </a:cubicBezTo>
                  <a:cubicBezTo>
                    <a:pt x="866" y="920"/>
                    <a:pt x="864" y="921"/>
                    <a:pt x="862" y="921"/>
                  </a:cubicBezTo>
                  <a:cubicBezTo>
                    <a:pt x="912" y="889"/>
                    <a:pt x="912" y="888"/>
                    <a:pt x="913" y="888"/>
                  </a:cubicBezTo>
                  <a:cubicBezTo>
                    <a:pt x="912" y="888"/>
                    <a:pt x="912" y="888"/>
                    <a:pt x="912" y="888"/>
                  </a:cubicBezTo>
                  <a:cubicBezTo>
                    <a:pt x="912" y="888"/>
                    <a:pt x="912" y="888"/>
                    <a:pt x="912" y="888"/>
                  </a:cubicBezTo>
                  <a:cubicBezTo>
                    <a:pt x="912" y="888"/>
                    <a:pt x="912" y="889"/>
                    <a:pt x="911" y="889"/>
                  </a:cubicBezTo>
                  <a:cubicBezTo>
                    <a:pt x="912" y="889"/>
                    <a:pt x="912" y="889"/>
                    <a:pt x="912" y="889"/>
                  </a:cubicBezTo>
                  <a:cubicBezTo>
                    <a:pt x="926" y="884"/>
                    <a:pt x="925" y="884"/>
                    <a:pt x="925" y="885"/>
                  </a:cubicBezTo>
                  <a:cubicBezTo>
                    <a:pt x="925" y="885"/>
                    <a:pt x="925" y="885"/>
                    <a:pt x="926" y="885"/>
                  </a:cubicBezTo>
                  <a:cubicBezTo>
                    <a:pt x="926" y="885"/>
                    <a:pt x="926" y="885"/>
                    <a:pt x="926" y="884"/>
                  </a:cubicBezTo>
                  <a:cubicBezTo>
                    <a:pt x="677" y="886"/>
                    <a:pt x="676" y="885"/>
                    <a:pt x="675" y="884"/>
                  </a:cubicBezTo>
                  <a:cubicBezTo>
                    <a:pt x="674" y="886"/>
                    <a:pt x="675" y="889"/>
                    <a:pt x="673" y="890"/>
                  </a:cubicBezTo>
                  <a:cubicBezTo>
                    <a:pt x="672" y="890"/>
                    <a:pt x="671" y="889"/>
                    <a:pt x="670" y="889"/>
                  </a:cubicBezTo>
                  <a:cubicBezTo>
                    <a:pt x="670" y="890"/>
                    <a:pt x="671" y="890"/>
                    <a:pt x="671" y="890"/>
                  </a:cubicBezTo>
                  <a:cubicBezTo>
                    <a:pt x="671" y="890"/>
                    <a:pt x="671" y="890"/>
                    <a:pt x="671" y="890"/>
                  </a:cubicBezTo>
                  <a:cubicBezTo>
                    <a:pt x="672" y="891"/>
                    <a:pt x="673" y="891"/>
                    <a:pt x="673" y="892"/>
                  </a:cubicBezTo>
                  <a:cubicBezTo>
                    <a:pt x="688" y="903"/>
                    <a:pt x="705" y="912"/>
                    <a:pt x="721" y="918"/>
                  </a:cubicBezTo>
                  <a:cubicBezTo>
                    <a:pt x="722" y="918"/>
                    <a:pt x="723" y="918"/>
                    <a:pt x="725" y="920"/>
                  </a:cubicBezTo>
                  <a:cubicBezTo>
                    <a:pt x="725" y="920"/>
                    <a:pt x="725" y="920"/>
                    <a:pt x="725" y="920"/>
                  </a:cubicBezTo>
                  <a:cubicBezTo>
                    <a:pt x="726" y="921"/>
                    <a:pt x="728" y="921"/>
                    <a:pt x="729" y="922"/>
                  </a:cubicBezTo>
                  <a:cubicBezTo>
                    <a:pt x="736" y="924"/>
                    <a:pt x="742" y="926"/>
                    <a:pt x="748" y="927"/>
                  </a:cubicBezTo>
                  <a:cubicBezTo>
                    <a:pt x="748" y="927"/>
                    <a:pt x="748" y="927"/>
                    <a:pt x="748" y="927"/>
                  </a:cubicBezTo>
                  <a:cubicBezTo>
                    <a:pt x="750" y="926"/>
                    <a:pt x="751" y="927"/>
                    <a:pt x="751" y="928"/>
                  </a:cubicBezTo>
                  <a:cubicBezTo>
                    <a:pt x="758" y="930"/>
                    <a:pt x="764" y="931"/>
                    <a:pt x="771" y="932"/>
                  </a:cubicBezTo>
                  <a:cubicBezTo>
                    <a:pt x="770" y="930"/>
                    <a:pt x="769" y="929"/>
                    <a:pt x="769" y="927"/>
                  </a:cubicBezTo>
                  <a:cubicBezTo>
                    <a:pt x="770" y="927"/>
                    <a:pt x="771" y="928"/>
                    <a:pt x="771" y="928"/>
                  </a:cubicBezTo>
                  <a:cubicBezTo>
                    <a:pt x="770" y="927"/>
                    <a:pt x="769" y="926"/>
                    <a:pt x="769" y="925"/>
                  </a:cubicBezTo>
                  <a:cubicBezTo>
                    <a:pt x="768" y="925"/>
                    <a:pt x="768" y="925"/>
                    <a:pt x="767" y="925"/>
                  </a:cubicBezTo>
                  <a:cubicBezTo>
                    <a:pt x="767" y="925"/>
                    <a:pt x="767" y="925"/>
                    <a:pt x="767" y="925"/>
                  </a:cubicBezTo>
                  <a:cubicBezTo>
                    <a:pt x="768" y="927"/>
                    <a:pt x="764" y="927"/>
                    <a:pt x="762" y="927"/>
                  </a:cubicBezTo>
                  <a:cubicBezTo>
                    <a:pt x="761" y="927"/>
                    <a:pt x="761" y="926"/>
                    <a:pt x="761" y="924"/>
                  </a:cubicBezTo>
                  <a:cubicBezTo>
                    <a:pt x="761" y="924"/>
                    <a:pt x="760" y="924"/>
                    <a:pt x="760" y="924"/>
                  </a:cubicBezTo>
                  <a:cubicBezTo>
                    <a:pt x="760" y="924"/>
                    <a:pt x="760" y="923"/>
                    <a:pt x="760" y="923"/>
                  </a:cubicBezTo>
                  <a:cubicBezTo>
                    <a:pt x="759" y="923"/>
                    <a:pt x="758" y="923"/>
                    <a:pt x="758" y="923"/>
                  </a:cubicBezTo>
                  <a:cubicBezTo>
                    <a:pt x="757" y="923"/>
                    <a:pt x="756" y="924"/>
                    <a:pt x="757" y="926"/>
                  </a:cubicBezTo>
                  <a:cubicBezTo>
                    <a:pt x="756" y="926"/>
                    <a:pt x="755" y="926"/>
                    <a:pt x="753" y="926"/>
                  </a:cubicBezTo>
                  <a:cubicBezTo>
                    <a:pt x="753" y="924"/>
                    <a:pt x="752" y="924"/>
                    <a:pt x="751" y="922"/>
                  </a:cubicBezTo>
                  <a:cubicBezTo>
                    <a:pt x="752" y="922"/>
                    <a:pt x="753" y="922"/>
                    <a:pt x="753" y="922"/>
                  </a:cubicBezTo>
                  <a:cubicBezTo>
                    <a:pt x="748" y="920"/>
                    <a:pt x="743" y="919"/>
                    <a:pt x="738" y="918"/>
                  </a:cubicBezTo>
                  <a:cubicBezTo>
                    <a:pt x="738" y="919"/>
                    <a:pt x="738" y="921"/>
                    <a:pt x="737" y="922"/>
                  </a:cubicBezTo>
                  <a:cubicBezTo>
                    <a:pt x="736" y="922"/>
                    <a:pt x="735" y="922"/>
                    <a:pt x="733" y="922"/>
                  </a:cubicBezTo>
                  <a:cubicBezTo>
                    <a:pt x="732" y="920"/>
                    <a:pt x="732" y="918"/>
                    <a:pt x="733" y="916"/>
                  </a:cubicBezTo>
                  <a:cubicBezTo>
                    <a:pt x="719" y="911"/>
                    <a:pt x="705" y="905"/>
                    <a:pt x="693" y="897"/>
                  </a:cubicBezTo>
                  <a:cubicBezTo>
                    <a:pt x="690" y="896"/>
                    <a:pt x="688" y="895"/>
                    <a:pt x="687" y="893"/>
                  </a:cubicBezTo>
                  <a:cubicBezTo>
                    <a:pt x="686" y="893"/>
                    <a:pt x="686" y="892"/>
                    <a:pt x="686" y="892"/>
                  </a:cubicBezTo>
                  <a:cubicBezTo>
                    <a:pt x="685" y="894"/>
                    <a:pt x="682" y="895"/>
                    <a:pt x="678" y="894"/>
                  </a:cubicBezTo>
                  <a:cubicBezTo>
                    <a:pt x="678" y="892"/>
                    <a:pt x="676" y="889"/>
                    <a:pt x="678" y="887"/>
                  </a:cubicBezTo>
                  <a:cubicBezTo>
                    <a:pt x="726" y="915"/>
                    <a:pt x="734" y="916"/>
                    <a:pt x="732" y="919"/>
                  </a:cubicBezTo>
                  <a:cubicBezTo>
                    <a:pt x="731" y="921"/>
                    <a:pt x="724" y="921"/>
                    <a:pt x="726" y="917"/>
                  </a:cubicBezTo>
                  <a:cubicBezTo>
                    <a:pt x="617" y="541"/>
                    <a:pt x="618" y="539"/>
                    <a:pt x="619" y="538"/>
                  </a:cubicBezTo>
                  <a:cubicBezTo>
                    <a:pt x="617" y="538"/>
                    <a:pt x="616" y="538"/>
                    <a:pt x="615" y="538"/>
                  </a:cubicBezTo>
                  <a:cubicBezTo>
                    <a:pt x="615" y="538"/>
                    <a:pt x="615" y="538"/>
                    <a:pt x="615" y="538"/>
                  </a:cubicBezTo>
                  <a:cubicBezTo>
                    <a:pt x="615" y="540"/>
                    <a:pt x="615" y="540"/>
                    <a:pt x="614" y="541"/>
                  </a:cubicBezTo>
                  <a:cubicBezTo>
                    <a:pt x="909" y="1102"/>
                    <a:pt x="911" y="1103"/>
                    <a:pt x="913" y="1103"/>
                  </a:cubicBezTo>
                  <a:cubicBezTo>
                    <a:pt x="914" y="1101"/>
                    <a:pt x="917" y="1100"/>
                    <a:pt x="918" y="1098"/>
                  </a:cubicBezTo>
                  <a:cubicBezTo>
                    <a:pt x="917" y="1098"/>
                    <a:pt x="916" y="1098"/>
                    <a:pt x="916" y="1098"/>
                  </a:cubicBezTo>
                  <a:cubicBezTo>
                    <a:pt x="913" y="1099"/>
                    <a:pt x="910" y="1100"/>
                    <a:pt x="907" y="1101"/>
                  </a:cubicBezTo>
                  <a:cubicBezTo>
                    <a:pt x="624" y="1105"/>
                    <a:pt x="627" y="1106"/>
                    <a:pt x="629" y="1107"/>
                  </a:cubicBezTo>
                  <a:cubicBezTo>
                    <a:pt x="631" y="1105"/>
                    <a:pt x="633" y="1104"/>
                    <a:pt x="637" y="1103"/>
                  </a:cubicBezTo>
                  <a:cubicBezTo>
                    <a:pt x="637" y="1103"/>
                    <a:pt x="637" y="1103"/>
                    <a:pt x="637" y="1103"/>
                  </a:cubicBezTo>
                  <a:cubicBezTo>
                    <a:pt x="635" y="1102"/>
                    <a:pt x="633" y="1101"/>
                    <a:pt x="632" y="1100"/>
                  </a:cubicBezTo>
                  <a:cubicBezTo>
                    <a:pt x="632" y="1101"/>
                    <a:pt x="632" y="1101"/>
                    <a:pt x="632" y="1101"/>
                  </a:cubicBezTo>
                  <a:cubicBezTo>
                    <a:pt x="631" y="1101"/>
                    <a:pt x="631" y="1101"/>
                    <a:pt x="631" y="1101"/>
                  </a:cubicBezTo>
                  <a:cubicBezTo>
                    <a:pt x="630" y="1103"/>
                    <a:pt x="628" y="1104"/>
                    <a:pt x="626" y="1103"/>
                  </a:cubicBezTo>
                  <a:cubicBezTo>
                    <a:pt x="626" y="1102"/>
                    <a:pt x="626" y="1101"/>
                    <a:pt x="627" y="1101"/>
                  </a:cubicBezTo>
                  <a:cubicBezTo>
                    <a:pt x="627" y="1101"/>
                    <a:pt x="627" y="1101"/>
                    <a:pt x="627" y="1101"/>
                  </a:cubicBezTo>
                  <a:cubicBezTo>
                    <a:pt x="627" y="1100"/>
                    <a:pt x="627" y="1099"/>
                    <a:pt x="628" y="1099"/>
                  </a:cubicBezTo>
                  <a:cubicBezTo>
                    <a:pt x="621" y="1096"/>
                    <a:pt x="614" y="1093"/>
                    <a:pt x="606" y="1090"/>
                  </a:cubicBezTo>
                  <a:cubicBezTo>
                    <a:pt x="597" y="1086"/>
                    <a:pt x="589" y="1082"/>
                    <a:pt x="581" y="1077"/>
                  </a:cubicBezTo>
                  <a:cubicBezTo>
                    <a:pt x="568" y="1077"/>
                    <a:pt x="568" y="1077"/>
                    <a:pt x="568" y="1077"/>
                  </a:cubicBezTo>
                  <a:cubicBezTo>
                    <a:pt x="575" y="1081"/>
                    <a:pt x="582" y="1085"/>
                    <a:pt x="589" y="1089"/>
                  </a:cubicBezTo>
                  <a:cubicBezTo>
                    <a:pt x="593" y="1091"/>
                    <a:pt x="596" y="1093"/>
                    <a:pt x="600" y="1094"/>
                  </a:cubicBezTo>
                  <a:cubicBezTo>
                    <a:pt x="606" y="1094"/>
                    <a:pt x="606" y="1094"/>
                    <a:pt x="606" y="1094"/>
                  </a:cubicBezTo>
                  <a:cubicBezTo>
                    <a:pt x="606" y="1095"/>
                    <a:pt x="605" y="1096"/>
                    <a:pt x="605" y="1097"/>
                  </a:cubicBezTo>
                  <a:cubicBezTo>
                    <a:pt x="606" y="1097"/>
                    <a:pt x="606" y="1097"/>
                    <a:pt x="607" y="1098"/>
                  </a:cubicBezTo>
                  <a:cubicBezTo>
                    <a:pt x="607" y="1097"/>
                    <a:pt x="606" y="1097"/>
                    <a:pt x="606" y="1097"/>
                  </a:cubicBezTo>
                  <a:cubicBezTo>
                    <a:pt x="607" y="1096"/>
                    <a:pt x="607" y="1095"/>
                    <a:pt x="608" y="1094"/>
                  </a:cubicBezTo>
                  <a:cubicBezTo>
                    <a:pt x="610" y="1094"/>
                    <a:pt x="610" y="1094"/>
                    <a:pt x="610" y="1094"/>
                  </a:cubicBezTo>
                  <a:cubicBezTo>
                    <a:pt x="611" y="1096"/>
                    <a:pt x="614" y="1097"/>
                    <a:pt x="612" y="1100"/>
                  </a:cubicBezTo>
                  <a:cubicBezTo>
                    <a:pt x="614" y="1101"/>
                    <a:pt x="615" y="1101"/>
                    <a:pt x="617" y="1102"/>
                  </a:cubicBezTo>
                  <a:cubicBezTo>
                    <a:pt x="617" y="1102"/>
                    <a:pt x="617" y="1102"/>
                    <a:pt x="618" y="1102"/>
                  </a:cubicBezTo>
                  <a:cubicBezTo>
                    <a:pt x="618" y="1102"/>
                    <a:pt x="618" y="1102"/>
                    <a:pt x="619" y="1102"/>
                  </a:cubicBezTo>
                  <a:cubicBezTo>
                    <a:pt x="620" y="1102"/>
                    <a:pt x="621" y="1101"/>
                    <a:pt x="622" y="1100"/>
                  </a:cubicBezTo>
                  <a:cubicBezTo>
                    <a:pt x="624" y="1102"/>
                    <a:pt x="623" y="1103"/>
                    <a:pt x="622" y="1104"/>
                  </a:cubicBezTo>
                  <a:cubicBezTo>
                    <a:pt x="1125" y="917"/>
                    <a:pt x="1116" y="922"/>
                    <a:pt x="1107" y="927"/>
                  </a:cubicBezTo>
                  <a:cubicBezTo>
                    <a:pt x="1107" y="928"/>
                    <a:pt x="1107" y="929"/>
                    <a:pt x="1106" y="930"/>
                  </a:cubicBezTo>
                  <a:cubicBezTo>
                    <a:pt x="1102" y="930"/>
                    <a:pt x="1102" y="930"/>
                    <a:pt x="1102" y="930"/>
                  </a:cubicBezTo>
                  <a:cubicBezTo>
                    <a:pt x="1092" y="936"/>
                    <a:pt x="1081" y="942"/>
                    <a:pt x="1071" y="948"/>
                  </a:cubicBezTo>
                  <a:cubicBezTo>
                    <a:pt x="1072" y="950"/>
                    <a:pt x="1072" y="951"/>
                    <a:pt x="1072" y="954"/>
                  </a:cubicBezTo>
                  <a:cubicBezTo>
                    <a:pt x="1073" y="954"/>
                    <a:pt x="1074" y="954"/>
                    <a:pt x="1075" y="954"/>
                  </a:cubicBezTo>
                  <a:cubicBezTo>
                    <a:pt x="1075" y="954"/>
                    <a:pt x="1076" y="954"/>
                    <a:pt x="1076" y="954"/>
                  </a:cubicBezTo>
                  <a:cubicBezTo>
                    <a:pt x="1075" y="951"/>
                    <a:pt x="1079" y="946"/>
                    <a:pt x="1082" y="950"/>
                  </a:cubicBezTo>
                  <a:cubicBezTo>
                    <a:pt x="1082" y="950"/>
                    <a:pt x="1082" y="950"/>
                    <a:pt x="1082" y="950"/>
                  </a:cubicBezTo>
                  <a:cubicBezTo>
                    <a:pt x="1100" y="939"/>
                    <a:pt x="1118" y="928"/>
                    <a:pt x="1137" y="919"/>
                  </a:cubicBezTo>
                  <a:cubicBezTo>
                    <a:pt x="1141" y="917"/>
                    <a:pt x="1139" y="911"/>
                    <a:pt x="1135" y="913"/>
                  </a:cubicBezTo>
                  <a:cubicBezTo>
                    <a:pt x="1138" y="950"/>
                    <a:pt x="1137" y="950"/>
                    <a:pt x="1137" y="950"/>
                  </a:cubicBezTo>
                  <a:cubicBezTo>
                    <a:pt x="1137" y="950"/>
                    <a:pt x="1137" y="951"/>
                    <a:pt x="1137" y="951"/>
                  </a:cubicBezTo>
                  <a:cubicBezTo>
                    <a:pt x="1136" y="952"/>
                    <a:pt x="1135" y="953"/>
                    <a:pt x="1134" y="953"/>
                  </a:cubicBezTo>
                  <a:cubicBezTo>
                    <a:pt x="1130" y="957"/>
                    <a:pt x="1126" y="960"/>
                    <a:pt x="1122" y="964"/>
                  </a:cubicBezTo>
                  <a:cubicBezTo>
                    <a:pt x="1122" y="964"/>
                    <a:pt x="1123" y="964"/>
                    <a:pt x="1123" y="964"/>
                  </a:cubicBezTo>
                  <a:cubicBezTo>
                    <a:pt x="1122" y="965"/>
                    <a:pt x="1122" y="965"/>
                    <a:pt x="1122" y="965"/>
                  </a:cubicBezTo>
                  <a:cubicBezTo>
                    <a:pt x="1120" y="965"/>
                    <a:pt x="1120" y="965"/>
                    <a:pt x="1120" y="965"/>
                  </a:cubicBezTo>
                  <a:cubicBezTo>
                    <a:pt x="1109" y="975"/>
                    <a:pt x="1097" y="985"/>
                    <a:pt x="1085" y="994"/>
                  </a:cubicBezTo>
                  <a:cubicBezTo>
                    <a:pt x="1087" y="995"/>
                    <a:pt x="1088" y="997"/>
                    <a:pt x="1089" y="998"/>
                  </a:cubicBezTo>
                  <a:cubicBezTo>
                    <a:pt x="1088" y="999"/>
                    <a:pt x="1087" y="1000"/>
                    <a:pt x="1087" y="1001"/>
                  </a:cubicBezTo>
                  <a:cubicBezTo>
                    <a:pt x="1088" y="1000"/>
                    <a:pt x="1090" y="999"/>
                    <a:pt x="1091" y="998"/>
                  </a:cubicBezTo>
                  <a:cubicBezTo>
                    <a:pt x="1091" y="998"/>
                    <a:pt x="1091" y="998"/>
                    <a:pt x="1091" y="998"/>
                  </a:cubicBezTo>
                  <a:cubicBezTo>
                    <a:pt x="1091" y="998"/>
                    <a:pt x="1091" y="998"/>
                    <a:pt x="1091" y="998"/>
                  </a:cubicBezTo>
                  <a:cubicBezTo>
                    <a:pt x="1105" y="987"/>
                    <a:pt x="1118" y="977"/>
                    <a:pt x="1131" y="965"/>
                  </a:cubicBezTo>
                  <a:cubicBezTo>
                    <a:pt x="1130" y="965"/>
                    <a:pt x="1130" y="965"/>
                    <a:pt x="1130" y="965"/>
                  </a:cubicBezTo>
                  <a:cubicBezTo>
                    <a:pt x="1133" y="963"/>
                    <a:pt x="1135" y="958"/>
                    <a:pt x="1139" y="957"/>
                  </a:cubicBezTo>
                  <a:cubicBezTo>
                    <a:pt x="1139" y="957"/>
                    <a:pt x="1139" y="957"/>
                    <a:pt x="1139" y="957"/>
                  </a:cubicBezTo>
                  <a:cubicBezTo>
                    <a:pt x="1140" y="956"/>
                    <a:pt x="1141" y="955"/>
                    <a:pt x="1142" y="955"/>
                  </a:cubicBezTo>
                  <a:cubicBezTo>
                    <a:pt x="1145" y="952"/>
                    <a:pt x="1141" y="946"/>
                    <a:pt x="1138" y="949"/>
                  </a:cubicBezTo>
                  <a:cubicBezTo>
                    <a:pt x="906" y="889"/>
                    <a:pt x="906" y="889"/>
                    <a:pt x="906" y="889"/>
                  </a:cubicBezTo>
                  <a:cubicBezTo>
                    <a:pt x="906" y="889"/>
                    <a:pt x="906" y="889"/>
                    <a:pt x="906" y="889"/>
                  </a:cubicBezTo>
                  <a:cubicBezTo>
                    <a:pt x="906" y="889"/>
                    <a:pt x="906" y="889"/>
                    <a:pt x="906" y="889"/>
                  </a:cubicBezTo>
                  <a:cubicBezTo>
                    <a:pt x="1068" y="1007"/>
                    <a:pt x="1060" y="1013"/>
                    <a:pt x="1051" y="1019"/>
                  </a:cubicBezTo>
                  <a:cubicBezTo>
                    <a:pt x="1055" y="1019"/>
                    <a:pt x="1055" y="1019"/>
                    <a:pt x="1055" y="1019"/>
                  </a:cubicBezTo>
                  <a:cubicBezTo>
                    <a:pt x="1055" y="1019"/>
                    <a:pt x="1055" y="1019"/>
                    <a:pt x="1055" y="1020"/>
                  </a:cubicBezTo>
                  <a:cubicBezTo>
                    <a:pt x="1056" y="1020"/>
                    <a:pt x="1057" y="1021"/>
                    <a:pt x="1058" y="1022"/>
                  </a:cubicBezTo>
                  <a:cubicBezTo>
                    <a:pt x="1058" y="1022"/>
                    <a:pt x="1059" y="1022"/>
                    <a:pt x="1059" y="1022"/>
                  </a:cubicBezTo>
                  <a:cubicBezTo>
                    <a:pt x="1069" y="1015"/>
                    <a:pt x="1078" y="1008"/>
                    <a:pt x="1087" y="1001"/>
                  </a:cubicBezTo>
                  <a:cubicBezTo>
                    <a:pt x="1076" y="1001"/>
                    <a:pt x="1076" y="1001"/>
                    <a:pt x="1076" y="1001"/>
                  </a:cubicBezTo>
                  <a:cubicBezTo>
                    <a:pt x="1076" y="1001"/>
                    <a:pt x="1076" y="1001"/>
                    <a:pt x="1076" y="1001"/>
                  </a:cubicBezTo>
                  <a:cubicBezTo>
                    <a:pt x="967" y="1044"/>
                    <a:pt x="956" y="1050"/>
                    <a:pt x="945" y="1056"/>
                  </a:cubicBezTo>
                  <a:cubicBezTo>
                    <a:pt x="958" y="1055"/>
                    <a:pt x="958" y="1055"/>
                    <a:pt x="958" y="1055"/>
                  </a:cubicBezTo>
                  <a:cubicBezTo>
                    <a:pt x="969" y="1050"/>
                    <a:pt x="980" y="1044"/>
                    <a:pt x="991" y="1038"/>
                  </a:cubicBezTo>
                  <a:cubicBezTo>
                    <a:pt x="1085" y="738"/>
                    <a:pt x="1085" y="738"/>
                    <a:pt x="1086" y="739"/>
                  </a:cubicBezTo>
                  <a:cubicBezTo>
                    <a:pt x="1086" y="739"/>
                    <a:pt x="1086" y="739"/>
                    <a:pt x="1086" y="739"/>
                  </a:cubicBezTo>
                  <a:cubicBezTo>
                    <a:pt x="1086" y="738"/>
                    <a:pt x="1085" y="738"/>
                    <a:pt x="1084" y="738"/>
                  </a:cubicBezTo>
                  <a:cubicBezTo>
                    <a:pt x="758" y="733"/>
                    <a:pt x="746" y="731"/>
                    <a:pt x="734" y="728"/>
                  </a:cubicBezTo>
                  <a:cubicBezTo>
                    <a:pt x="716" y="723"/>
                    <a:pt x="698" y="722"/>
                    <a:pt x="680" y="725"/>
                  </a:cubicBezTo>
                  <a:cubicBezTo>
                    <a:pt x="680" y="725"/>
                    <a:pt x="680" y="725"/>
                    <a:pt x="680" y="725"/>
                  </a:cubicBezTo>
                  <a:cubicBezTo>
                    <a:pt x="656" y="724"/>
                    <a:pt x="627" y="726"/>
                    <a:pt x="604" y="738"/>
                  </a:cubicBezTo>
                  <a:cubicBezTo>
                    <a:pt x="605" y="738"/>
                    <a:pt x="605" y="738"/>
                    <a:pt x="605" y="738"/>
                  </a:cubicBezTo>
                  <a:cubicBezTo>
                    <a:pt x="605" y="738"/>
                    <a:pt x="605" y="739"/>
                    <a:pt x="605" y="739"/>
                  </a:cubicBezTo>
                  <a:cubicBezTo>
                    <a:pt x="601" y="740"/>
                    <a:pt x="599" y="744"/>
                    <a:pt x="594" y="744"/>
                  </a:cubicBezTo>
                  <a:cubicBezTo>
                    <a:pt x="594" y="744"/>
                    <a:pt x="593" y="744"/>
                    <a:pt x="593" y="744"/>
                  </a:cubicBezTo>
                  <a:cubicBezTo>
                    <a:pt x="593" y="746"/>
                    <a:pt x="594" y="747"/>
                    <a:pt x="592" y="747"/>
                  </a:cubicBezTo>
                  <a:cubicBezTo>
                    <a:pt x="592" y="746"/>
                    <a:pt x="591" y="746"/>
                    <a:pt x="591" y="746"/>
                  </a:cubicBezTo>
                  <a:cubicBezTo>
                    <a:pt x="587" y="748"/>
                    <a:pt x="584" y="751"/>
                    <a:pt x="581" y="755"/>
                  </a:cubicBezTo>
                  <a:cubicBezTo>
                    <a:pt x="582" y="755"/>
                    <a:pt x="582" y="756"/>
                    <a:pt x="583" y="756"/>
                  </a:cubicBezTo>
                  <a:cubicBezTo>
                    <a:pt x="580" y="756"/>
                    <a:pt x="580" y="756"/>
                    <a:pt x="580" y="756"/>
                  </a:cubicBezTo>
                  <a:cubicBezTo>
                    <a:pt x="579" y="757"/>
                    <a:pt x="578" y="759"/>
                    <a:pt x="577" y="760"/>
                  </a:cubicBezTo>
                  <a:cubicBezTo>
                    <a:pt x="578" y="759"/>
                    <a:pt x="578" y="757"/>
                    <a:pt x="579" y="756"/>
                  </a:cubicBezTo>
                  <a:cubicBezTo>
                    <a:pt x="572" y="756"/>
                    <a:pt x="572" y="756"/>
                    <a:pt x="572" y="756"/>
                  </a:cubicBezTo>
                  <a:cubicBezTo>
                    <a:pt x="569" y="766"/>
                    <a:pt x="567" y="776"/>
                    <a:pt x="567" y="786"/>
                  </a:cubicBezTo>
                  <a:cubicBezTo>
                    <a:pt x="567" y="787"/>
                    <a:pt x="567" y="788"/>
                    <a:pt x="567" y="788"/>
                  </a:cubicBezTo>
                  <a:cubicBezTo>
                    <a:pt x="567" y="796"/>
                    <a:pt x="568" y="804"/>
                    <a:pt x="570" y="811"/>
                  </a:cubicBezTo>
                  <a:cubicBezTo>
                    <a:pt x="570" y="811"/>
                    <a:pt x="570" y="811"/>
                    <a:pt x="570" y="811"/>
                  </a:cubicBezTo>
                  <a:cubicBezTo>
                    <a:pt x="572" y="811"/>
                    <a:pt x="574" y="812"/>
                    <a:pt x="575" y="813"/>
                  </a:cubicBezTo>
                  <a:cubicBezTo>
                    <a:pt x="575" y="815"/>
                    <a:pt x="575" y="816"/>
                    <a:pt x="574" y="817"/>
                  </a:cubicBezTo>
                  <a:cubicBezTo>
                    <a:pt x="576" y="818"/>
                    <a:pt x="577" y="818"/>
                    <a:pt x="578" y="819"/>
                  </a:cubicBezTo>
                  <a:cubicBezTo>
                    <a:pt x="577" y="815"/>
                    <a:pt x="577" y="810"/>
                    <a:pt x="576" y="806"/>
                  </a:cubicBezTo>
                  <a:cubicBezTo>
                    <a:pt x="572" y="780"/>
                    <a:pt x="582" y="760"/>
                    <a:pt x="602" y="747"/>
                  </a:cubicBezTo>
                  <a:cubicBezTo>
                    <a:pt x="602" y="746"/>
                    <a:pt x="602" y="745"/>
                    <a:pt x="602" y="744"/>
                  </a:cubicBezTo>
                  <a:cubicBezTo>
                    <a:pt x="604" y="743"/>
                    <a:pt x="606" y="742"/>
                    <a:pt x="610" y="742"/>
                  </a:cubicBezTo>
                  <a:cubicBezTo>
                    <a:pt x="610" y="742"/>
                    <a:pt x="610" y="742"/>
                    <a:pt x="610" y="743"/>
                  </a:cubicBezTo>
                  <a:cubicBezTo>
                    <a:pt x="611" y="742"/>
                    <a:pt x="612" y="742"/>
                    <a:pt x="613" y="741"/>
                  </a:cubicBezTo>
                  <a:cubicBezTo>
                    <a:pt x="613" y="741"/>
                    <a:pt x="613" y="741"/>
                    <a:pt x="613" y="741"/>
                  </a:cubicBezTo>
                  <a:cubicBezTo>
                    <a:pt x="614" y="741"/>
                    <a:pt x="614" y="741"/>
                    <a:pt x="615" y="741"/>
                  </a:cubicBezTo>
                  <a:cubicBezTo>
                    <a:pt x="615" y="740"/>
                    <a:pt x="616" y="740"/>
                    <a:pt x="616" y="740"/>
                  </a:cubicBezTo>
                  <a:cubicBezTo>
                    <a:pt x="628" y="736"/>
                    <a:pt x="641" y="733"/>
                    <a:pt x="654" y="732"/>
                  </a:cubicBezTo>
                  <a:cubicBezTo>
                    <a:pt x="650" y="733"/>
                    <a:pt x="646" y="735"/>
                    <a:pt x="642" y="737"/>
                  </a:cubicBezTo>
                  <a:cubicBezTo>
                    <a:pt x="658" y="737"/>
                    <a:pt x="658" y="737"/>
                    <a:pt x="658" y="737"/>
                  </a:cubicBezTo>
                  <a:cubicBezTo>
                    <a:pt x="676" y="731"/>
                    <a:pt x="696" y="729"/>
                    <a:pt x="714" y="731"/>
                  </a:cubicBezTo>
                  <a:cubicBezTo>
                    <a:pt x="724" y="732"/>
                    <a:pt x="734" y="734"/>
                    <a:pt x="744" y="736"/>
                  </a:cubicBezTo>
                  <a:cubicBezTo>
                    <a:pt x="759" y="736"/>
                    <a:pt x="759" y="736"/>
                    <a:pt x="759" y="736"/>
                  </a:cubicBezTo>
                  <a:cubicBezTo>
                    <a:pt x="759" y="736"/>
                    <a:pt x="759" y="736"/>
                    <a:pt x="759" y="737"/>
                  </a:cubicBezTo>
                  <a:cubicBezTo>
                    <a:pt x="761" y="736"/>
                    <a:pt x="761" y="737"/>
                    <a:pt x="763" y="737"/>
                  </a:cubicBezTo>
                  <a:cubicBezTo>
                    <a:pt x="763" y="737"/>
                    <a:pt x="763" y="737"/>
                    <a:pt x="763" y="736"/>
                  </a:cubicBezTo>
                  <a:cubicBezTo>
                    <a:pt x="570" y="786"/>
                    <a:pt x="571" y="778"/>
                    <a:pt x="575" y="780"/>
                  </a:cubicBezTo>
                  <a:cubicBezTo>
                    <a:pt x="575" y="782"/>
                    <a:pt x="574" y="784"/>
                    <a:pt x="573" y="786"/>
                  </a:cubicBezTo>
                  <a:cubicBezTo>
                    <a:pt x="584" y="756"/>
                    <a:pt x="584" y="756"/>
                    <a:pt x="584" y="756"/>
                  </a:cubicBezTo>
                  <a:cubicBezTo>
                    <a:pt x="584" y="756"/>
                    <a:pt x="584" y="756"/>
                    <a:pt x="584" y="756"/>
                  </a:cubicBezTo>
                  <a:cubicBezTo>
                    <a:pt x="584" y="756"/>
                    <a:pt x="585" y="756"/>
                    <a:pt x="585" y="756"/>
                  </a:cubicBezTo>
                  <a:cubicBezTo>
                    <a:pt x="585" y="756"/>
                    <a:pt x="585" y="756"/>
                    <a:pt x="585" y="756"/>
                  </a:cubicBezTo>
                  <a:cubicBezTo>
                    <a:pt x="432" y="419"/>
                    <a:pt x="433" y="420"/>
                    <a:pt x="432" y="422"/>
                  </a:cubicBezTo>
                  <a:cubicBezTo>
                    <a:pt x="433" y="422"/>
                    <a:pt x="433" y="422"/>
                    <a:pt x="434" y="422"/>
                  </a:cubicBezTo>
                  <a:cubicBezTo>
                    <a:pt x="435" y="421"/>
                    <a:pt x="437" y="421"/>
                    <a:pt x="438" y="421"/>
                  </a:cubicBezTo>
                  <a:cubicBezTo>
                    <a:pt x="440" y="420"/>
                    <a:pt x="443" y="420"/>
                    <a:pt x="445" y="419"/>
                  </a:cubicBezTo>
                  <a:cubicBezTo>
                    <a:pt x="445" y="419"/>
                    <a:pt x="445" y="418"/>
                    <a:pt x="445" y="418"/>
                  </a:cubicBezTo>
                  <a:cubicBezTo>
                    <a:pt x="450" y="418"/>
                    <a:pt x="450" y="418"/>
                    <a:pt x="450" y="418"/>
                  </a:cubicBezTo>
                  <a:cubicBezTo>
                    <a:pt x="494" y="408"/>
                    <a:pt x="539" y="405"/>
                    <a:pt x="585" y="405"/>
                  </a:cubicBezTo>
                  <a:cubicBezTo>
                    <a:pt x="616" y="405"/>
                    <a:pt x="647" y="408"/>
                    <a:pt x="678" y="411"/>
                  </a:cubicBezTo>
                  <a:cubicBezTo>
                    <a:pt x="681" y="411"/>
                    <a:pt x="682" y="408"/>
                    <a:pt x="681" y="406"/>
                  </a:cubicBezTo>
                  <a:cubicBezTo>
                    <a:pt x="697" y="409"/>
                    <a:pt x="713" y="412"/>
                    <a:pt x="729" y="416"/>
                  </a:cubicBezTo>
                  <a:cubicBezTo>
                    <a:pt x="740" y="416"/>
                    <a:pt x="740" y="416"/>
                    <a:pt x="740" y="416"/>
                  </a:cubicBezTo>
                  <a:cubicBezTo>
                    <a:pt x="741" y="416"/>
                    <a:pt x="741" y="417"/>
                    <a:pt x="742" y="419"/>
                  </a:cubicBezTo>
                  <a:cubicBezTo>
                    <a:pt x="745" y="419"/>
                    <a:pt x="748" y="420"/>
                    <a:pt x="751" y="421"/>
                  </a:cubicBezTo>
                  <a:cubicBezTo>
                    <a:pt x="752" y="419"/>
                    <a:pt x="752" y="417"/>
                    <a:pt x="752" y="415"/>
                  </a:cubicBezTo>
                  <a:cubicBezTo>
                    <a:pt x="756" y="415"/>
                    <a:pt x="756" y="415"/>
                    <a:pt x="756" y="415"/>
                  </a:cubicBezTo>
                  <a:cubicBezTo>
                    <a:pt x="740" y="411"/>
                    <a:pt x="724" y="408"/>
                    <a:pt x="708" y="404"/>
                  </a:cubicBezTo>
                  <a:cubicBezTo>
                    <a:pt x="692" y="401"/>
                    <a:pt x="674" y="398"/>
                    <a:pt x="657" y="395"/>
                  </a:cubicBezTo>
                  <a:cubicBezTo>
                    <a:pt x="659" y="396"/>
                    <a:pt x="660" y="398"/>
                    <a:pt x="660" y="399"/>
                  </a:cubicBezTo>
                  <a:cubicBezTo>
                    <a:pt x="648" y="399"/>
                    <a:pt x="648" y="399"/>
                    <a:pt x="648" y="399"/>
                  </a:cubicBezTo>
                  <a:cubicBezTo>
                    <a:pt x="648" y="397"/>
                    <a:pt x="648" y="396"/>
                    <a:pt x="648" y="394"/>
                  </a:cubicBezTo>
                  <a:cubicBezTo>
                    <a:pt x="646" y="394"/>
                    <a:pt x="646" y="395"/>
                    <a:pt x="645" y="396"/>
                  </a:cubicBezTo>
                  <a:cubicBezTo>
                    <a:pt x="644" y="395"/>
                    <a:pt x="644" y="394"/>
                    <a:pt x="643" y="393"/>
                  </a:cubicBezTo>
                  <a:cubicBezTo>
                    <a:pt x="640" y="393"/>
                    <a:pt x="636" y="392"/>
                    <a:pt x="632" y="392"/>
                  </a:cubicBezTo>
                  <a:cubicBezTo>
                    <a:pt x="631" y="392"/>
                    <a:pt x="631" y="392"/>
                    <a:pt x="631" y="392"/>
                  </a:cubicBezTo>
                  <a:cubicBezTo>
                    <a:pt x="629" y="392"/>
                    <a:pt x="628" y="392"/>
                    <a:pt x="627" y="391"/>
                  </a:cubicBezTo>
                  <a:cubicBezTo>
                    <a:pt x="627" y="391"/>
                    <a:pt x="627" y="391"/>
                    <a:pt x="627" y="391"/>
                  </a:cubicBezTo>
                  <a:cubicBezTo>
                    <a:pt x="627" y="391"/>
                    <a:pt x="627" y="392"/>
                    <a:pt x="627" y="393"/>
                  </a:cubicBezTo>
                  <a:cubicBezTo>
                    <a:pt x="625" y="393"/>
                    <a:pt x="625" y="394"/>
                    <a:pt x="623" y="393"/>
                  </a:cubicBezTo>
                  <a:cubicBezTo>
                    <a:pt x="624" y="387"/>
                    <a:pt x="609" y="395"/>
                    <a:pt x="608" y="389"/>
                  </a:cubicBezTo>
                  <a:cubicBezTo>
                    <a:pt x="598" y="388"/>
                    <a:pt x="589" y="387"/>
                    <a:pt x="580" y="386"/>
                  </a:cubicBezTo>
                  <a:cubicBezTo>
                    <a:pt x="580" y="388"/>
                    <a:pt x="579" y="390"/>
                    <a:pt x="580" y="390"/>
                  </a:cubicBezTo>
                  <a:cubicBezTo>
                    <a:pt x="585" y="392"/>
                    <a:pt x="586" y="387"/>
                    <a:pt x="589" y="389"/>
                  </a:cubicBezTo>
                  <a:cubicBezTo>
                    <a:pt x="588" y="391"/>
                    <a:pt x="587" y="392"/>
                    <a:pt x="587" y="394"/>
                  </a:cubicBezTo>
                  <a:cubicBezTo>
                    <a:pt x="587" y="394"/>
                    <a:pt x="588" y="394"/>
                    <a:pt x="588" y="394"/>
                  </a:cubicBezTo>
                  <a:cubicBezTo>
                    <a:pt x="591" y="393"/>
                    <a:pt x="591" y="390"/>
                    <a:pt x="596" y="391"/>
                  </a:cubicBezTo>
                  <a:cubicBezTo>
                    <a:pt x="596" y="390"/>
                    <a:pt x="596" y="390"/>
                    <a:pt x="596" y="389"/>
                  </a:cubicBezTo>
                  <a:cubicBezTo>
                    <a:pt x="597" y="389"/>
                    <a:pt x="597" y="389"/>
                    <a:pt x="597" y="389"/>
                  </a:cubicBezTo>
                  <a:cubicBezTo>
                    <a:pt x="598" y="389"/>
                    <a:pt x="599" y="389"/>
                    <a:pt x="599" y="389"/>
                  </a:cubicBezTo>
                  <a:cubicBezTo>
                    <a:pt x="599" y="390"/>
                    <a:pt x="599" y="390"/>
                    <a:pt x="600" y="390"/>
                  </a:cubicBezTo>
                  <a:cubicBezTo>
                    <a:pt x="600" y="391"/>
                    <a:pt x="600" y="391"/>
                    <a:pt x="600" y="392"/>
                  </a:cubicBezTo>
                  <a:cubicBezTo>
                    <a:pt x="599" y="392"/>
                    <a:pt x="598" y="392"/>
                    <a:pt x="598" y="392"/>
                  </a:cubicBezTo>
                  <a:cubicBezTo>
                    <a:pt x="598" y="392"/>
                    <a:pt x="598" y="392"/>
                    <a:pt x="598" y="392"/>
                  </a:cubicBezTo>
                  <a:cubicBezTo>
                    <a:pt x="599" y="393"/>
                    <a:pt x="600" y="394"/>
                    <a:pt x="600" y="395"/>
                  </a:cubicBezTo>
                  <a:cubicBezTo>
                    <a:pt x="601" y="395"/>
                    <a:pt x="601" y="395"/>
                    <a:pt x="602" y="395"/>
                  </a:cubicBezTo>
                  <a:cubicBezTo>
                    <a:pt x="602" y="395"/>
                    <a:pt x="602" y="395"/>
                    <a:pt x="602" y="394"/>
                  </a:cubicBezTo>
                  <a:cubicBezTo>
                    <a:pt x="605" y="395"/>
                    <a:pt x="605" y="393"/>
                    <a:pt x="609" y="394"/>
                  </a:cubicBezTo>
                  <a:cubicBezTo>
                    <a:pt x="609" y="395"/>
                    <a:pt x="609" y="395"/>
                    <a:pt x="609" y="396"/>
                  </a:cubicBezTo>
                  <a:cubicBezTo>
                    <a:pt x="615" y="396"/>
                    <a:pt x="621" y="397"/>
                    <a:pt x="626" y="398"/>
                  </a:cubicBezTo>
                  <a:cubicBezTo>
                    <a:pt x="627" y="396"/>
                    <a:pt x="629" y="395"/>
                    <a:pt x="632" y="395"/>
                  </a:cubicBezTo>
                  <a:cubicBezTo>
                    <a:pt x="633" y="395"/>
                    <a:pt x="633" y="397"/>
                    <a:pt x="633" y="399"/>
                  </a:cubicBezTo>
                  <a:cubicBezTo>
                    <a:pt x="641" y="400"/>
                    <a:pt x="650" y="401"/>
                    <a:pt x="659" y="402"/>
                  </a:cubicBezTo>
                  <a:cubicBezTo>
                    <a:pt x="641" y="401"/>
                    <a:pt x="624" y="400"/>
                    <a:pt x="607" y="399"/>
                  </a:cubicBezTo>
                  <a:cubicBezTo>
                    <a:pt x="604" y="399"/>
                    <a:pt x="604" y="399"/>
                    <a:pt x="604" y="399"/>
                  </a:cubicBezTo>
                  <a:cubicBezTo>
                    <a:pt x="604" y="399"/>
                    <a:pt x="604" y="399"/>
                    <a:pt x="604" y="399"/>
                  </a:cubicBezTo>
                  <a:cubicBezTo>
                    <a:pt x="601" y="399"/>
                    <a:pt x="598" y="399"/>
                    <a:pt x="595" y="399"/>
                  </a:cubicBezTo>
                  <a:cubicBezTo>
                    <a:pt x="594" y="399"/>
                    <a:pt x="594" y="399"/>
                    <a:pt x="594" y="399"/>
                  </a:cubicBezTo>
                  <a:cubicBezTo>
                    <a:pt x="589" y="399"/>
                    <a:pt x="589" y="399"/>
                    <a:pt x="589" y="399"/>
                  </a:cubicBezTo>
                  <a:cubicBezTo>
                    <a:pt x="589" y="399"/>
                    <a:pt x="589" y="399"/>
                    <a:pt x="589" y="399"/>
                  </a:cubicBezTo>
                  <a:cubicBezTo>
                    <a:pt x="588" y="399"/>
                    <a:pt x="587" y="399"/>
                    <a:pt x="586" y="399"/>
                  </a:cubicBezTo>
                  <a:cubicBezTo>
                    <a:pt x="586" y="399"/>
                    <a:pt x="586" y="399"/>
                    <a:pt x="586" y="400"/>
                  </a:cubicBezTo>
                  <a:cubicBezTo>
                    <a:pt x="576" y="400"/>
                    <a:pt x="576" y="400"/>
                    <a:pt x="576" y="400"/>
                  </a:cubicBezTo>
                  <a:cubicBezTo>
                    <a:pt x="576" y="399"/>
                    <a:pt x="576" y="399"/>
                    <a:pt x="576" y="399"/>
                  </a:cubicBezTo>
                  <a:cubicBezTo>
                    <a:pt x="574" y="399"/>
                    <a:pt x="571" y="399"/>
                    <a:pt x="569" y="399"/>
                  </a:cubicBezTo>
                  <a:cubicBezTo>
                    <a:pt x="569" y="399"/>
                    <a:pt x="569" y="399"/>
                    <a:pt x="569" y="400"/>
                  </a:cubicBezTo>
                  <a:cubicBezTo>
                    <a:pt x="561" y="400"/>
                    <a:pt x="561" y="400"/>
                    <a:pt x="561" y="400"/>
                  </a:cubicBezTo>
                  <a:cubicBezTo>
                    <a:pt x="561" y="400"/>
                    <a:pt x="561" y="399"/>
                    <a:pt x="561" y="399"/>
                  </a:cubicBezTo>
                  <a:cubicBezTo>
                    <a:pt x="560" y="399"/>
                    <a:pt x="558" y="399"/>
                    <a:pt x="556" y="399"/>
                  </a:cubicBezTo>
                  <a:cubicBezTo>
                    <a:pt x="556" y="400"/>
                    <a:pt x="556" y="400"/>
                    <a:pt x="556" y="400"/>
                  </a:cubicBezTo>
                  <a:cubicBezTo>
                    <a:pt x="550" y="400"/>
                    <a:pt x="550" y="400"/>
                    <a:pt x="550" y="400"/>
                  </a:cubicBezTo>
                  <a:cubicBezTo>
                    <a:pt x="550" y="400"/>
                    <a:pt x="550" y="400"/>
                    <a:pt x="550" y="400"/>
                  </a:cubicBezTo>
                  <a:cubicBezTo>
                    <a:pt x="549" y="400"/>
                    <a:pt x="549" y="400"/>
                    <a:pt x="548" y="400"/>
                  </a:cubicBezTo>
                  <a:cubicBezTo>
                    <a:pt x="548" y="400"/>
                    <a:pt x="548" y="400"/>
                    <a:pt x="548" y="400"/>
                  </a:cubicBezTo>
                  <a:cubicBezTo>
                    <a:pt x="546" y="400"/>
                    <a:pt x="546" y="400"/>
                    <a:pt x="546" y="400"/>
                  </a:cubicBezTo>
                  <a:cubicBezTo>
                    <a:pt x="505" y="402"/>
                    <a:pt x="465" y="408"/>
                    <a:pt x="426" y="418"/>
                  </a:cubicBezTo>
                  <a:cubicBezTo>
                    <a:pt x="1094" y="747"/>
                    <a:pt x="1094" y="747"/>
                    <a:pt x="1094" y="747"/>
                  </a:cubicBezTo>
                  <a:cubicBezTo>
                    <a:pt x="1093" y="744"/>
                    <a:pt x="1092" y="743"/>
                    <a:pt x="1090" y="741"/>
                  </a:cubicBezTo>
                  <a:cubicBezTo>
                    <a:pt x="1090" y="741"/>
                    <a:pt x="1090" y="741"/>
                    <a:pt x="1090" y="741"/>
                  </a:cubicBezTo>
                  <a:cubicBezTo>
                    <a:pt x="1090" y="741"/>
                    <a:pt x="1089" y="742"/>
                    <a:pt x="1089" y="742"/>
                  </a:cubicBezTo>
                  <a:cubicBezTo>
                    <a:pt x="1090" y="743"/>
                    <a:pt x="1091" y="744"/>
                    <a:pt x="1092" y="745"/>
                  </a:cubicBezTo>
                  <a:cubicBezTo>
                    <a:pt x="1093" y="745"/>
                    <a:pt x="1093" y="746"/>
                    <a:pt x="1094" y="747"/>
                  </a:cubicBezTo>
                  <a:cubicBezTo>
                    <a:pt x="852" y="420"/>
                    <a:pt x="853" y="420"/>
                    <a:pt x="853" y="421"/>
                  </a:cubicBezTo>
                  <a:cubicBezTo>
                    <a:pt x="853" y="421"/>
                    <a:pt x="853" y="421"/>
                    <a:pt x="853" y="421"/>
                  </a:cubicBezTo>
                  <a:cubicBezTo>
                    <a:pt x="853" y="422"/>
                    <a:pt x="854" y="422"/>
                    <a:pt x="854" y="423"/>
                  </a:cubicBezTo>
                  <a:cubicBezTo>
                    <a:pt x="855" y="423"/>
                    <a:pt x="855" y="423"/>
                    <a:pt x="856" y="424"/>
                  </a:cubicBezTo>
                  <a:cubicBezTo>
                    <a:pt x="856" y="422"/>
                    <a:pt x="857" y="421"/>
                    <a:pt x="858" y="420"/>
                  </a:cubicBezTo>
                  <a:cubicBezTo>
                    <a:pt x="856" y="419"/>
                    <a:pt x="853" y="419"/>
                    <a:pt x="850" y="419"/>
                  </a:cubicBezTo>
                  <a:cubicBezTo>
                    <a:pt x="421" y="397"/>
                    <a:pt x="434" y="396"/>
                    <a:pt x="446" y="394"/>
                  </a:cubicBezTo>
                  <a:cubicBezTo>
                    <a:pt x="446" y="394"/>
                    <a:pt x="446" y="394"/>
                    <a:pt x="446" y="394"/>
                  </a:cubicBezTo>
                  <a:cubicBezTo>
                    <a:pt x="446" y="392"/>
                    <a:pt x="444" y="390"/>
                    <a:pt x="443" y="388"/>
                  </a:cubicBezTo>
                  <a:cubicBezTo>
                    <a:pt x="442" y="388"/>
                    <a:pt x="440" y="388"/>
                    <a:pt x="439" y="389"/>
                  </a:cubicBezTo>
                  <a:cubicBezTo>
                    <a:pt x="439" y="390"/>
                    <a:pt x="439" y="390"/>
                    <a:pt x="440" y="392"/>
                  </a:cubicBezTo>
                  <a:cubicBezTo>
                    <a:pt x="438" y="393"/>
                    <a:pt x="434" y="392"/>
                    <a:pt x="431" y="392"/>
                  </a:cubicBezTo>
                  <a:cubicBezTo>
                    <a:pt x="431" y="391"/>
                    <a:pt x="431" y="390"/>
                    <a:pt x="432" y="390"/>
                  </a:cubicBezTo>
                  <a:cubicBezTo>
                    <a:pt x="425" y="391"/>
                    <a:pt x="418" y="392"/>
                    <a:pt x="411" y="393"/>
                  </a:cubicBezTo>
                  <a:cubicBezTo>
                    <a:pt x="413" y="395"/>
                    <a:pt x="412" y="398"/>
                    <a:pt x="409" y="399"/>
                  </a:cubicBezTo>
                  <a:cubicBezTo>
                    <a:pt x="461" y="386"/>
                    <a:pt x="461" y="386"/>
                    <a:pt x="460" y="387"/>
                  </a:cubicBezTo>
                  <a:cubicBezTo>
                    <a:pt x="460" y="389"/>
                    <a:pt x="460" y="391"/>
                    <a:pt x="458" y="391"/>
                  </a:cubicBezTo>
                  <a:cubicBezTo>
                    <a:pt x="460" y="391"/>
                    <a:pt x="460" y="392"/>
                    <a:pt x="460" y="393"/>
                  </a:cubicBezTo>
                  <a:cubicBezTo>
                    <a:pt x="460" y="393"/>
                    <a:pt x="461" y="393"/>
                    <a:pt x="461" y="393"/>
                  </a:cubicBezTo>
                  <a:cubicBezTo>
                    <a:pt x="462" y="392"/>
                    <a:pt x="462" y="391"/>
                    <a:pt x="463" y="391"/>
                  </a:cubicBezTo>
                  <a:cubicBezTo>
                    <a:pt x="465" y="391"/>
                    <a:pt x="466" y="392"/>
                    <a:pt x="467" y="393"/>
                  </a:cubicBezTo>
                  <a:cubicBezTo>
                    <a:pt x="487" y="391"/>
                    <a:pt x="506" y="391"/>
                    <a:pt x="526" y="391"/>
                  </a:cubicBezTo>
                  <a:cubicBezTo>
                    <a:pt x="526" y="391"/>
                    <a:pt x="527" y="391"/>
                    <a:pt x="528" y="391"/>
                  </a:cubicBezTo>
                  <a:cubicBezTo>
                    <a:pt x="528" y="391"/>
                    <a:pt x="528" y="390"/>
                    <a:pt x="528" y="389"/>
                  </a:cubicBezTo>
                  <a:cubicBezTo>
                    <a:pt x="526" y="384"/>
                    <a:pt x="523" y="389"/>
                    <a:pt x="520" y="387"/>
                  </a:cubicBezTo>
                  <a:cubicBezTo>
                    <a:pt x="519" y="386"/>
                    <a:pt x="520" y="385"/>
                    <a:pt x="520" y="384"/>
                  </a:cubicBezTo>
                  <a:cubicBezTo>
                    <a:pt x="519" y="384"/>
                    <a:pt x="518" y="384"/>
                    <a:pt x="516" y="384"/>
                  </a:cubicBezTo>
                  <a:cubicBezTo>
                    <a:pt x="516" y="385"/>
                    <a:pt x="515" y="386"/>
                    <a:pt x="512" y="386"/>
                  </a:cubicBezTo>
                  <a:cubicBezTo>
                    <a:pt x="512" y="385"/>
                    <a:pt x="512" y="385"/>
                    <a:pt x="512" y="384"/>
                  </a:cubicBezTo>
                  <a:cubicBezTo>
                    <a:pt x="503" y="384"/>
                    <a:pt x="495" y="385"/>
                    <a:pt x="486" y="385"/>
                  </a:cubicBezTo>
                  <a:cubicBezTo>
                    <a:pt x="486" y="385"/>
                    <a:pt x="486" y="386"/>
                    <a:pt x="486" y="386"/>
                  </a:cubicBezTo>
                  <a:cubicBezTo>
                    <a:pt x="483" y="386"/>
                    <a:pt x="483" y="387"/>
                    <a:pt x="479" y="387"/>
                  </a:cubicBezTo>
                  <a:cubicBezTo>
                    <a:pt x="479" y="386"/>
                    <a:pt x="479" y="386"/>
                    <a:pt x="479" y="385"/>
                  </a:cubicBezTo>
                  <a:cubicBezTo>
                    <a:pt x="478" y="385"/>
                    <a:pt x="477" y="385"/>
                    <a:pt x="477" y="385"/>
                  </a:cubicBezTo>
                  <a:cubicBezTo>
                    <a:pt x="477" y="386"/>
                    <a:pt x="477" y="387"/>
                    <a:pt x="477" y="388"/>
                  </a:cubicBezTo>
                  <a:cubicBezTo>
                    <a:pt x="476" y="389"/>
                    <a:pt x="471" y="389"/>
                    <a:pt x="470" y="387"/>
                  </a:cubicBezTo>
                  <a:cubicBezTo>
                    <a:pt x="470" y="387"/>
                    <a:pt x="470" y="386"/>
                    <a:pt x="470" y="386"/>
                  </a:cubicBezTo>
                  <a:cubicBezTo>
                    <a:pt x="467" y="386"/>
                    <a:pt x="464" y="386"/>
                    <a:pt x="461" y="386"/>
                  </a:cubicBezTo>
                  <a:cubicBezTo>
                    <a:pt x="495" y="386"/>
                    <a:pt x="496" y="386"/>
                    <a:pt x="497" y="387"/>
                  </a:cubicBezTo>
                  <a:cubicBezTo>
                    <a:pt x="498" y="389"/>
                    <a:pt x="497" y="391"/>
                    <a:pt x="495" y="391"/>
                  </a:cubicBezTo>
                  <a:cubicBezTo>
                    <a:pt x="495" y="389"/>
                    <a:pt x="491" y="389"/>
                    <a:pt x="492" y="386"/>
                  </a:cubicBezTo>
                  <a:cubicBezTo>
                    <a:pt x="533" y="386"/>
                    <a:pt x="534" y="387"/>
                    <a:pt x="534" y="388"/>
                  </a:cubicBezTo>
                  <a:cubicBezTo>
                    <a:pt x="537" y="387"/>
                    <a:pt x="542" y="387"/>
                    <a:pt x="541" y="391"/>
                  </a:cubicBezTo>
                  <a:cubicBezTo>
                    <a:pt x="541" y="391"/>
                    <a:pt x="541" y="391"/>
                    <a:pt x="540" y="391"/>
                  </a:cubicBezTo>
                  <a:cubicBezTo>
                    <a:pt x="545" y="391"/>
                    <a:pt x="549" y="391"/>
                    <a:pt x="553" y="392"/>
                  </a:cubicBezTo>
                  <a:cubicBezTo>
                    <a:pt x="553" y="391"/>
                    <a:pt x="554" y="390"/>
                    <a:pt x="555" y="390"/>
                  </a:cubicBezTo>
                  <a:cubicBezTo>
                    <a:pt x="555" y="391"/>
                    <a:pt x="555" y="391"/>
                    <a:pt x="555" y="392"/>
                  </a:cubicBezTo>
                  <a:cubicBezTo>
                    <a:pt x="559" y="392"/>
                    <a:pt x="563" y="392"/>
                    <a:pt x="567" y="392"/>
                  </a:cubicBezTo>
                  <a:cubicBezTo>
                    <a:pt x="571" y="391"/>
                    <a:pt x="574" y="393"/>
                    <a:pt x="578" y="392"/>
                  </a:cubicBezTo>
                  <a:cubicBezTo>
                    <a:pt x="577" y="389"/>
                    <a:pt x="574" y="387"/>
                    <a:pt x="571" y="386"/>
                  </a:cubicBezTo>
                  <a:cubicBezTo>
                    <a:pt x="570" y="386"/>
                    <a:pt x="569" y="386"/>
                    <a:pt x="567" y="386"/>
                  </a:cubicBezTo>
                  <a:cubicBezTo>
                    <a:pt x="566" y="387"/>
                    <a:pt x="565" y="388"/>
                    <a:pt x="562" y="389"/>
                  </a:cubicBezTo>
                  <a:cubicBezTo>
                    <a:pt x="561" y="385"/>
                    <a:pt x="564" y="386"/>
                    <a:pt x="565" y="386"/>
                  </a:cubicBezTo>
                  <a:cubicBezTo>
                    <a:pt x="561" y="385"/>
                    <a:pt x="557" y="385"/>
                    <a:pt x="553" y="385"/>
                  </a:cubicBezTo>
                  <a:cubicBezTo>
                    <a:pt x="553" y="386"/>
                    <a:pt x="553" y="388"/>
                    <a:pt x="552" y="389"/>
                  </a:cubicBezTo>
                  <a:cubicBezTo>
                    <a:pt x="549" y="389"/>
                    <a:pt x="548" y="387"/>
                    <a:pt x="547" y="385"/>
                  </a:cubicBezTo>
                  <a:cubicBezTo>
                    <a:pt x="546" y="385"/>
                    <a:pt x="546" y="385"/>
                    <a:pt x="545" y="385"/>
                  </a:cubicBezTo>
                  <a:cubicBezTo>
                    <a:pt x="545" y="385"/>
                    <a:pt x="545" y="386"/>
                    <a:pt x="545" y="386"/>
                  </a:cubicBezTo>
                  <a:cubicBezTo>
                    <a:pt x="543" y="386"/>
                    <a:pt x="540" y="386"/>
                    <a:pt x="538" y="386"/>
                  </a:cubicBezTo>
                  <a:cubicBezTo>
                    <a:pt x="537" y="386"/>
                    <a:pt x="537" y="385"/>
                    <a:pt x="537" y="384"/>
                  </a:cubicBezTo>
                  <a:cubicBezTo>
                    <a:pt x="536" y="384"/>
                    <a:pt x="535" y="384"/>
                    <a:pt x="534" y="384"/>
                  </a:cubicBezTo>
                  <a:cubicBezTo>
                    <a:pt x="647" y="862"/>
                    <a:pt x="647" y="862"/>
                    <a:pt x="647" y="862"/>
                  </a:cubicBezTo>
                  <a:cubicBezTo>
                    <a:pt x="646" y="862"/>
                    <a:pt x="646" y="861"/>
                    <a:pt x="646" y="861"/>
                  </a:cubicBezTo>
                  <a:cubicBezTo>
                    <a:pt x="645" y="861"/>
                    <a:pt x="645" y="862"/>
                    <a:pt x="644" y="863"/>
                  </a:cubicBezTo>
                  <a:cubicBezTo>
                    <a:pt x="643" y="863"/>
                    <a:pt x="643" y="863"/>
                    <a:pt x="643" y="863"/>
                  </a:cubicBezTo>
                  <a:cubicBezTo>
                    <a:pt x="648" y="869"/>
                    <a:pt x="653" y="874"/>
                    <a:pt x="659" y="880"/>
                  </a:cubicBezTo>
                  <a:cubicBezTo>
                    <a:pt x="660" y="880"/>
                    <a:pt x="660" y="880"/>
                    <a:pt x="660" y="880"/>
                  </a:cubicBezTo>
                  <a:cubicBezTo>
                    <a:pt x="660" y="880"/>
                    <a:pt x="660" y="880"/>
                    <a:pt x="660" y="880"/>
                  </a:cubicBezTo>
                  <a:cubicBezTo>
                    <a:pt x="660" y="880"/>
                    <a:pt x="660" y="880"/>
                    <a:pt x="661" y="881"/>
                  </a:cubicBezTo>
                  <a:cubicBezTo>
                    <a:pt x="661" y="881"/>
                    <a:pt x="660" y="881"/>
                    <a:pt x="660" y="881"/>
                  </a:cubicBezTo>
                  <a:cubicBezTo>
                    <a:pt x="662" y="883"/>
                    <a:pt x="663" y="884"/>
                    <a:pt x="665" y="885"/>
                  </a:cubicBezTo>
                  <a:cubicBezTo>
                    <a:pt x="666" y="882"/>
                    <a:pt x="669" y="882"/>
                    <a:pt x="673" y="882"/>
                  </a:cubicBezTo>
                  <a:cubicBezTo>
                    <a:pt x="667" y="878"/>
                    <a:pt x="662" y="872"/>
                    <a:pt x="657" y="867"/>
                  </a:cubicBezTo>
                  <a:cubicBezTo>
                    <a:pt x="656" y="866"/>
                    <a:pt x="654" y="864"/>
                    <a:pt x="653" y="862"/>
                  </a:cubicBezTo>
                  <a:cubicBezTo>
                    <a:pt x="627" y="749"/>
                    <a:pt x="628" y="747"/>
                    <a:pt x="628" y="745"/>
                  </a:cubicBezTo>
                  <a:cubicBezTo>
                    <a:pt x="625" y="747"/>
                    <a:pt x="623" y="750"/>
                    <a:pt x="620" y="752"/>
                  </a:cubicBezTo>
                  <a:cubicBezTo>
                    <a:pt x="620" y="753"/>
                    <a:pt x="621" y="755"/>
                    <a:pt x="621" y="756"/>
                  </a:cubicBezTo>
                  <a:cubicBezTo>
                    <a:pt x="616" y="756"/>
                    <a:pt x="616" y="756"/>
                    <a:pt x="616" y="756"/>
                  </a:cubicBezTo>
                  <a:cubicBezTo>
                    <a:pt x="605" y="767"/>
                    <a:pt x="597" y="782"/>
                    <a:pt x="596" y="798"/>
                  </a:cubicBezTo>
                  <a:cubicBezTo>
                    <a:pt x="596" y="802"/>
                    <a:pt x="596" y="806"/>
                    <a:pt x="597" y="811"/>
                  </a:cubicBezTo>
                  <a:cubicBezTo>
                    <a:pt x="597" y="812"/>
                    <a:pt x="598" y="814"/>
                    <a:pt x="598" y="816"/>
                  </a:cubicBezTo>
                  <a:cubicBezTo>
                    <a:pt x="597" y="816"/>
                    <a:pt x="597" y="816"/>
                    <a:pt x="597" y="816"/>
                  </a:cubicBezTo>
                  <a:cubicBezTo>
                    <a:pt x="597" y="817"/>
                    <a:pt x="597" y="819"/>
                    <a:pt x="598" y="820"/>
                  </a:cubicBezTo>
                  <a:cubicBezTo>
                    <a:pt x="598" y="820"/>
                    <a:pt x="599" y="821"/>
                    <a:pt x="600" y="821"/>
                  </a:cubicBezTo>
                  <a:cubicBezTo>
                    <a:pt x="599" y="822"/>
                    <a:pt x="599" y="822"/>
                    <a:pt x="598" y="823"/>
                  </a:cubicBezTo>
                  <a:cubicBezTo>
                    <a:pt x="598" y="823"/>
                    <a:pt x="598" y="823"/>
                    <a:pt x="598" y="823"/>
                  </a:cubicBezTo>
                  <a:cubicBezTo>
                    <a:pt x="599" y="822"/>
                    <a:pt x="600" y="821"/>
                    <a:pt x="601" y="820"/>
                  </a:cubicBezTo>
                  <a:cubicBezTo>
                    <a:pt x="601" y="821"/>
                    <a:pt x="600" y="823"/>
                    <a:pt x="599" y="826"/>
                  </a:cubicBezTo>
                  <a:cubicBezTo>
                    <a:pt x="604" y="847"/>
                    <a:pt x="614" y="867"/>
                    <a:pt x="628" y="884"/>
                  </a:cubicBezTo>
                  <a:cubicBezTo>
                    <a:pt x="630" y="881"/>
                    <a:pt x="633" y="882"/>
                    <a:pt x="634" y="885"/>
                  </a:cubicBezTo>
                  <a:cubicBezTo>
                    <a:pt x="637" y="886"/>
                    <a:pt x="638" y="887"/>
                    <a:pt x="639" y="891"/>
                  </a:cubicBezTo>
                  <a:cubicBezTo>
                    <a:pt x="637" y="891"/>
                    <a:pt x="636" y="892"/>
                    <a:pt x="635" y="892"/>
                  </a:cubicBezTo>
                  <a:cubicBezTo>
                    <a:pt x="637" y="894"/>
                    <a:pt x="640" y="897"/>
                    <a:pt x="643" y="900"/>
                  </a:cubicBezTo>
                  <a:cubicBezTo>
                    <a:pt x="650" y="907"/>
                    <a:pt x="658" y="913"/>
                    <a:pt x="666" y="918"/>
                  </a:cubicBezTo>
                  <a:cubicBezTo>
                    <a:pt x="666" y="917"/>
                    <a:pt x="667" y="916"/>
                    <a:pt x="669" y="917"/>
                  </a:cubicBezTo>
                  <a:cubicBezTo>
                    <a:pt x="669" y="916"/>
                    <a:pt x="669" y="916"/>
                    <a:pt x="669" y="915"/>
                  </a:cubicBezTo>
                  <a:cubicBezTo>
                    <a:pt x="670" y="915"/>
                    <a:pt x="670" y="915"/>
                    <a:pt x="670" y="915"/>
                  </a:cubicBezTo>
                  <a:cubicBezTo>
                    <a:pt x="671" y="917"/>
                    <a:pt x="672" y="918"/>
                    <a:pt x="673" y="919"/>
                  </a:cubicBezTo>
                  <a:cubicBezTo>
                    <a:pt x="673" y="918"/>
                    <a:pt x="673" y="917"/>
                    <a:pt x="674" y="917"/>
                  </a:cubicBezTo>
                  <a:cubicBezTo>
                    <a:pt x="674" y="916"/>
                    <a:pt x="673" y="916"/>
                    <a:pt x="673" y="915"/>
                  </a:cubicBezTo>
                  <a:cubicBezTo>
                    <a:pt x="675" y="915"/>
                    <a:pt x="675" y="915"/>
                    <a:pt x="675" y="915"/>
                  </a:cubicBezTo>
                  <a:cubicBezTo>
                    <a:pt x="667" y="910"/>
                    <a:pt x="659" y="904"/>
                    <a:pt x="652" y="898"/>
                  </a:cubicBezTo>
                  <a:cubicBezTo>
                    <a:pt x="649" y="898"/>
                    <a:pt x="649" y="898"/>
                    <a:pt x="649" y="898"/>
                  </a:cubicBezTo>
                  <a:cubicBezTo>
                    <a:pt x="649" y="898"/>
                    <a:pt x="649" y="898"/>
                    <a:pt x="649" y="898"/>
                  </a:cubicBezTo>
                  <a:cubicBezTo>
                    <a:pt x="648" y="897"/>
                    <a:pt x="648" y="896"/>
                    <a:pt x="648" y="895"/>
                  </a:cubicBezTo>
                  <a:cubicBezTo>
                    <a:pt x="638" y="886"/>
                    <a:pt x="629" y="875"/>
                    <a:pt x="622" y="863"/>
                  </a:cubicBezTo>
                  <a:cubicBezTo>
                    <a:pt x="615" y="863"/>
                    <a:pt x="615" y="863"/>
                    <a:pt x="615" y="863"/>
                  </a:cubicBezTo>
                  <a:cubicBezTo>
                    <a:pt x="615" y="861"/>
                    <a:pt x="616" y="859"/>
                    <a:pt x="619" y="858"/>
                  </a:cubicBezTo>
                  <a:cubicBezTo>
                    <a:pt x="617" y="855"/>
                    <a:pt x="616" y="852"/>
                    <a:pt x="614" y="848"/>
                  </a:cubicBezTo>
                  <a:cubicBezTo>
                    <a:pt x="614" y="849"/>
                    <a:pt x="613" y="850"/>
                    <a:pt x="613" y="851"/>
                  </a:cubicBezTo>
                  <a:cubicBezTo>
                    <a:pt x="612" y="851"/>
                    <a:pt x="611" y="849"/>
                    <a:pt x="609" y="849"/>
                  </a:cubicBezTo>
                  <a:cubicBezTo>
                    <a:pt x="608" y="846"/>
                    <a:pt x="611" y="845"/>
                    <a:pt x="613" y="846"/>
                  </a:cubicBezTo>
                  <a:cubicBezTo>
                    <a:pt x="611" y="842"/>
                    <a:pt x="609" y="837"/>
                    <a:pt x="608" y="832"/>
                  </a:cubicBezTo>
                  <a:cubicBezTo>
                    <a:pt x="607" y="828"/>
                    <a:pt x="605" y="824"/>
                    <a:pt x="605" y="819"/>
                  </a:cubicBezTo>
                  <a:cubicBezTo>
                    <a:pt x="604" y="818"/>
                    <a:pt x="603" y="816"/>
                    <a:pt x="603" y="815"/>
                  </a:cubicBezTo>
                  <a:cubicBezTo>
                    <a:pt x="603" y="815"/>
                    <a:pt x="604" y="815"/>
                    <a:pt x="604" y="815"/>
                  </a:cubicBezTo>
                  <a:cubicBezTo>
                    <a:pt x="603" y="807"/>
                    <a:pt x="603" y="799"/>
                    <a:pt x="604" y="791"/>
                  </a:cubicBezTo>
                  <a:cubicBezTo>
                    <a:pt x="602" y="792"/>
                    <a:pt x="601" y="792"/>
                    <a:pt x="600" y="790"/>
                  </a:cubicBezTo>
                  <a:cubicBezTo>
                    <a:pt x="600" y="788"/>
                    <a:pt x="601" y="786"/>
                    <a:pt x="603" y="786"/>
                  </a:cubicBezTo>
                  <a:cubicBezTo>
                    <a:pt x="604" y="786"/>
                    <a:pt x="604" y="787"/>
                    <a:pt x="605" y="787"/>
                  </a:cubicBezTo>
                  <a:cubicBezTo>
                    <a:pt x="605" y="786"/>
                    <a:pt x="606" y="785"/>
                    <a:pt x="606" y="784"/>
                  </a:cubicBezTo>
                  <a:cubicBezTo>
                    <a:pt x="604" y="784"/>
                    <a:pt x="603" y="784"/>
                    <a:pt x="601" y="784"/>
                  </a:cubicBezTo>
                  <a:cubicBezTo>
                    <a:pt x="601" y="781"/>
                    <a:pt x="601" y="779"/>
                    <a:pt x="602" y="778"/>
                  </a:cubicBezTo>
                  <a:cubicBezTo>
                    <a:pt x="604" y="779"/>
                    <a:pt x="606" y="779"/>
                    <a:pt x="607" y="781"/>
                  </a:cubicBezTo>
                  <a:cubicBezTo>
                    <a:pt x="608" y="778"/>
                    <a:pt x="610" y="775"/>
                    <a:pt x="612" y="772"/>
                  </a:cubicBezTo>
                  <a:cubicBezTo>
                    <a:pt x="618" y="763"/>
                    <a:pt x="626" y="755"/>
                    <a:pt x="635" y="748"/>
                  </a:cubicBezTo>
                  <a:cubicBezTo>
                    <a:pt x="632" y="748"/>
                    <a:pt x="630" y="750"/>
                    <a:pt x="626" y="750"/>
                  </a:cubicBezTo>
                  <a:cubicBezTo>
                    <a:pt x="757" y="1001"/>
                    <a:pt x="759" y="1001"/>
                    <a:pt x="761" y="1002"/>
                  </a:cubicBezTo>
                  <a:cubicBezTo>
                    <a:pt x="762" y="1002"/>
                    <a:pt x="763" y="1002"/>
                    <a:pt x="763" y="1001"/>
                  </a:cubicBezTo>
                  <a:cubicBezTo>
                    <a:pt x="760" y="1001"/>
                    <a:pt x="757" y="1000"/>
                    <a:pt x="754" y="999"/>
                  </a:cubicBezTo>
                  <a:cubicBezTo>
                    <a:pt x="754" y="1000"/>
                    <a:pt x="754" y="1000"/>
                    <a:pt x="755" y="1001"/>
                  </a:cubicBezTo>
                  <a:cubicBezTo>
                    <a:pt x="908" y="955"/>
                    <a:pt x="912" y="956"/>
                    <a:pt x="911" y="953"/>
                  </a:cubicBezTo>
                  <a:cubicBezTo>
                    <a:pt x="905" y="954"/>
                    <a:pt x="905" y="954"/>
                    <a:pt x="905" y="954"/>
                  </a:cubicBezTo>
                  <a:cubicBezTo>
                    <a:pt x="905" y="956"/>
                    <a:pt x="906" y="956"/>
                    <a:pt x="907" y="958"/>
                  </a:cubicBezTo>
                  <a:cubicBezTo>
                    <a:pt x="907" y="958"/>
                    <a:pt x="907" y="957"/>
                    <a:pt x="908" y="957"/>
                  </a:cubicBezTo>
                  <a:cubicBezTo>
                    <a:pt x="908" y="957"/>
                    <a:pt x="908" y="956"/>
                    <a:pt x="908" y="956"/>
                  </a:cubicBezTo>
                  <a:cubicBezTo>
                    <a:pt x="743" y="997"/>
                    <a:pt x="738" y="996"/>
                    <a:pt x="733" y="995"/>
                  </a:cubicBezTo>
                  <a:cubicBezTo>
                    <a:pt x="732" y="994"/>
                    <a:pt x="730" y="994"/>
                    <a:pt x="729" y="993"/>
                  </a:cubicBezTo>
                  <a:cubicBezTo>
                    <a:pt x="731" y="996"/>
                    <a:pt x="733" y="998"/>
                    <a:pt x="734" y="1002"/>
                  </a:cubicBezTo>
                  <a:cubicBezTo>
                    <a:pt x="745" y="1005"/>
                    <a:pt x="755" y="1007"/>
                    <a:pt x="766" y="1009"/>
                  </a:cubicBezTo>
                  <a:cubicBezTo>
                    <a:pt x="803" y="1014"/>
                    <a:pt x="839" y="1011"/>
                    <a:pt x="873" y="1003"/>
                  </a:cubicBezTo>
                  <a:cubicBezTo>
                    <a:pt x="869" y="1003"/>
                    <a:pt x="869" y="1003"/>
                    <a:pt x="869" y="1003"/>
                  </a:cubicBezTo>
                  <a:cubicBezTo>
                    <a:pt x="869" y="1003"/>
                    <a:pt x="869" y="1003"/>
                    <a:pt x="869" y="1003"/>
                  </a:cubicBezTo>
                  <a:cubicBezTo>
                    <a:pt x="867" y="1001"/>
                    <a:pt x="865" y="999"/>
                    <a:pt x="863" y="998"/>
                  </a:cubicBezTo>
                  <a:cubicBezTo>
                    <a:pt x="861" y="1000"/>
                    <a:pt x="861" y="1001"/>
                    <a:pt x="862" y="1003"/>
                  </a:cubicBezTo>
                  <a:cubicBezTo>
                    <a:pt x="841" y="1003"/>
                    <a:pt x="841" y="1003"/>
                    <a:pt x="841" y="1003"/>
                  </a:cubicBezTo>
                  <a:cubicBezTo>
                    <a:pt x="842" y="1003"/>
                    <a:pt x="842" y="1003"/>
                    <a:pt x="842" y="1003"/>
                  </a:cubicBezTo>
                  <a:cubicBezTo>
                    <a:pt x="841" y="1003"/>
                    <a:pt x="841" y="1003"/>
                    <a:pt x="841" y="1002"/>
                  </a:cubicBezTo>
                  <a:cubicBezTo>
                    <a:pt x="841" y="1003"/>
                    <a:pt x="840" y="1003"/>
                    <a:pt x="839" y="1003"/>
                  </a:cubicBezTo>
                  <a:cubicBezTo>
                    <a:pt x="839" y="1003"/>
                    <a:pt x="839" y="1003"/>
                    <a:pt x="839" y="1003"/>
                  </a:cubicBezTo>
                  <a:cubicBezTo>
                    <a:pt x="833" y="1003"/>
                    <a:pt x="833" y="1003"/>
                    <a:pt x="833" y="1003"/>
                  </a:cubicBezTo>
                  <a:cubicBezTo>
                    <a:pt x="833" y="1003"/>
                    <a:pt x="832" y="1003"/>
                    <a:pt x="832" y="1002"/>
                  </a:cubicBezTo>
                  <a:cubicBezTo>
                    <a:pt x="827" y="1003"/>
                    <a:pt x="823" y="1003"/>
                    <a:pt x="818" y="1004"/>
                  </a:cubicBezTo>
                  <a:cubicBezTo>
                    <a:pt x="818" y="1004"/>
                    <a:pt x="818" y="1004"/>
                    <a:pt x="818" y="1004"/>
                  </a:cubicBezTo>
                  <a:cubicBezTo>
                    <a:pt x="817" y="1004"/>
                    <a:pt x="817" y="1004"/>
                    <a:pt x="817" y="1004"/>
                  </a:cubicBezTo>
                  <a:cubicBezTo>
                    <a:pt x="808" y="1004"/>
                    <a:pt x="798" y="1004"/>
                    <a:pt x="788" y="1004"/>
                  </a:cubicBezTo>
                  <a:cubicBezTo>
                    <a:pt x="788" y="1004"/>
                    <a:pt x="788" y="1004"/>
                    <a:pt x="788" y="1004"/>
                  </a:cubicBezTo>
                  <a:cubicBezTo>
                    <a:pt x="780" y="1004"/>
                    <a:pt x="780" y="1004"/>
                    <a:pt x="780" y="1004"/>
                  </a:cubicBezTo>
                  <a:cubicBezTo>
                    <a:pt x="780" y="1004"/>
                    <a:pt x="779" y="1003"/>
                    <a:pt x="779" y="1003"/>
                  </a:cubicBezTo>
                  <a:cubicBezTo>
                    <a:pt x="778" y="1003"/>
                    <a:pt x="776" y="1003"/>
                    <a:pt x="774" y="1003"/>
                  </a:cubicBezTo>
                  <a:cubicBezTo>
                    <a:pt x="775" y="1003"/>
                    <a:pt x="776" y="1004"/>
                    <a:pt x="776" y="1004"/>
                  </a:cubicBezTo>
                  <a:cubicBezTo>
                    <a:pt x="768" y="1004"/>
                    <a:pt x="768" y="1004"/>
                    <a:pt x="768" y="1004"/>
                  </a:cubicBezTo>
                  <a:cubicBezTo>
                    <a:pt x="767" y="1004"/>
                    <a:pt x="767" y="1004"/>
                    <a:pt x="767" y="1003"/>
                  </a:cubicBezTo>
                  <a:cubicBezTo>
                    <a:pt x="766" y="1003"/>
                    <a:pt x="766" y="1003"/>
                    <a:pt x="766" y="1004"/>
                  </a:cubicBezTo>
                  <a:cubicBezTo>
                    <a:pt x="751" y="1004"/>
                    <a:pt x="751" y="1004"/>
                    <a:pt x="751" y="1004"/>
                  </a:cubicBezTo>
                  <a:cubicBezTo>
                    <a:pt x="750" y="1002"/>
                    <a:pt x="749" y="1000"/>
                    <a:pt x="747" y="998"/>
                  </a:cubicBezTo>
                  <a:cubicBezTo>
                    <a:pt x="337" y="394"/>
                    <a:pt x="337" y="394"/>
                    <a:pt x="338" y="394"/>
                  </a:cubicBezTo>
                  <a:cubicBezTo>
                    <a:pt x="337" y="394"/>
                    <a:pt x="337" y="394"/>
                    <a:pt x="337" y="394"/>
                  </a:cubicBezTo>
                  <a:cubicBezTo>
                    <a:pt x="337" y="394"/>
                    <a:pt x="337" y="394"/>
                    <a:pt x="337" y="394"/>
                  </a:cubicBezTo>
                  <a:cubicBezTo>
                    <a:pt x="627" y="822"/>
                    <a:pt x="627" y="824"/>
                    <a:pt x="627" y="825"/>
                  </a:cubicBezTo>
                  <a:cubicBezTo>
                    <a:pt x="628" y="832"/>
                    <a:pt x="631" y="839"/>
                    <a:pt x="633" y="845"/>
                  </a:cubicBezTo>
                  <a:cubicBezTo>
                    <a:pt x="636" y="845"/>
                    <a:pt x="639" y="846"/>
                    <a:pt x="639" y="851"/>
                  </a:cubicBezTo>
                  <a:cubicBezTo>
                    <a:pt x="638" y="852"/>
                    <a:pt x="638" y="852"/>
                    <a:pt x="637" y="852"/>
                  </a:cubicBezTo>
                  <a:cubicBezTo>
                    <a:pt x="637" y="852"/>
                    <a:pt x="637" y="853"/>
                    <a:pt x="637" y="853"/>
                  </a:cubicBezTo>
                  <a:cubicBezTo>
                    <a:pt x="642" y="853"/>
                    <a:pt x="644" y="856"/>
                    <a:pt x="643" y="859"/>
                  </a:cubicBezTo>
                  <a:cubicBezTo>
                    <a:pt x="644" y="857"/>
                    <a:pt x="646" y="856"/>
                    <a:pt x="648" y="856"/>
                  </a:cubicBezTo>
                  <a:cubicBezTo>
                    <a:pt x="642" y="847"/>
                    <a:pt x="637" y="837"/>
                    <a:pt x="635" y="827"/>
                  </a:cubicBezTo>
                  <a:cubicBezTo>
                    <a:pt x="634" y="827"/>
                    <a:pt x="634" y="827"/>
                    <a:pt x="634" y="827"/>
                  </a:cubicBezTo>
                  <a:cubicBezTo>
                    <a:pt x="634" y="827"/>
                    <a:pt x="633" y="827"/>
                    <a:pt x="633" y="827"/>
                  </a:cubicBezTo>
                  <a:cubicBezTo>
                    <a:pt x="634" y="827"/>
                    <a:pt x="634" y="827"/>
                    <a:pt x="635" y="826"/>
                  </a:cubicBezTo>
                  <a:cubicBezTo>
                    <a:pt x="634" y="825"/>
                    <a:pt x="634" y="825"/>
                    <a:pt x="634" y="824"/>
                  </a:cubicBezTo>
                  <a:cubicBezTo>
                    <a:pt x="633" y="824"/>
                    <a:pt x="632" y="824"/>
                    <a:pt x="630" y="823"/>
                  </a:cubicBezTo>
                  <a:cubicBezTo>
                    <a:pt x="630" y="822"/>
                    <a:pt x="630" y="821"/>
                    <a:pt x="630" y="820"/>
                  </a:cubicBezTo>
                  <a:cubicBezTo>
                    <a:pt x="629" y="820"/>
                    <a:pt x="628" y="820"/>
                    <a:pt x="627" y="820"/>
                  </a:cubicBezTo>
                  <a:cubicBezTo>
                    <a:pt x="642" y="860"/>
                    <a:pt x="642" y="860"/>
                    <a:pt x="642" y="861"/>
                  </a:cubicBezTo>
                  <a:cubicBezTo>
                    <a:pt x="642" y="860"/>
                    <a:pt x="643" y="860"/>
                    <a:pt x="643" y="859"/>
                  </a:cubicBezTo>
                  <a:cubicBezTo>
                    <a:pt x="642" y="859"/>
                    <a:pt x="642" y="859"/>
                    <a:pt x="641" y="859"/>
                  </a:cubicBezTo>
                  <a:cubicBezTo>
                    <a:pt x="479" y="543"/>
                    <a:pt x="479" y="543"/>
                    <a:pt x="479" y="543"/>
                  </a:cubicBezTo>
                  <a:cubicBezTo>
                    <a:pt x="478" y="543"/>
                    <a:pt x="478" y="542"/>
                    <a:pt x="477" y="542"/>
                  </a:cubicBezTo>
                  <a:cubicBezTo>
                    <a:pt x="477" y="542"/>
                    <a:pt x="477" y="543"/>
                    <a:pt x="477" y="543"/>
                  </a:cubicBezTo>
                  <a:cubicBezTo>
                    <a:pt x="469" y="543"/>
                    <a:pt x="469" y="543"/>
                    <a:pt x="469" y="543"/>
                  </a:cubicBezTo>
                  <a:cubicBezTo>
                    <a:pt x="457" y="548"/>
                    <a:pt x="446" y="554"/>
                    <a:pt x="435" y="561"/>
                  </a:cubicBezTo>
                  <a:cubicBezTo>
                    <a:pt x="437" y="561"/>
                    <a:pt x="437" y="561"/>
                    <a:pt x="437" y="561"/>
                  </a:cubicBezTo>
                  <a:cubicBezTo>
                    <a:pt x="439" y="562"/>
                    <a:pt x="441" y="562"/>
                    <a:pt x="445" y="562"/>
                  </a:cubicBezTo>
                  <a:cubicBezTo>
                    <a:pt x="444" y="562"/>
                    <a:pt x="445" y="563"/>
                    <a:pt x="445" y="563"/>
                  </a:cubicBezTo>
                  <a:cubicBezTo>
                    <a:pt x="458" y="555"/>
                    <a:pt x="472" y="549"/>
                    <a:pt x="487" y="543"/>
                  </a:cubicBezTo>
                  <a:cubicBezTo>
                    <a:pt x="206" y="710"/>
                    <a:pt x="204" y="711"/>
                    <a:pt x="201" y="710"/>
                  </a:cubicBezTo>
                  <a:cubicBezTo>
                    <a:pt x="201" y="710"/>
                    <a:pt x="200" y="710"/>
                    <a:pt x="200" y="710"/>
                  </a:cubicBezTo>
                  <a:cubicBezTo>
                    <a:pt x="199" y="713"/>
                    <a:pt x="198" y="717"/>
                    <a:pt x="197" y="720"/>
                  </a:cubicBezTo>
                  <a:cubicBezTo>
                    <a:pt x="197" y="721"/>
                    <a:pt x="198" y="721"/>
                    <a:pt x="198" y="721"/>
                  </a:cubicBezTo>
                  <a:cubicBezTo>
                    <a:pt x="198" y="720"/>
                    <a:pt x="198" y="718"/>
                    <a:pt x="198" y="717"/>
                  </a:cubicBezTo>
                  <a:cubicBezTo>
                    <a:pt x="201" y="717"/>
                    <a:pt x="203" y="717"/>
                    <a:pt x="205" y="717"/>
                  </a:cubicBezTo>
                  <a:cubicBezTo>
                    <a:pt x="206" y="714"/>
                    <a:pt x="207" y="712"/>
                    <a:pt x="208" y="710"/>
                  </a:cubicBezTo>
                  <a:cubicBezTo>
                    <a:pt x="162" y="751"/>
                    <a:pt x="161" y="752"/>
                    <a:pt x="161" y="753"/>
                  </a:cubicBezTo>
                  <a:cubicBezTo>
                    <a:pt x="162" y="752"/>
                    <a:pt x="162" y="751"/>
                    <a:pt x="162" y="750"/>
                  </a:cubicBezTo>
                  <a:cubicBezTo>
                    <a:pt x="279" y="628"/>
                    <a:pt x="283" y="622"/>
                    <a:pt x="288" y="616"/>
                  </a:cubicBezTo>
                  <a:cubicBezTo>
                    <a:pt x="288" y="616"/>
                    <a:pt x="288" y="615"/>
                    <a:pt x="287" y="615"/>
                  </a:cubicBezTo>
                  <a:cubicBezTo>
                    <a:pt x="288" y="615"/>
                    <a:pt x="289" y="614"/>
                    <a:pt x="289" y="614"/>
                  </a:cubicBezTo>
                  <a:cubicBezTo>
                    <a:pt x="290" y="613"/>
                    <a:pt x="291" y="612"/>
                    <a:pt x="292" y="611"/>
                  </a:cubicBezTo>
                  <a:cubicBezTo>
                    <a:pt x="288" y="611"/>
                    <a:pt x="286" y="610"/>
                    <a:pt x="285" y="609"/>
                  </a:cubicBezTo>
                  <a:cubicBezTo>
                    <a:pt x="284" y="609"/>
                    <a:pt x="284" y="610"/>
                    <a:pt x="283" y="611"/>
                  </a:cubicBezTo>
                  <a:cubicBezTo>
                    <a:pt x="284" y="611"/>
                    <a:pt x="284" y="611"/>
                    <a:pt x="284" y="611"/>
                  </a:cubicBezTo>
                  <a:cubicBezTo>
                    <a:pt x="283" y="613"/>
                    <a:pt x="284" y="614"/>
                    <a:pt x="285" y="616"/>
                  </a:cubicBezTo>
                  <a:cubicBezTo>
                    <a:pt x="279" y="616"/>
                    <a:pt x="279" y="616"/>
                    <a:pt x="279" y="616"/>
                  </a:cubicBezTo>
                  <a:cubicBezTo>
                    <a:pt x="275" y="622"/>
                    <a:pt x="271" y="628"/>
                    <a:pt x="267" y="634"/>
                  </a:cubicBezTo>
                  <a:cubicBezTo>
                    <a:pt x="272" y="634"/>
                    <a:pt x="272" y="634"/>
                    <a:pt x="272" y="634"/>
                  </a:cubicBezTo>
                  <a:cubicBezTo>
                    <a:pt x="273" y="634"/>
                    <a:pt x="274" y="634"/>
                    <a:pt x="274" y="635"/>
                  </a:cubicBezTo>
                  <a:cubicBezTo>
                    <a:pt x="153" y="725"/>
                    <a:pt x="149" y="733"/>
                    <a:pt x="145" y="742"/>
                  </a:cubicBezTo>
                  <a:cubicBezTo>
                    <a:pt x="147" y="742"/>
                    <a:pt x="147" y="742"/>
                    <a:pt x="147" y="742"/>
                  </a:cubicBezTo>
                  <a:cubicBezTo>
                    <a:pt x="147" y="744"/>
                    <a:pt x="147" y="747"/>
                    <a:pt x="146" y="748"/>
                  </a:cubicBezTo>
                  <a:cubicBezTo>
                    <a:pt x="146" y="746"/>
                    <a:pt x="144" y="747"/>
                    <a:pt x="142" y="748"/>
                  </a:cubicBezTo>
                  <a:cubicBezTo>
                    <a:pt x="141" y="749"/>
                    <a:pt x="141" y="749"/>
                    <a:pt x="141" y="749"/>
                  </a:cubicBezTo>
                  <a:cubicBezTo>
                    <a:pt x="141" y="750"/>
                    <a:pt x="141" y="750"/>
                    <a:pt x="141" y="750"/>
                  </a:cubicBezTo>
                  <a:cubicBezTo>
                    <a:pt x="142" y="750"/>
                    <a:pt x="143" y="751"/>
                    <a:pt x="143" y="753"/>
                  </a:cubicBezTo>
                  <a:cubicBezTo>
                    <a:pt x="141" y="754"/>
                    <a:pt x="140" y="754"/>
                    <a:pt x="139" y="754"/>
                  </a:cubicBezTo>
                  <a:cubicBezTo>
                    <a:pt x="135" y="762"/>
                    <a:pt x="131" y="771"/>
                    <a:pt x="127" y="780"/>
                  </a:cubicBezTo>
                  <a:cubicBezTo>
                    <a:pt x="127" y="780"/>
                    <a:pt x="128" y="780"/>
                    <a:pt x="128" y="780"/>
                  </a:cubicBezTo>
                  <a:cubicBezTo>
                    <a:pt x="128" y="782"/>
                    <a:pt x="129" y="783"/>
                    <a:pt x="129" y="784"/>
                  </a:cubicBezTo>
                  <a:cubicBezTo>
                    <a:pt x="130" y="782"/>
                    <a:pt x="130" y="780"/>
                    <a:pt x="129" y="777"/>
                  </a:cubicBezTo>
                  <a:cubicBezTo>
                    <a:pt x="134" y="777"/>
                    <a:pt x="134" y="777"/>
                    <a:pt x="134" y="777"/>
                  </a:cubicBezTo>
                  <a:cubicBezTo>
                    <a:pt x="134" y="777"/>
                    <a:pt x="134" y="778"/>
                    <a:pt x="134" y="778"/>
                  </a:cubicBezTo>
                  <a:cubicBezTo>
                    <a:pt x="140" y="766"/>
                    <a:pt x="146" y="755"/>
                    <a:pt x="151" y="743"/>
                  </a:cubicBezTo>
                  <a:cubicBezTo>
                    <a:pt x="151" y="743"/>
                    <a:pt x="151" y="743"/>
                    <a:pt x="151" y="743"/>
                  </a:cubicBezTo>
                  <a:cubicBezTo>
                    <a:pt x="151" y="743"/>
                    <a:pt x="151" y="742"/>
                    <a:pt x="151" y="742"/>
                  </a:cubicBezTo>
                  <a:cubicBezTo>
                    <a:pt x="152" y="742"/>
                    <a:pt x="152" y="742"/>
                    <a:pt x="152" y="742"/>
                  </a:cubicBezTo>
                  <a:cubicBezTo>
                    <a:pt x="155" y="736"/>
                    <a:pt x="158" y="730"/>
                    <a:pt x="161" y="724"/>
                  </a:cubicBezTo>
                  <a:cubicBezTo>
                    <a:pt x="160" y="724"/>
                    <a:pt x="160" y="724"/>
                    <a:pt x="160" y="724"/>
                  </a:cubicBezTo>
                  <a:cubicBezTo>
                    <a:pt x="160" y="721"/>
                    <a:pt x="159" y="719"/>
                    <a:pt x="157" y="716"/>
                  </a:cubicBezTo>
                  <a:cubicBezTo>
                    <a:pt x="223" y="671"/>
                    <a:pt x="223" y="672"/>
                    <a:pt x="223" y="673"/>
                  </a:cubicBezTo>
                  <a:cubicBezTo>
                    <a:pt x="232" y="654"/>
                    <a:pt x="242" y="635"/>
                    <a:pt x="254" y="616"/>
                  </a:cubicBezTo>
                  <a:cubicBezTo>
                    <a:pt x="250" y="616"/>
                    <a:pt x="250" y="616"/>
                    <a:pt x="250" y="616"/>
                  </a:cubicBezTo>
                  <a:cubicBezTo>
                    <a:pt x="249" y="615"/>
                    <a:pt x="249" y="613"/>
                    <a:pt x="249" y="611"/>
                  </a:cubicBezTo>
                  <a:cubicBezTo>
                    <a:pt x="245" y="617"/>
                    <a:pt x="242" y="623"/>
                    <a:pt x="238" y="629"/>
                  </a:cubicBezTo>
                  <a:cubicBezTo>
                    <a:pt x="230" y="642"/>
                    <a:pt x="223" y="656"/>
                    <a:pt x="217" y="670"/>
                  </a:cubicBezTo>
                  <a:cubicBezTo>
                    <a:pt x="599" y="491"/>
                    <a:pt x="598" y="491"/>
                    <a:pt x="596" y="491"/>
                  </a:cubicBezTo>
                  <a:cubicBezTo>
                    <a:pt x="598" y="493"/>
                    <a:pt x="599" y="495"/>
                    <a:pt x="600" y="497"/>
                  </a:cubicBezTo>
                  <a:cubicBezTo>
                    <a:pt x="602" y="497"/>
                    <a:pt x="605" y="497"/>
                    <a:pt x="607" y="497"/>
                  </a:cubicBezTo>
                  <a:cubicBezTo>
                    <a:pt x="607" y="497"/>
                    <a:pt x="607" y="497"/>
                    <a:pt x="608" y="497"/>
                  </a:cubicBezTo>
                  <a:cubicBezTo>
                    <a:pt x="610" y="497"/>
                    <a:pt x="611" y="497"/>
                    <a:pt x="612" y="497"/>
                  </a:cubicBezTo>
                  <a:cubicBezTo>
                    <a:pt x="613" y="497"/>
                    <a:pt x="614" y="497"/>
                    <a:pt x="615" y="498"/>
                  </a:cubicBezTo>
                  <a:cubicBezTo>
                    <a:pt x="615" y="497"/>
                    <a:pt x="615" y="496"/>
                    <a:pt x="615" y="495"/>
                  </a:cubicBezTo>
                  <a:cubicBezTo>
                    <a:pt x="616" y="495"/>
                    <a:pt x="617" y="494"/>
                    <a:pt x="618" y="494"/>
                  </a:cubicBezTo>
                  <a:cubicBezTo>
                    <a:pt x="619" y="495"/>
                    <a:pt x="621" y="496"/>
                    <a:pt x="622" y="498"/>
                  </a:cubicBezTo>
                  <a:cubicBezTo>
                    <a:pt x="623" y="498"/>
                    <a:pt x="624" y="498"/>
                    <a:pt x="625" y="498"/>
                  </a:cubicBezTo>
                  <a:cubicBezTo>
                    <a:pt x="623" y="495"/>
                    <a:pt x="622" y="492"/>
                    <a:pt x="620" y="490"/>
                  </a:cubicBezTo>
                  <a:cubicBezTo>
                    <a:pt x="619" y="490"/>
                    <a:pt x="618" y="490"/>
                    <a:pt x="617" y="490"/>
                  </a:cubicBezTo>
                  <a:cubicBezTo>
                    <a:pt x="617" y="492"/>
                    <a:pt x="617" y="493"/>
                    <a:pt x="616" y="494"/>
                  </a:cubicBezTo>
                  <a:cubicBezTo>
                    <a:pt x="614" y="494"/>
                    <a:pt x="612" y="494"/>
                    <a:pt x="610" y="494"/>
                  </a:cubicBezTo>
                  <a:cubicBezTo>
                    <a:pt x="609" y="493"/>
                    <a:pt x="609" y="491"/>
                    <a:pt x="609" y="490"/>
                  </a:cubicBezTo>
                  <a:cubicBezTo>
                    <a:pt x="606" y="490"/>
                    <a:pt x="603" y="490"/>
                    <a:pt x="601" y="490"/>
                  </a:cubicBezTo>
                  <a:cubicBezTo>
                    <a:pt x="772" y="497"/>
                    <a:pt x="763" y="494"/>
                    <a:pt x="755" y="492"/>
                  </a:cubicBezTo>
                  <a:cubicBezTo>
                    <a:pt x="710" y="481"/>
                    <a:pt x="663" y="472"/>
                    <a:pt x="617" y="468"/>
                  </a:cubicBezTo>
                  <a:cubicBezTo>
                    <a:pt x="619" y="469"/>
                    <a:pt x="620" y="471"/>
                    <a:pt x="623" y="470"/>
                  </a:cubicBezTo>
                  <a:cubicBezTo>
                    <a:pt x="623" y="470"/>
                    <a:pt x="623" y="470"/>
                    <a:pt x="623" y="470"/>
                  </a:cubicBezTo>
                  <a:cubicBezTo>
                    <a:pt x="602" y="471"/>
                    <a:pt x="602" y="471"/>
                    <a:pt x="602" y="471"/>
                  </a:cubicBezTo>
                  <a:cubicBezTo>
                    <a:pt x="601" y="470"/>
                    <a:pt x="600" y="468"/>
                    <a:pt x="599" y="467"/>
                  </a:cubicBezTo>
                  <a:cubicBezTo>
                    <a:pt x="596" y="467"/>
                    <a:pt x="594" y="467"/>
                    <a:pt x="591" y="467"/>
                  </a:cubicBezTo>
                  <a:cubicBezTo>
                    <a:pt x="591" y="469"/>
                    <a:pt x="591" y="470"/>
                    <a:pt x="592" y="471"/>
                  </a:cubicBezTo>
                  <a:cubicBezTo>
                    <a:pt x="563" y="471"/>
                    <a:pt x="563" y="471"/>
                    <a:pt x="563" y="471"/>
                  </a:cubicBezTo>
                  <a:cubicBezTo>
                    <a:pt x="563" y="470"/>
                    <a:pt x="563" y="469"/>
                    <a:pt x="563" y="468"/>
                  </a:cubicBezTo>
                  <a:cubicBezTo>
                    <a:pt x="566" y="466"/>
                    <a:pt x="567" y="469"/>
                    <a:pt x="568" y="467"/>
                  </a:cubicBezTo>
                  <a:cubicBezTo>
                    <a:pt x="563" y="467"/>
                    <a:pt x="557" y="467"/>
                    <a:pt x="552" y="467"/>
                  </a:cubicBezTo>
                  <a:cubicBezTo>
                    <a:pt x="551" y="469"/>
                    <a:pt x="550" y="470"/>
                    <a:pt x="549" y="471"/>
                  </a:cubicBezTo>
                  <a:cubicBezTo>
                    <a:pt x="540" y="471"/>
                    <a:pt x="540" y="471"/>
                    <a:pt x="540" y="471"/>
                  </a:cubicBezTo>
                  <a:cubicBezTo>
                    <a:pt x="541" y="470"/>
                    <a:pt x="541" y="470"/>
                    <a:pt x="541" y="469"/>
                  </a:cubicBezTo>
                  <a:cubicBezTo>
                    <a:pt x="542" y="469"/>
                    <a:pt x="542" y="469"/>
                    <a:pt x="542" y="469"/>
                  </a:cubicBezTo>
                  <a:cubicBezTo>
                    <a:pt x="542" y="469"/>
                    <a:pt x="542" y="468"/>
                    <a:pt x="542" y="468"/>
                  </a:cubicBezTo>
                  <a:cubicBezTo>
                    <a:pt x="542" y="468"/>
                    <a:pt x="542" y="468"/>
                    <a:pt x="541" y="468"/>
                  </a:cubicBezTo>
                  <a:cubicBezTo>
                    <a:pt x="540" y="469"/>
                    <a:pt x="537" y="468"/>
                    <a:pt x="535" y="469"/>
                  </a:cubicBezTo>
                  <a:cubicBezTo>
                    <a:pt x="535" y="469"/>
                    <a:pt x="535" y="469"/>
                    <a:pt x="535" y="469"/>
                  </a:cubicBezTo>
                  <a:cubicBezTo>
                    <a:pt x="534" y="469"/>
                    <a:pt x="533" y="469"/>
                    <a:pt x="533" y="469"/>
                  </a:cubicBezTo>
                  <a:cubicBezTo>
                    <a:pt x="533" y="470"/>
                    <a:pt x="534" y="470"/>
                    <a:pt x="534" y="471"/>
                  </a:cubicBezTo>
                  <a:cubicBezTo>
                    <a:pt x="525" y="471"/>
                    <a:pt x="525" y="471"/>
                    <a:pt x="525" y="471"/>
                  </a:cubicBezTo>
                  <a:cubicBezTo>
                    <a:pt x="525" y="471"/>
                    <a:pt x="525" y="470"/>
                    <a:pt x="525" y="470"/>
                  </a:cubicBezTo>
                  <a:cubicBezTo>
                    <a:pt x="523" y="470"/>
                    <a:pt x="522" y="470"/>
                    <a:pt x="521" y="470"/>
                  </a:cubicBezTo>
                  <a:cubicBezTo>
                    <a:pt x="518" y="472"/>
                    <a:pt x="515" y="472"/>
                    <a:pt x="512" y="471"/>
                  </a:cubicBezTo>
                  <a:cubicBezTo>
                    <a:pt x="511" y="471"/>
                    <a:pt x="510" y="472"/>
                    <a:pt x="509" y="472"/>
                  </a:cubicBezTo>
                  <a:cubicBezTo>
                    <a:pt x="486" y="475"/>
                    <a:pt x="463" y="481"/>
                    <a:pt x="442" y="489"/>
                  </a:cubicBezTo>
                  <a:cubicBezTo>
                    <a:pt x="453" y="489"/>
                    <a:pt x="453" y="489"/>
                    <a:pt x="453" y="489"/>
                  </a:cubicBezTo>
                  <a:cubicBezTo>
                    <a:pt x="453" y="491"/>
                    <a:pt x="452" y="492"/>
                    <a:pt x="454" y="492"/>
                  </a:cubicBezTo>
                  <a:cubicBezTo>
                    <a:pt x="455" y="490"/>
                    <a:pt x="457" y="490"/>
                    <a:pt x="459" y="491"/>
                  </a:cubicBezTo>
                  <a:cubicBezTo>
                    <a:pt x="479" y="484"/>
                    <a:pt x="499" y="480"/>
                    <a:pt x="520" y="477"/>
                  </a:cubicBezTo>
                  <a:cubicBezTo>
                    <a:pt x="581" y="469"/>
                    <a:pt x="644" y="475"/>
                    <a:pt x="705" y="487"/>
                  </a:cubicBezTo>
                  <a:cubicBezTo>
                    <a:pt x="705" y="487"/>
                    <a:pt x="705" y="487"/>
                    <a:pt x="705" y="487"/>
                  </a:cubicBezTo>
                  <a:cubicBezTo>
                    <a:pt x="716" y="487"/>
                    <a:pt x="716" y="487"/>
                    <a:pt x="716" y="487"/>
                  </a:cubicBezTo>
                  <a:cubicBezTo>
                    <a:pt x="716" y="488"/>
                    <a:pt x="717" y="489"/>
                    <a:pt x="717" y="490"/>
                  </a:cubicBezTo>
                  <a:cubicBezTo>
                    <a:pt x="718" y="490"/>
                    <a:pt x="718" y="490"/>
                    <a:pt x="719" y="490"/>
                  </a:cubicBezTo>
                  <a:cubicBezTo>
                    <a:pt x="718" y="490"/>
                    <a:pt x="718" y="488"/>
                    <a:pt x="718" y="487"/>
                  </a:cubicBezTo>
                  <a:cubicBezTo>
                    <a:pt x="726" y="487"/>
                    <a:pt x="726" y="487"/>
                    <a:pt x="726" y="487"/>
                  </a:cubicBezTo>
                  <a:cubicBezTo>
                    <a:pt x="726" y="489"/>
                    <a:pt x="725" y="491"/>
                    <a:pt x="724" y="491"/>
                  </a:cubicBezTo>
                  <a:cubicBezTo>
                    <a:pt x="741" y="495"/>
                    <a:pt x="758" y="500"/>
                    <a:pt x="774" y="504"/>
                  </a:cubicBezTo>
                  <a:cubicBezTo>
                    <a:pt x="794" y="510"/>
                    <a:pt x="813" y="517"/>
                    <a:pt x="831" y="524"/>
                  </a:cubicBezTo>
                  <a:cubicBezTo>
                    <a:pt x="831" y="523"/>
                    <a:pt x="831" y="523"/>
                    <a:pt x="831" y="523"/>
                  </a:cubicBezTo>
                  <a:cubicBezTo>
                    <a:pt x="833" y="522"/>
                    <a:pt x="837" y="522"/>
                    <a:pt x="839" y="523"/>
                  </a:cubicBezTo>
                  <a:cubicBezTo>
                    <a:pt x="839" y="522"/>
                    <a:pt x="839" y="522"/>
                    <a:pt x="839" y="522"/>
                  </a:cubicBezTo>
                  <a:cubicBezTo>
                    <a:pt x="842" y="522"/>
                    <a:pt x="842" y="522"/>
                    <a:pt x="842" y="522"/>
                  </a:cubicBezTo>
                  <a:cubicBezTo>
                    <a:pt x="824" y="514"/>
                    <a:pt x="805" y="507"/>
                    <a:pt x="786" y="501"/>
                  </a:cubicBezTo>
                  <a:cubicBezTo>
                    <a:pt x="785" y="503"/>
                    <a:pt x="780" y="502"/>
                    <a:pt x="780" y="500"/>
                  </a:cubicBezTo>
                  <a:cubicBezTo>
                    <a:pt x="326" y="566"/>
                    <a:pt x="328" y="567"/>
                    <a:pt x="330" y="568"/>
                  </a:cubicBezTo>
                  <a:cubicBezTo>
                    <a:pt x="332" y="567"/>
                    <a:pt x="333" y="566"/>
                    <a:pt x="334" y="564"/>
                  </a:cubicBezTo>
                  <a:cubicBezTo>
                    <a:pt x="332" y="565"/>
                    <a:pt x="331" y="567"/>
                    <a:pt x="328" y="566"/>
                  </a:cubicBezTo>
                  <a:cubicBezTo>
                    <a:pt x="328" y="563"/>
                    <a:pt x="331" y="564"/>
                    <a:pt x="333" y="564"/>
                  </a:cubicBezTo>
                  <a:cubicBezTo>
                    <a:pt x="334" y="563"/>
                    <a:pt x="333" y="562"/>
                    <a:pt x="332" y="562"/>
                  </a:cubicBezTo>
                  <a:cubicBezTo>
                    <a:pt x="337" y="562"/>
                    <a:pt x="337" y="562"/>
                    <a:pt x="337" y="562"/>
                  </a:cubicBezTo>
                  <a:cubicBezTo>
                    <a:pt x="345" y="554"/>
                    <a:pt x="354" y="547"/>
                    <a:pt x="363" y="541"/>
                  </a:cubicBezTo>
                  <a:cubicBezTo>
                    <a:pt x="361" y="541"/>
                    <a:pt x="360" y="540"/>
                    <a:pt x="358" y="539"/>
                  </a:cubicBezTo>
                  <a:cubicBezTo>
                    <a:pt x="359" y="538"/>
                    <a:pt x="359" y="537"/>
                    <a:pt x="360" y="535"/>
                  </a:cubicBezTo>
                  <a:cubicBezTo>
                    <a:pt x="347" y="544"/>
                    <a:pt x="336" y="554"/>
                    <a:pt x="325" y="565"/>
                  </a:cubicBezTo>
                  <a:cubicBezTo>
                    <a:pt x="321" y="422"/>
                    <a:pt x="321" y="424"/>
                    <a:pt x="324" y="424"/>
                  </a:cubicBezTo>
                  <a:cubicBezTo>
                    <a:pt x="324" y="425"/>
                    <a:pt x="324" y="425"/>
                    <a:pt x="324" y="426"/>
                  </a:cubicBezTo>
                  <a:cubicBezTo>
                    <a:pt x="327" y="424"/>
                    <a:pt x="330" y="423"/>
                    <a:pt x="334" y="421"/>
                  </a:cubicBezTo>
                  <a:cubicBezTo>
                    <a:pt x="333" y="420"/>
                    <a:pt x="334" y="420"/>
                    <a:pt x="334" y="419"/>
                  </a:cubicBezTo>
                  <a:cubicBezTo>
                    <a:pt x="339" y="419"/>
                    <a:pt x="339" y="419"/>
                    <a:pt x="339" y="419"/>
                  </a:cubicBezTo>
                  <a:cubicBezTo>
                    <a:pt x="360" y="410"/>
                    <a:pt x="383" y="404"/>
                    <a:pt x="406" y="400"/>
                  </a:cubicBezTo>
                  <a:cubicBezTo>
                    <a:pt x="408" y="397"/>
                    <a:pt x="407" y="395"/>
                    <a:pt x="411" y="393"/>
                  </a:cubicBezTo>
                  <a:cubicBezTo>
                    <a:pt x="406" y="394"/>
                    <a:pt x="401" y="395"/>
                    <a:pt x="396" y="396"/>
                  </a:cubicBezTo>
                  <a:cubicBezTo>
                    <a:pt x="398" y="397"/>
                    <a:pt x="398" y="402"/>
                    <a:pt x="395" y="401"/>
                  </a:cubicBezTo>
                  <a:cubicBezTo>
                    <a:pt x="394" y="400"/>
                    <a:pt x="394" y="398"/>
                    <a:pt x="394" y="396"/>
                  </a:cubicBezTo>
                  <a:cubicBezTo>
                    <a:pt x="394" y="396"/>
                    <a:pt x="393" y="396"/>
                    <a:pt x="393" y="397"/>
                  </a:cubicBezTo>
                  <a:cubicBezTo>
                    <a:pt x="393" y="398"/>
                    <a:pt x="393" y="400"/>
                    <a:pt x="393" y="401"/>
                  </a:cubicBezTo>
                  <a:cubicBezTo>
                    <a:pt x="384" y="401"/>
                    <a:pt x="384" y="401"/>
                    <a:pt x="384" y="401"/>
                  </a:cubicBezTo>
                  <a:cubicBezTo>
                    <a:pt x="384" y="401"/>
                    <a:pt x="384" y="400"/>
                    <a:pt x="384" y="399"/>
                  </a:cubicBezTo>
                  <a:cubicBezTo>
                    <a:pt x="382" y="399"/>
                    <a:pt x="380" y="400"/>
                    <a:pt x="378" y="400"/>
                  </a:cubicBezTo>
                  <a:cubicBezTo>
                    <a:pt x="379" y="400"/>
                    <a:pt x="380" y="401"/>
                    <a:pt x="381" y="401"/>
                  </a:cubicBezTo>
                  <a:cubicBezTo>
                    <a:pt x="374" y="401"/>
                    <a:pt x="374" y="401"/>
                    <a:pt x="374" y="401"/>
                  </a:cubicBezTo>
                  <a:cubicBezTo>
                    <a:pt x="355" y="407"/>
                    <a:pt x="336" y="414"/>
                    <a:pt x="318" y="422"/>
                  </a:cubicBezTo>
                  <a:cubicBezTo>
                    <a:pt x="158" y="456"/>
                    <a:pt x="158" y="457"/>
                    <a:pt x="158" y="457"/>
                  </a:cubicBezTo>
                  <a:cubicBezTo>
                    <a:pt x="165" y="450"/>
                    <a:pt x="171" y="444"/>
                    <a:pt x="178" y="438"/>
                  </a:cubicBezTo>
                  <a:cubicBezTo>
                    <a:pt x="177" y="438"/>
                    <a:pt x="177" y="437"/>
                    <a:pt x="177" y="435"/>
                  </a:cubicBezTo>
                  <a:cubicBezTo>
                    <a:pt x="178" y="435"/>
                    <a:pt x="180" y="435"/>
                    <a:pt x="182" y="435"/>
                  </a:cubicBezTo>
                  <a:cubicBezTo>
                    <a:pt x="183" y="434"/>
                    <a:pt x="184" y="434"/>
                    <a:pt x="184" y="433"/>
                  </a:cubicBezTo>
                  <a:cubicBezTo>
                    <a:pt x="179" y="433"/>
                    <a:pt x="177" y="435"/>
                    <a:pt x="173" y="436"/>
                  </a:cubicBezTo>
                  <a:cubicBezTo>
                    <a:pt x="172" y="436"/>
                    <a:pt x="172" y="436"/>
                    <a:pt x="172" y="435"/>
                  </a:cubicBezTo>
                  <a:cubicBezTo>
                    <a:pt x="171" y="435"/>
                    <a:pt x="171" y="436"/>
                    <a:pt x="170" y="436"/>
                  </a:cubicBezTo>
                  <a:cubicBezTo>
                    <a:pt x="170" y="437"/>
                    <a:pt x="170" y="438"/>
                    <a:pt x="170" y="439"/>
                  </a:cubicBezTo>
                  <a:cubicBezTo>
                    <a:pt x="167" y="439"/>
                    <a:pt x="167" y="439"/>
                    <a:pt x="167" y="439"/>
                  </a:cubicBezTo>
                  <a:cubicBezTo>
                    <a:pt x="161" y="444"/>
                    <a:pt x="155" y="450"/>
                    <a:pt x="149" y="456"/>
                  </a:cubicBezTo>
                  <a:cubicBezTo>
                    <a:pt x="133" y="427"/>
                    <a:pt x="132" y="428"/>
                    <a:pt x="132" y="429"/>
                  </a:cubicBezTo>
                  <a:cubicBezTo>
                    <a:pt x="133" y="430"/>
                    <a:pt x="133" y="431"/>
                    <a:pt x="132" y="434"/>
                  </a:cubicBezTo>
                  <a:cubicBezTo>
                    <a:pt x="134" y="432"/>
                    <a:pt x="135" y="429"/>
                    <a:pt x="134" y="427"/>
                  </a:cubicBezTo>
                  <a:cubicBezTo>
                    <a:pt x="177" y="430"/>
                    <a:pt x="177" y="430"/>
                    <a:pt x="176" y="431"/>
                  </a:cubicBezTo>
                  <a:cubicBezTo>
                    <a:pt x="177" y="431"/>
                    <a:pt x="177" y="431"/>
                    <a:pt x="177" y="430"/>
                  </a:cubicBezTo>
                  <a:cubicBezTo>
                    <a:pt x="100" y="468"/>
                    <a:pt x="101" y="468"/>
                    <a:pt x="101" y="467"/>
                  </a:cubicBezTo>
                  <a:cubicBezTo>
                    <a:pt x="102" y="465"/>
                    <a:pt x="99" y="465"/>
                    <a:pt x="99" y="464"/>
                  </a:cubicBezTo>
                  <a:cubicBezTo>
                    <a:pt x="102" y="464"/>
                    <a:pt x="104" y="464"/>
                    <a:pt x="105" y="463"/>
                  </a:cubicBezTo>
                  <a:cubicBezTo>
                    <a:pt x="106" y="463"/>
                    <a:pt x="106" y="462"/>
                    <a:pt x="107" y="461"/>
                  </a:cubicBezTo>
                  <a:cubicBezTo>
                    <a:pt x="106" y="461"/>
                    <a:pt x="105" y="459"/>
                    <a:pt x="106" y="458"/>
                  </a:cubicBezTo>
                  <a:cubicBezTo>
                    <a:pt x="107" y="458"/>
                    <a:pt x="108" y="457"/>
                    <a:pt x="109" y="457"/>
                  </a:cubicBezTo>
                  <a:cubicBezTo>
                    <a:pt x="110" y="457"/>
                    <a:pt x="110" y="458"/>
                    <a:pt x="110" y="458"/>
                  </a:cubicBezTo>
                  <a:cubicBezTo>
                    <a:pt x="117" y="452"/>
                    <a:pt x="124" y="445"/>
                    <a:pt x="130" y="439"/>
                  </a:cubicBezTo>
                  <a:cubicBezTo>
                    <a:pt x="120" y="439"/>
                    <a:pt x="120" y="439"/>
                    <a:pt x="120" y="439"/>
                  </a:cubicBezTo>
                  <a:cubicBezTo>
                    <a:pt x="112" y="446"/>
                    <a:pt x="105" y="454"/>
                    <a:pt x="97" y="461"/>
                  </a:cubicBezTo>
                  <a:cubicBezTo>
                    <a:pt x="98" y="462"/>
                    <a:pt x="98" y="462"/>
                    <a:pt x="98" y="462"/>
                  </a:cubicBezTo>
                  <a:cubicBezTo>
                    <a:pt x="94" y="464"/>
                    <a:pt x="100" y="466"/>
                    <a:pt x="99" y="469"/>
                  </a:cubicBezTo>
                  <a:cubicBezTo>
                    <a:pt x="82" y="899"/>
                    <a:pt x="83" y="897"/>
                    <a:pt x="84" y="895"/>
                  </a:cubicBezTo>
                  <a:cubicBezTo>
                    <a:pt x="84" y="894"/>
                    <a:pt x="84" y="894"/>
                    <a:pt x="85" y="893"/>
                  </a:cubicBezTo>
                  <a:cubicBezTo>
                    <a:pt x="85" y="892"/>
                    <a:pt x="86" y="891"/>
                    <a:pt x="86" y="890"/>
                  </a:cubicBezTo>
                  <a:cubicBezTo>
                    <a:pt x="84" y="889"/>
                    <a:pt x="83" y="891"/>
                    <a:pt x="81" y="890"/>
                  </a:cubicBezTo>
                  <a:cubicBezTo>
                    <a:pt x="82" y="889"/>
                    <a:pt x="82" y="887"/>
                    <a:pt x="82" y="885"/>
                  </a:cubicBezTo>
                  <a:cubicBezTo>
                    <a:pt x="88" y="885"/>
                    <a:pt x="88" y="885"/>
                    <a:pt x="88" y="885"/>
                  </a:cubicBezTo>
                  <a:cubicBezTo>
                    <a:pt x="90" y="879"/>
                    <a:pt x="93" y="873"/>
                    <a:pt x="95" y="867"/>
                  </a:cubicBezTo>
                  <a:cubicBezTo>
                    <a:pt x="95" y="867"/>
                    <a:pt x="95" y="867"/>
                    <a:pt x="94" y="867"/>
                  </a:cubicBezTo>
                  <a:cubicBezTo>
                    <a:pt x="90" y="867"/>
                    <a:pt x="90" y="867"/>
                    <a:pt x="90" y="867"/>
                  </a:cubicBezTo>
                  <a:cubicBezTo>
                    <a:pt x="90" y="862"/>
                    <a:pt x="90" y="859"/>
                    <a:pt x="96" y="856"/>
                  </a:cubicBezTo>
                  <a:cubicBezTo>
                    <a:pt x="97" y="856"/>
                    <a:pt x="99" y="856"/>
                    <a:pt x="100" y="856"/>
                  </a:cubicBezTo>
                  <a:cubicBezTo>
                    <a:pt x="100" y="856"/>
                    <a:pt x="100" y="855"/>
                    <a:pt x="100" y="855"/>
                  </a:cubicBezTo>
                  <a:cubicBezTo>
                    <a:pt x="99" y="855"/>
                    <a:pt x="97" y="855"/>
                    <a:pt x="96" y="855"/>
                  </a:cubicBezTo>
                  <a:cubicBezTo>
                    <a:pt x="95" y="854"/>
                    <a:pt x="95" y="853"/>
                    <a:pt x="94" y="852"/>
                  </a:cubicBezTo>
                  <a:cubicBezTo>
                    <a:pt x="88" y="866"/>
                    <a:pt x="83" y="880"/>
                    <a:pt x="77" y="894"/>
                  </a:cubicBezTo>
                  <a:cubicBezTo>
                    <a:pt x="77" y="894"/>
                    <a:pt x="77" y="894"/>
                    <a:pt x="78" y="894"/>
                  </a:cubicBezTo>
                  <a:cubicBezTo>
                    <a:pt x="78" y="895"/>
                    <a:pt x="77" y="896"/>
                    <a:pt x="76" y="896"/>
                  </a:cubicBezTo>
                  <a:cubicBezTo>
                    <a:pt x="76" y="897"/>
                    <a:pt x="75" y="898"/>
                    <a:pt x="75" y="899"/>
                  </a:cubicBezTo>
                  <a:cubicBezTo>
                    <a:pt x="74" y="903"/>
                    <a:pt x="80" y="905"/>
                    <a:pt x="81" y="901"/>
                  </a:cubicBezTo>
                  <a:cubicBezTo>
                    <a:pt x="70" y="502"/>
                    <a:pt x="70" y="501"/>
                    <a:pt x="71" y="500"/>
                  </a:cubicBezTo>
                  <a:cubicBezTo>
                    <a:pt x="70" y="499"/>
                    <a:pt x="67" y="500"/>
                    <a:pt x="67" y="498"/>
                  </a:cubicBezTo>
                  <a:cubicBezTo>
                    <a:pt x="69" y="495"/>
                    <a:pt x="72" y="496"/>
                    <a:pt x="73" y="498"/>
                  </a:cubicBezTo>
                  <a:cubicBezTo>
                    <a:pt x="74" y="497"/>
                    <a:pt x="75" y="496"/>
                    <a:pt x="76" y="494"/>
                  </a:cubicBezTo>
                  <a:cubicBezTo>
                    <a:pt x="75" y="495"/>
                    <a:pt x="73" y="495"/>
                    <a:pt x="73" y="494"/>
                  </a:cubicBezTo>
                  <a:cubicBezTo>
                    <a:pt x="73" y="493"/>
                    <a:pt x="73" y="493"/>
                    <a:pt x="73" y="493"/>
                  </a:cubicBezTo>
                  <a:cubicBezTo>
                    <a:pt x="77" y="493"/>
                    <a:pt x="77" y="493"/>
                    <a:pt x="77" y="493"/>
                  </a:cubicBezTo>
                  <a:cubicBezTo>
                    <a:pt x="83" y="486"/>
                    <a:pt x="88" y="481"/>
                    <a:pt x="94" y="475"/>
                  </a:cubicBezTo>
                  <a:cubicBezTo>
                    <a:pt x="94" y="473"/>
                    <a:pt x="94" y="472"/>
                    <a:pt x="94" y="471"/>
                  </a:cubicBezTo>
                  <a:cubicBezTo>
                    <a:pt x="91" y="470"/>
                    <a:pt x="93" y="475"/>
                    <a:pt x="91" y="475"/>
                  </a:cubicBezTo>
                  <a:cubicBezTo>
                    <a:pt x="90" y="475"/>
                    <a:pt x="90" y="475"/>
                    <a:pt x="90" y="475"/>
                  </a:cubicBezTo>
                  <a:cubicBezTo>
                    <a:pt x="88" y="473"/>
                    <a:pt x="91" y="471"/>
                    <a:pt x="91" y="468"/>
                  </a:cubicBezTo>
                  <a:cubicBezTo>
                    <a:pt x="90" y="469"/>
                    <a:pt x="89" y="470"/>
                    <a:pt x="89" y="470"/>
                  </a:cubicBezTo>
                  <a:cubicBezTo>
                    <a:pt x="89" y="470"/>
                    <a:pt x="89" y="471"/>
                    <a:pt x="88" y="471"/>
                  </a:cubicBezTo>
                  <a:cubicBezTo>
                    <a:pt x="88" y="471"/>
                    <a:pt x="88" y="471"/>
                    <a:pt x="88" y="471"/>
                  </a:cubicBezTo>
                  <a:cubicBezTo>
                    <a:pt x="87" y="472"/>
                    <a:pt x="86" y="473"/>
                    <a:pt x="85" y="475"/>
                  </a:cubicBezTo>
                  <a:cubicBezTo>
                    <a:pt x="85" y="475"/>
                    <a:pt x="85" y="475"/>
                    <a:pt x="85" y="475"/>
                  </a:cubicBezTo>
                  <a:cubicBezTo>
                    <a:pt x="84" y="475"/>
                    <a:pt x="84" y="475"/>
                    <a:pt x="84" y="475"/>
                  </a:cubicBezTo>
                  <a:cubicBezTo>
                    <a:pt x="76" y="484"/>
                    <a:pt x="69" y="493"/>
                    <a:pt x="61" y="502"/>
                  </a:cubicBezTo>
                  <a:cubicBezTo>
                    <a:pt x="65" y="503"/>
                    <a:pt x="67" y="503"/>
                    <a:pt x="69" y="502"/>
                  </a:cubicBezTo>
                  <a:cubicBezTo>
                    <a:pt x="113" y="823"/>
                    <a:pt x="112" y="823"/>
                    <a:pt x="111" y="823"/>
                  </a:cubicBezTo>
                  <a:cubicBezTo>
                    <a:pt x="111" y="820"/>
                    <a:pt x="113" y="818"/>
                    <a:pt x="116" y="818"/>
                  </a:cubicBezTo>
                  <a:cubicBezTo>
                    <a:pt x="116" y="818"/>
                    <a:pt x="116" y="818"/>
                    <a:pt x="116" y="818"/>
                  </a:cubicBezTo>
                  <a:cubicBezTo>
                    <a:pt x="120" y="808"/>
                    <a:pt x="125" y="798"/>
                    <a:pt x="129" y="789"/>
                  </a:cubicBezTo>
                  <a:cubicBezTo>
                    <a:pt x="129" y="788"/>
                    <a:pt x="128" y="788"/>
                    <a:pt x="127" y="787"/>
                  </a:cubicBezTo>
                  <a:cubicBezTo>
                    <a:pt x="127" y="788"/>
                    <a:pt x="128" y="788"/>
                    <a:pt x="127" y="789"/>
                  </a:cubicBezTo>
                  <a:cubicBezTo>
                    <a:pt x="125" y="789"/>
                    <a:pt x="125" y="790"/>
                    <a:pt x="123" y="790"/>
                  </a:cubicBezTo>
                  <a:cubicBezTo>
                    <a:pt x="123" y="789"/>
                    <a:pt x="123" y="788"/>
                    <a:pt x="123" y="787"/>
                  </a:cubicBezTo>
                  <a:cubicBezTo>
                    <a:pt x="123" y="787"/>
                    <a:pt x="123" y="787"/>
                    <a:pt x="124" y="787"/>
                  </a:cubicBezTo>
                  <a:cubicBezTo>
                    <a:pt x="123" y="787"/>
                    <a:pt x="123" y="787"/>
                    <a:pt x="123" y="787"/>
                  </a:cubicBezTo>
                  <a:cubicBezTo>
                    <a:pt x="117" y="801"/>
                    <a:pt x="110" y="816"/>
                    <a:pt x="103" y="830"/>
                  </a:cubicBezTo>
                  <a:cubicBezTo>
                    <a:pt x="104" y="831"/>
                    <a:pt x="104" y="831"/>
                    <a:pt x="104" y="832"/>
                  </a:cubicBezTo>
                  <a:cubicBezTo>
                    <a:pt x="103" y="832"/>
                    <a:pt x="103" y="832"/>
                    <a:pt x="103" y="832"/>
                  </a:cubicBezTo>
                  <a:cubicBezTo>
                    <a:pt x="100" y="837"/>
                    <a:pt x="98" y="843"/>
                    <a:pt x="95" y="849"/>
                  </a:cubicBezTo>
                  <a:cubicBezTo>
                    <a:pt x="102" y="849"/>
                    <a:pt x="102" y="849"/>
                    <a:pt x="102" y="849"/>
                  </a:cubicBezTo>
                  <a:cubicBezTo>
                    <a:pt x="102" y="850"/>
                    <a:pt x="102" y="850"/>
                    <a:pt x="102" y="851"/>
                  </a:cubicBezTo>
                  <a:cubicBezTo>
                    <a:pt x="106" y="841"/>
                    <a:pt x="110" y="832"/>
                    <a:pt x="114" y="823"/>
                  </a:cubicBezTo>
                  <a:cubicBezTo>
                    <a:pt x="803" y="851"/>
                    <a:pt x="804" y="854"/>
                    <a:pt x="801" y="853"/>
                  </a:cubicBezTo>
                  <a:cubicBezTo>
                    <a:pt x="800" y="853"/>
                    <a:pt x="800" y="853"/>
                    <a:pt x="800" y="853"/>
                  </a:cubicBezTo>
                  <a:cubicBezTo>
                    <a:pt x="800" y="853"/>
                    <a:pt x="800" y="854"/>
                    <a:pt x="799" y="854"/>
                  </a:cubicBezTo>
                  <a:cubicBezTo>
                    <a:pt x="803" y="854"/>
                    <a:pt x="806" y="855"/>
                    <a:pt x="809" y="855"/>
                  </a:cubicBezTo>
                  <a:cubicBezTo>
                    <a:pt x="808" y="853"/>
                    <a:pt x="807" y="851"/>
                    <a:pt x="805" y="851"/>
                  </a:cubicBezTo>
                  <a:cubicBezTo>
                    <a:pt x="941" y="883"/>
                    <a:pt x="941" y="884"/>
                    <a:pt x="941" y="885"/>
                  </a:cubicBezTo>
                  <a:cubicBezTo>
                    <a:pt x="943" y="885"/>
                    <a:pt x="944" y="885"/>
                    <a:pt x="945" y="886"/>
                  </a:cubicBezTo>
                  <a:cubicBezTo>
                    <a:pt x="948" y="885"/>
                    <a:pt x="952" y="884"/>
                    <a:pt x="955" y="883"/>
                  </a:cubicBezTo>
                  <a:cubicBezTo>
                    <a:pt x="955" y="881"/>
                    <a:pt x="955" y="881"/>
                    <a:pt x="955" y="879"/>
                  </a:cubicBezTo>
                  <a:cubicBezTo>
                    <a:pt x="953" y="879"/>
                    <a:pt x="951" y="879"/>
                    <a:pt x="950" y="878"/>
                  </a:cubicBezTo>
                  <a:cubicBezTo>
                    <a:pt x="947" y="879"/>
                    <a:pt x="945" y="879"/>
                    <a:pt x="942" y="880"/>
                  </a:cubicBezTo>
                  <a:cubicBezTo>
                    <a:pt x="942" y="880"/>
                    <a:pt x="941" y="881"/>
                    <a:pt x="941" y="881"/>
                  </a:cubicBezTo>
                  <a:cubicBezTo>
                    <a:pt x="925" y="814"/>
                    <a:pt x="923" y="813"/>
                    <a:pt x="921" y="813"/>
                  </a:cubicBezTo>
                  <a:cubicBezTo>
                    <a:pt x="921" y="813"/>
                    <a:pt x="920" y="813"/>
                    <a:pt x="920" y="813"/>
                  </a:cubicBezTo>
                  <a:cubicBezTo>
                    <a:pt x="920" y="813"/>
                    <a:pt x="919" y="813"/>
                    <a:pt x="919" y="813"/>
                  </a:cubicBezTo>
                  <a:cubicBezTo>
                    <a:pt x="922" y="814"/>
                    <a:pt x="922" y="816"/>
                    <a:pt x="925" y="816"/>
                  </a:cubicBezTo>
                  <a:cubicBezTo>
                    <a:pt x="1007" y="882"/>
                    <a:pt x="1006" y="881"/>
                    <a:pt x="1003" y="879"/>
                  </a:cubicBezTo>
                  <a:cubicBezTo>
                    <a:pt x="1002" y="880"/>
                    <a:pt x="1001" y="880"/>
                    <a:pt x="1001" y="880"/>
                  </a:cubicBezTo>
                  <a:cubicBezTo>
                    <a:pt x="995" y="882"/>
                    <a:pt x="990" y="884"/>
                    <a:pt x="984" y="886"/>
                  </a:cubicBezTo>
                  <a:cubicBezTo>
                    <a:pt x="984" y="887"/>
                    <a:pt x="984" y="888"/>
                    <a:pt x="983" y="889"/>
                  </a:cubicBezTo>
                  <a:cubicBezTo>
                    <a:pt x="984" y="890"/>
                    <a:pt x="986" y="890"/>
                    <a:pt x="986" y="891"/>
                  </a:cubicBezTo>
                  <a:cubicBezTo>
                    <a:pt x="986" y="891"/>
                    <a:pt x="986" y="892"/>
                    <a:pt x="986" y="892"/>
                  </a:cubicBezTo>
                  <a:cubicBezTo>
                    <a:pt x="988" y="892"/>
                    <a:pt x="990" y="891"/>
                    <a:pt x="993" y="890"/>
                  </a:cubicBezTo>
                  <a:cubicBezTo>
                    <a:pt x="992" y="890"/>
                    <a:pt x="992" y="890"/>
                    <a:pt x="992" y="890"/>
                  </a:cubicBezTo>
                  <a:cubicBezTo>
                    <a:pt x="991" y="887"/>
                    <a:pt x="993" y="885"/>
                    <a:pt x="995" y="883"/>
                  </a:cubicBezTo>
                  <a:cubicBezTo>
                    <a:pt x="998" y="884"/>
                    <a:pt x="1000" y="885"/>
                    <a:pt x="1000" y="887"/>
                  </a:cubicBezTo>
                  <a:cubicBezTo>
                    <a:pt x="1003" y="886"/>
                    <a:pt x="1006" y="885"/>
                    <a:pt x="1009" y="884"/>
                  </a:cubicBezTo>
                  <a:cubicBezTo>
                    <a:pt x="1026" y="916"/>
                    <a:pt x="1026" y="915"/>
                    <a:pt x="1026" y="915"/>
                  </a:cubicBezTo>
                  <a:cubicBezTo>
                    <a:pt x="1027" y="915"/>
                    <a:pt x="1028" y="915"/>
                    <a:pt x="1029" y="915"/>
                  </a:cubicBezTo>
                  <a:cubicBezTo>
                    <a:pt x="1045" y="907"/>
                    <a:pt x="1062" y="899"/>
                    <a:pt x="1078" y="891"/>
                  </a:cubicBezTo>
                  <a:cubicBezTo>
                    <a:pt x="1076" y="891"/>
                    <a:pt x="1076" y="889"/>
                    <a:pt x="1076" y="888"/>
                  </a:cubicBezTo>
                  <a:cubicBezTo>
                    <a:pt x="1078" y="888"/>
                    <a:pt x="1080" y="888"/>
                    <a:pt x="1081" y="890"/>
                  </a:cubicBezTo>
                  <a:cubicBezTo>
                    <a:pt x="1082" y="889"/>
                    <a:pt x="1084" y="888"/>
                    <a:pt x="1085" y="888"/>
                  </a:cubicBezTo>
                  <a:cubicBezTo>
                    <a:pt x="1087" y="884"/>
                    <a:pt x="1084" y="883"/>
                    <a:pt x="1084" y="881"/>
                  </a:cubicBezTo>
                  <a:cubicBezTo>
                    <a:pt x="1080" y="883"/>
                    <a:pt x="1076" y="885"/>
                    <a:pt x="1072" y="887"/>
                  </a:cubicBezTo>
                  <a:cubicBezTo>
                    <a:pt x="1072" y="887"/>
                    <a:pt x="1073" y="888"/>
                    <a:pt x="1072" y="889"/>
                  </a:cubicBezTo>
                  <a:cubicBezTo>
                    <a:pt x="1072" y="890"/>
                    <a:pt x="1068" y="891"/>
                    <a:pt x="1066" y="890"/>
                  </a:cubicBezTo>
                  <a:cubicBezTo>
                    <a:pt x="1050" y="898"/>
                    <a:pt x="1034" y="905"/>
                    <a:pt x="1018" y="913"/>
                  </a:cubicBezTo>
                  <a:cubicBezTo>
                    <a:pt x="1017" y="913"/>
                    <a:pt x="1017" y="914"/>
                    <a:pt x="1017" y="915"/>
                  </a:cubicBezTo>
                  <a:cubicBezTo>
                    <a:pt x="1016" y="914"/>
                    <a:pt x="1015" y="914"/>
                    <a:pt x="1015" y="914"/>
                  </a:cubicBezTo>
                  <a:cubicBezTo>
                    <a:pt x="1013" y="914"/>
                    <a:pt x="1012" y="915"/>
                    <a:pt x="1011" y="915"/>
                  </a:cubicBezTo>
                  <a:cubicBezTo>
                    <a:pt x="1013" y="917"/>
                    <a:pt x="1014" y="919"/>
                    <a:pt x="1013" y="922"/>
                  </a:cubicBezTo>
                  <a:cubicBezTo>
                    <a:pt x="1017" y="920"/>
                    <a:pt x="1022" y="918"/>
                    <a:pt x="1026" y="916"/>
                  </a:cubicBezTo>
                  <a:cubicBezTo>
                    <a:pt x="973" y="895"/>
                    <a:pt x="973" y="895"/>
                    <a:pt x="973" y="895"/>
                  </a:cubicBezTo>
                  <a:cubicBezTo>
                    <a:pt x="973" y="891"/>
                    <a:pt x="973" y="891"/>
                    <a:pt x="973" y="891"/>
                  </a:cubicBezTo>
                  <a:cubicBezTo>
                    <a:pt x="971" y="892"/>
                    <a:pt x="970" y="892"/>
                    <a:pt x="969" y="891"/>
                  </a:cubicBezTo>
                  <a:cubicBezTo>
                    <a:pt x="969" y="892"/>
                    <a:pt x="968" y="892"/>
                    <a:pt x="967" y="892"/>
                  </a:cubicBezTo>
                  <a:cubicBezTo>
                    <a:pt x="967" y="892"/>
                    <a:pt x="967" y="892"/>
                    <a:pt x="967" y="892"/>
                  </a:cubicBezTo>
                  <a:cubicBezTo>
                    <a:pt x="970" y="892"/>
                    <a:pt x="970" y="895"/>
                    <a:pt x="972" y="895"/>
                  </a:cubicBezTo>
                  <a:cubicBezTo>
                    <a:pt x="957" y="895"/>
                    <a:pt x="957" y="895"/>
                    <a:pt x="957" y="895"/>
                  </a:cubicBezTo>
                  <a:cubicBezTo>
                    <a:pt x="937" y="902"/>
                    <a:pt x="917" y="908"/>
                    <a:pt x="897" y="913"/>
                  </a:cubicBezTo>
                  <a:cubicBezTo>
                    <a:pt x="920" y="913"/>
                    <a:pt x="920" y="913"/>
                    <a:pt x="920" y="913"/>
                  </a:cubicBezTo>
                  <a:cubicBezTo>
                    <a:pt x="920" y="913"/>
                    <a:pt x="920" y="914"/>
                    <a:pt x="919" y="914"/>
                  </a:cubicBezTo>
                  <a:cubicBezTo>
                    <a:pt x="919" y="914"/>
                    <a:pt x="919" y="914"/>
                    <a:pt x="920" y="914"/>
                  </a:cubicBezTo>
                  <a:cubicBezTo>
                    <a:pt x="935" y="910"/>
                    <a:pt x="950" y="905"/>
                    <a:pt x="965" y="900"/>
                  </a:cubicBezTo>
                  <a:cubicBezTo>
                    <a:pt x="969" y="898"/>
                    <a:pt x="973" y="897"/>
                    <a:pt x="977" y="895"/>
                  </a:cubicBezTo>
                  <a:cubicBezTo>
                    <a:pt x="769" y="818"/>
                    <a:pt x="769" y="818"/>
                    <a:pt x="768" y="819"/>
                  </a:cubicBezTo>
                  <a:cubicBezTo>
                    <a:pt x="768" y="819"/>
                    <a:pt x="768" y="819"/>
                    <a:pt x="768" y="819"/>
                  </a:cubicBezTo>
                  <a:cubicBezTo>
                    <a:pt x="769" y="819"/>
                    <a:pt x="770" y="819"/>
                    <a:pt x="771" y="819"/>
                  </a:cubicBezTo>
                  <a:cubicBezTo>
                    <a:pt x="770" y="819"/>
                    <a:pt x="770" y="818"/>
                    <a:pt x="770" y="818"/>
                  </a:cubicBezTo>
                  <a:cubicBezTo>
                    <a:pt x="947" y="822"/>
                    <a:pt x="949" y="821"/>
                    <a:pt x="952" y="819"/>
                  </a:cubicBezTo>
                  <a:cubicBezTo>
                    <a:pt x="950" y="820"/>
                    <a:pt x="947" y="821"/>
                    <a:pt x="944" y="821"/>
                  </a:cubicBezTo>
                  <a:cubicBezTo>
                    <a:pt x="834" y="810"/>
                    <a:pt x="832" y="812"/>
                    <a:pt x="829" y="814"/>
                  </a:cubicBezTo>
                  <a:cubicBezTo>
                    <a:pt x="830" y="814"/>
                    <a:pt x="831" y="814"/>
                    <a:pt x="832" y="814"/>
                  </a:cubicBezTo>
                  <a:cubicBezTo>
                    <a:pt x="832" y="813"/>
                    <a:pt x="833" y="813"/>
                    <a:pt x="835" y="813"/>
                  </a:cubicBezTo>
                  <a:cubicBezTo>
                    <a:pt x="835" y="814"/>
                    <a:pt x="835" y="815"/>
                    <a:pt x="835" y="815"/>
                  </a:cubicBezTo>
                  <a:cubicBezTo>
                    <a:pt x="838" y="816"/>
                    <a:pt x="841" y="817"/>
                    <a:pt x="843" y="817"/>
                  </a:cubicBezTo>
                  <a:cubicBezTo>
                    <a:pt x="844" y="815"/>
                    <a:pt x="844" y="814"/>
                    <a:pt x="844" y="812"/>
                  </a:cubicBezTo>
                  <a:cubicBezTo>
                    <a:pt x="847" y="812"/>
                    <a:pt x="850" y="812"/>
                    <a:pt x="851" y="813"/>
                  </a:cubicBezTo>
                  <a:cubicBezTo>
                    <a:pt x="851" y="815"/>
                    <a:pt x="851" y="817"/>
                    <a:pt x="851" y="819"/>
                  </a:cubicBezTo>
                  <a:cubicBezTo>
                    <a:pt x="852" y="819"/>
                    <a:pt x="852" y="819"/>
                    <a:pt x="853" y="819"/>
                  </a:cubicBezTo>
                  <a:cubicBezTo>
                    <a:pt x="854" y="817"/>
                    <a:pt x="856" y="817"/>
                    <a:pt x="858" y="816"/>
                  </a:cubicBezTo>
                  <a:cubicBezTo>
                    <a:pt x="858" y="817"/>
                    <a:pt x="860" y="818"/>
                    <a:pt x="860" y="820"/>
                  </a:cubicBezTo>
                  <a:cubicBezTo>
                    <a:pt x="863" y="821"/>
                    <a:pt x="867" y="822"/>
                    <a:pt x="871" y="822"/>
                  </a:cubicBezTo>
                  <a:cubicBezTo>
                    <a:pt x="871" y="820"/>
                    <a:pt x="872" y="818"/>
                    <a:pt x="872" y="816"/>
                  </a:cubicBezTo>
                  <a:cubicBezTo>
                    <a:pt x="875" y="817"/>
                    <a:pt x="877" y="816"/>
                    <a:pt x="878" y="815"/>
                  </a:cubicBezTo>
                  <a:cubicBezTo>
                    <a:pt x="868" y="815"/>
                    <a:pt x="858" y="813"/>
                    <a:pt x="847" y="811"/>
                  </a:cubicBezTo>
                  <a:cubicBezTo>
                    <a:pt x="844" y="810"/>
                    <a:pt x="840" y="810"/>
                    <a:pt x="837" y="809"/>
                  </a:cubicBezTo>
                  <a:cubicBezTo>
                    <a:pt x="870" y="815"/>
                    <a:pt x="871" y="819"/>
                    <a:pt x="869" y="821"/>
                  </a:cubicBezTo>
                  <a:cubicBezTo>
                    <a:pt x="867" y="822"/>
                    <a:pt x="866" y="820"/>
                    <a:pt x="865" y="819"/>
                  </a:cubicBezTo>
                  <a:cubicBezTo>
                    <a:pt x="866" y="818"/>
                    <a:pt x="865" y="815"/>
                    <a:pt x="868" y="815"/>
                  </a:cubicBezTo>
                  <a:cubicBezTo>
                    <a:pt x="734" y="857"/>
                    <a:pt x="732" y="857"/>
                    <a:pt x="732" y="855"/>
                  </a:cubicBezTo>
                  <a:cubicBezTo>
                    <a:pt x="729" y="854"/>
                    <a:pt x="726" y="852"/>
                    <a:pt x="723" y="850"/>
                  </a:cubicBezTo>
                  <a:cubicBezTo>
                    <a:pt x="724" y="854"/>
                    <a:pt x="727" y="856"/>
                    <a:pt x="729" y="858"/>
                  </a:cubicBezTo>
                  <a:cubicBezTo>
                    <a:pt x="729" y="858"/>
                    <a:pt x="729" y="858"/>
                    <a:pt x="729" y="858"/>
                  </a:cubicBezTo>
                  <a:cubicBezTo>
                    <a:pt x="732" y="858"/>
                    <a:pt x="733" y="860"/>
                    <a:pt x="735" y="862"/>
                  </a:cubicBezTo>
                  <a:cubicBezTo>
                    <a:pt x="730" y="862"/>
                    <a:pt x="730" y="862"/>
                    <a:pt x="730" y="862"/>
                  </a:cubicBezTo>
                  <a:cubicBezTo>
                    <a:pt x="750" y="871"/>
                    <a:pt x="772" y="877"/>
                    <a:pt x="793" y="880"/>
                  </a:cubicBezTo>
                  <a:cubicBezTo>
                    <a:pt x="793" y="880"/>
                    <a:pt x="793" y="880"/>
                    <a:pt x="794" y="880"/>
                  </a:cubicBezTo>
                  <a:cubicBezTo>
                    <a:pt x="794" y="879"/>
                    <a:pt x="794" y="879"/>
                    <a:pt x="794" y="879"/>
                  </a:cubicBezTo>
                  <a:cubicBezTo>
                    <a:pt x="807" y="878"/>
                    <a:pt x="807" y="878"/>
                    <a:pt x="807" y="878"/>
                  </a:cubicBezTo>
                  <a:cubicBezTo>
                    <a:pt x="807" y="880"/>
                    <a:pt x="805" y="880"/>
                    <a:pt x="804" y="881"/>
                  </a:cubicBezTo>
                  <a:cubicBezTo>
                    <a:pt x="806" y="881"/>
                    <a:pt x="809" y="881"/>
                    <a:pt x="812" y="881"/>
                  </a:cubicBezTo>
                  <a:cubicBezTo>
                    <a:pt x="811" y="881"/>
                    <a:pt x="810" y="880"/>
                    <a:pt x="809" y="878"/>
                  </a:cubicBezTo>
                  <a:cubicBezTo>
                    <a:pt x="818" y="878"/>
                    <a:pt x="818" y="878"/>
                    <a:pt x="818" y="878"/>
                  </a:cubicBezTo>
                  <a:cubicBezTo>
                    <a:pt x="818" y="879"/>
                    <a:pt x="818" y="881"/>
                    <a:pt x="818" y="882"/>
                  </a:cubicBezTo>
                  <a:cubicBezTo>
                    <a:pt x="819" y="882"/>
                    <a:pt x="821" y="882"/>
                    <a:pt x="822" y="882"/>
                  </a:cubicBezTo>
                  <a:cubicBezTo>
                    <a:pt x="822" y="881"/>
                    <a:pt x="822" y="880"/>
                    <a:pt x="822" y="879"/>
                  </a:cubicBezTo>
                  <a:cubicBezTo>
                    <a:pt x="822" y="879"/>
                    <a:pt x="823" y="879"/>
                    <a:pt x="823" y="878"/>
                  </a:cubicBezTo>
                  <a:cubicBezTo>
                    <a:pt x="832" y="878"/>
                    <a:pt x="832" y="878"/>
                    <a:pt x="832" y="878"/>
                  </a:cubicBezTo>
                  <a:cubicBezTo>
                    <a:pt x="832" y="879"/>
                    <a:pt x="832" y="879"/>
                    <a:pt x="832" y="880"/>
                  </a:cubicBezTo>
                  <a:cubicBezTo>
                    <a:pt x="832" y="880"/>
                    <a:pt x="832" y="880"/>
                    <a:pt x="832" y="881"/>
                  </a:cubicBezTo>
                  <a:cubicBezTo>
                    <a:pt x="836" y="881"/>
                    <a:pt x="840" y="879"/>
                    <a:pt x="843" y="878"/>
                  </a:cubicBezTo>
                  <a:cubicBezTo>
                    <a:pt x="843" y="878"/>
                    <a:pt x="843" y="878"/>
                    <a:pt x="843" y="878"/>
                  </a:cubicBezTo>
                  <a:cubicBezTo>
                    <a:pt x="854" y="878"/>
                    <a:pt x="854" y="878"/>
                    <a:pt x="854" y="878"/>
                  </a:cubicBezTo>
                  <a:cubicBezTo>
                    <a:pt x="854" y="879"/>
                    <a:pt x="855" y="879"/>
                    <a:pt x="855" y="881"/>
                  </a:cubicBezTo>
                  <a:cubicBezTo>
                    <a:pt x="855" y="881"/>
                    <a:pt x="855" y="881"/>
                    <a:pt x="856" y="881"/>
                  </a:cubicBezTo>
                  <a:cubicBezTo>
                    <a:pt x="857" y="881"/>
                    <a:pt x="858" y="881"/>
                    <a:pt x="859" y="881"/>
                  </a:cubicBezTo>
                  <a:cubicBezTo>
                    <a:pt x="861" y="881"/>
                    <a:pt x="863" y="881"/>
                    <a:pt x="865" y="881"/>
                  </a:cubicBezTo>
                  <a:cubicBezTo>
                    <a:pt x="865" y="880"/>
                    <a:pt x="865" y="880"/>
                    <a:pt x="865" y="879"/>
                  </a:cubicBezTo>
                  <a:cubicBezTo>
                    <a:pt x="867" y="879"/>
                    <a:pt x="870" y="879"/>
                    <a:pt x="871" y="880"/>
                  </a:cubicBezTo>
                  <a:cubicBezTo>
                    <a:pt x="871" y="880"/>
                    <a:pt x="872" y="880"/>
                    <a:pt x="872" y="880"/>
                  </a:cubicBezTo>
                  <a:cubicBezTo>
                    <a:pt x="872" y="880"/>
                    <a:pt x="872" y="879"/>
                    <a:pt x="872" y="879"/>
                  </a:cubicBezTo>
                  <a:cubicBezTo>
                    <a:pt x="874" y="879"/>
                    <a:pt x="875" y="878"/>
                    <a:pt x="877" y="878"/>
                  </a:cubicBezTo>
                  <a:cubicBezTo>
                    <a:pt x="881" y="878"/>
                    <a:pt x="881" y="878"/>
                    <a:pt x="881" y="878"/>
                  </a:cubicBezTo>
                  <a:cubicBezTo>
                    <a:pt x="881" y="878"/>
                    <a:pt x="881" y="878"/>
                    <a:pt x="881" y="879"/>
                  </a:cubicBezTo>
                  <a:cubicBezTo>
                    <a:pt x="883" y="879"/>
                    <a:pt x="884" y="878"/>
                    <a:pt x="886" y="878"/>
                  </a:cubicBezTo>
                  <a:cubicBezTo>
                    <a:pt x="886" y="878"/>
                    <a:pt x="886" y="878"/>
                    <a:pt x="886" y="878"/>
                  </a:cubicBezTo>
                  <a:cubicBezTo>
                    <a:pt x="886" y="878"/>
                    <a:pt x="886" y="878"/>
                    <a:pt x="886" y="878"/>
                  </a:cubicBezTo>
                  <a:cubicBezTo>
                    <a:pt x="888" y="878"/>
                    <a:pt x="888" y="878"/>
                    <a:pt x="888" y="878"/>
                  </a:cubicBezTo>
                  <a:cubicBezTo>
                    <a:pt x="906" y="875"/>
                    <a:pt x="923" y="872"/>
                    <a:pt x="940" y="867"/>
                  </a:cubicBezTo>
                  <a:cubicBezTo>
                    <a:pt x="949" y="865"/>
                    <a:pt x="958" y="862"/>
                    <a:pt x="967" y="860"/>
                  </a:cubicBezTo>
                  <a:cubicBezTo>
                    <a:pt x="941" y="860"/>
                    <a:pt x="941" y="860"/>
                    <a:pt x="941" y="860"/>
                  </a:cubicBezTo>
                  <a:cubicBezTo>
                    <a:pt x="928" y="864"/>
                    <a:pt x="913" y="867"/>
                    <a:pt x="899" y="869"/>
                  </a:cubicBezTo>
                  <a:cubicBezTo>
                    <a:pt x="855" y="877"/>
                    <a:pt x="808" y="879"/>
                    <a:pt x="763" y="867"/>
                  </a:cubicBezTo>
                  <a:cubicBezTo>
                    <a:pt x="755" y="864"/>
                    <a:pt x="745" y="861"/>
                    <a:pt x="737" y="857"/>
                  </a:cubicBezTo>
                  <a:cubicBezTo>
                    <a:pt x="863" y="878"/>
                    <a:pt x="863" y="878"/>
                    <a:pt x="863" y="878"/>
                  </a:cubicBezTo>
                  <a:cubicBezTo>
                    <a:pt x="862" y="879"/>
                    <a:pt x="862" y="880"/>
                    <a:pt x="861" y="881"/>
                  </a:cubicBezTo>
                  <a:cubicBezTo>
                    <a:pt x="860" y="881"/>
                    <a:pt x="858" y="880"/>
                    <a:pt x="857" y="880"/>
                  </a:cubicBezTo>
                  <a:cubicBezTo>
                    <a:pt x="857" y="879"/>
                    <a:pt x="857" y="879"/>
                    <a:pt x="857" y="878"/>
                  </a:cubicBezTo>
                  <a:cubicBezTo>
                    <a:pt x="1021" y="1066"/>
                    <a:pt x="1018" y="1066"/>
                    <a:pt x="1016" y="1068"/>
                  </a:cubicBezTo>
                  <a:cubicBezTo>
                    <a:pt x="1016" y="1068"/>
                    <a:pt x="1016" y="1068"/>
                    <a:pt x="1016" y="1068"/>
                  </a:cubicBezTo>
                  <a:cubicBezTo>
                    <a:pt x="1017" y="1067"/>
                    <a:pt x="1019" y="1067"/>
                    <a:pt x="1021" y="1066"/>
                  </a:cubicBezTo>
                  <a:cubicBezTo>
                    <a:pt x="1022" y="1066"/>
                    <a:pt x="1023" y="1065"/>
                    <a:pt x="1024" y="1064"/>
                  </a:cubicBezTo>
                  <a:cubicBezTo>
                    <a:pt x="951" y="1100"/>
                    <a:pt x="951" y="1100"/>
                    <a:pt x="951" y="1100"/>
                  </a:cubicBezTo>
                  <a:cubicBezTo>
                    <a:pt x="953" y="1101"/>
                    <a:pt x="954" y="1103"/>
                    <a:pt x="956" y="1104"/>
                  </a:cubicBezTo>
                  <a:cubicBezTo>
                    <a:pt x="957" y="1102"/>
                    <a:pt x="959" y="1101"/>
                    <a:pt x="960" y="1100"/>
                  </a:cubicBezTo>
                  <a:cubicBezTo>
                    <a:pt x="957" y="1101"/>
                    <a:pt x="954" y="1101"/>
                    <a:pt x="951" y="1100"/>
                  </a:cubicBezTo>
                  <a:cubicBezTo>
                    <a:pt x="1033" y="1069"/>
                    <a:pt x="1033" y="1069"/>
                    <a:pt x="1033" y="1069"/>
                  </a:cubicBezTo>
                  <a:cubicBezTo>
                    <a:pt x="1032" y="1069"/>
                    <a:pt x="1032" y="1069"/>
                    <a:pt x="1031" y="1070"/>
                  </a:cubicBezTo>
                  <a:cubicBezTo>
                    <a:pt x="1032" y="1070"/>
                    <a:pt x="1032" y="1071"/>
                    <a:pt x="1033" y="1072"/>
                  </a:cubicBezTo>
                  <a:cubicBezTo>
                    <a:pt x="1033" y="1072"/>
                    <a:pt x="1033" y="1072"/>
                    <a:pt x="1033" y="1072"/>
                  </a:cubicBezTo>
                  <a:cubicBezTo>
                    <a:pt x="1033" y="1071"/>
                    <a:pt x="1034" y="1070"/>
                    <a:pt x="1033" y="1069"/>
                  </a:cubicBezTo>
                  <a:cubicBezTo>
                    <a:pt x="1109" y="1033"/>
                    <a:pt x="1111" y="1033"/>
                    <a:pt x="1112" y="1034"/>
                  </a:cubicBezTo>
                  <a:cubicBezTo>
                    <a:pt x="1113" y="1032"/>
                    <a:pt x="1112" y="1031"/>
                    <a:pt x="1112" y="1030"/>
                  </a:cubicBezTo>
                  <a:cubicBezTo>
                    <a:pt x="1110" y="1031"/>
                    <a:pt x="1109" y="1032"/>
                    <a:pt x="1107" y="1034"/>
                  </a:cubicBezTo>
                  <a:cubicBezTo>
                    <a:pt x="1139" y="983"/>
                    <a:pt x="1138" y="985"/>
                    <a:pt x="1136" y="986"/>
                  </a:cubicBezTo>
                  <a:cubicBezTo>
                    <a:pt x="1137" y="989"/>
                    <a:pt x="1137" y="991"/>
                    <a:pt x="1137" y="994"/>
                  </a:cubicBezTo>
                  <a:cubicBezTo>
                    <a:pt x="1140" y="992"/>
                    <a:pt x="1142" y="989"/>
                    <a:pt x="1145" y="987"/>
                  </a:cubicBezTo>
                  <a:cubicBezTo>
                    <a:pt x="1148" y="984"/>
                    <a:pt x="1144" y="979"/>
                    <a:pt x="1141" y="982"/>
                  </a:cubicBezTo>
                  <a:cubicBezTo>
                    <a:pt x="1117" y="1027"/>
                    <a:pt x="1118" y="1029"/>
                    <a:pt x="1119" y="1030"/>
                  </a:cubicBezTo>
                  <a:cubicBezTo>
                    <a:pt x="1122" y="1029"/>
                    <a:pt x="1118" y="1027"/>
                    <a:pt x="1118" y="1025"/>
                  </a:cubicBezTo>
                  <a:cubicBezTo>
                    <a:pt x="1117" y="1025"/>
                    <a:pt x="1116" y="1026"/>
                    <a:pt x="1116" y="1027"/>
                  </a:cubicBezTo>
                  <a:cubicBezTo>
                    <a:pt x="1101" y="998"/>
                    <a:pt x="1102" y="999"/>
                    <a:pt x="1103" y="1000"/>
                  </a:cubicBezTo>
                  <a:cubicBezTo>
                    <a:pt x="1103" y="1000"/>
                    <a:pt x="1103" y="1001"/>
                    <a:pt x="1103" y="1001"/>
                  </a:cubicBezTo>
                  <a:cubicBezTo>
                    <a:pt x="1095" y="1001"/>
                    <a:pt x="1095" y="1001"/>
                    <a:pt x="1095" y="1001"/>
                  </a:cubicBezTo>
                  <a:cubicBezTo>
                    <a:pt x="1085" y="1010"/>
                    <a:pt x="1075" y="1018"/>
                    <a:pt x="1064" y="1026"/>
                  </a:cubicBezTo>
                  <a:cubicBezTo>
                    <a:pt x="1064" y="1027"/>
                    <a:pt x="1064" y="1028"/>
                    <a:pt x="1065" y="1029"/>
                  </a:cubicBezTo>
                  <a:cubicBezTo>
                    <a:pt x="1067" y="1028"/>
                    <a:pt x="1069" y="1028"/>
                    <a:pt x="1072" y="1028"/>
                  </a:cubicBezTo>
                  <a:cubicBezTo>
                    <a:pt x="1072" y="1028"/>
                    <a:pt x="1072" y="1029"/>
                    <a:pt x="1072" y="1029"/>
                  </a:cubicBezTo>
                  <a:cubicBezTo>
                    <a:pt x="1074" y="1027"/>
                    <a:pt x="1077" y="1025"/>
                    <a:pt x="1079" y="1023"/>
                  </a:cubicBezTo>
                  <a:cubicBezTo>
                    <a:pt x="1078" y="1022"/>
                    <a:pt x="1076" y="1020"/>
                    <a:pt x="1075" y="1019"/>
                  </a:cubicBezTo>
                  <a:cubicBezTo>
                    <a:pt x="1083" y="1019"/>
                    <a:pt x="1083" y="1019"/>
                    <a:pt x="1083" y="1019"/>
                  </a:cubicBezTo>
                  <a:cubicBezTo>
                    <a:pt x="1083" y="1019"/>
                    <a:pt x="1083" y="1019"/>
                    <a:pt x="1084" y="1020"/>
                  </a:cubicBezTo>
                  <a:cubicBezTo>
                    <a:pt x="1097" y="1009"/>
                    <a:pt x="1110" y="998"/>
                    <a:pt x="1122" y="987"/>
                  </a:cubicBezTo>
                  <a:cubicBezTo>
                    <a:pt x="1130" y="981"/>
                    <a:pt x="1137" y="975"/>
                    <a:pt x="1144" y="968"/>
                  </a:cubicBezTo>
                  <a:cubicBezTo>
                    <a:pt x="1145" y="967"/>
                    <a:pt x="1145" y="966"/>
                    <a:pt x="1145" y="965"/>
                  </a:cubicBezTo>
                  <a:cubicBezTo>
                    <a:pt x="1137" y="965"/>
                    <a:pt x="1137" y="965"/>
                    <a:pt x="1137" y="965"/>
                  </a:cubicBezTo>
                  <a:cubicBezTo>
                    <a:pt x="1125" y="976"/>
                    <a:pt x="1112" y="987"/>
                    <a:pt x="1099" y="998"/>
                  </a:cubicBezTo>
                  <a:cubicBezTo>
                    <a:pt x="922" y="1097"/>
                    <a:pt x="923" y="1101"/>
                    <a:pt x="919" y="1100"/>
                  </a:cubicBezTo>
                  <a:cubicBezTo>
                    <a:pt x="920" y="1101"/>
                    <a:pt x="921" y="1102"/>
                    <a:pt x="922" y="1102"/>
                  </a:cubicBezTo>
                  <a:cubicBezTo>
                    <a:pt x="925" y="1101"/>
                    <a:pt x="928" y="1099"/>
                    <a:pt x="931" y="1098"/>
                  </a:cubicBezTo>
                  <a:cubicBezTo>
                    <a:pt x="932" y="1096"/>
                    <a:pt x="933" y="1094"/>
                    <a:pt x="933" y="1093"/>
                  </a:cubicBezTo>
                  <a:cubicBezTo>
                    <a:pt x="934" y="1092"/>
                    <a:pt x="936" y="1092"/>
                    <a:pt x="937" y="1091"/>
                  </a:cubicBezTo>
                  <a:cubicBezTo>
                    <a:pt x="946" y="1091"/>
                    <a:pt x="946" y="1091"/>
                    <a:pt x="946" y="1091"/>
                  </a:cubicBezTo>
                  <a:cubicBezTo>
                    <a:pt x="956" y="1086"/>
                    <a:pt x="966" y="1081"/>
                    <a:pt x="975" y="1075"/>
                  </a:cubicBezTo>
                  <a:cubicBezTo>
                    <a:pt x="976" y="1075"/>
                    <a:pt x="977" y="1074"/>
                    <a:pt x="978" y="1074"/>
                  </a:cubicBezTo>
                  <a:cubicBezTo>
                    <a:pt x="965" y="1074"/>
                    <a:pt x="965" y="1074"/>
                    <a:pt x="965" y="1074"/>
                  </a:cubicBezTo>
                  <a:cubicBezTo>
                    <a:pt x="951" y="1081"/>
                    <a:pt x="937" y="1088"/>
                    <a:pt x="923" y="1094"/>
                  </a:cubicBezTo>
                  <a:cubicBezTo>
                    <a:pt x="793" y="822"/>
                    <a:pt x="793" y="822"/>
                    <a:pt x="793" y="822"/>
                  </a:cubicBezTo>
                  <a:cubicBezTo>
                    <a:pt x="793" y="822"/>
                    <a:pt x="793" y="822"/>
                    <a:pt x="793" y="822"/>
                  </a:cubicBezTo>
                  <a:cubicBezTo>
                    <a:pt x="792" y="821"/>
                    <a:pt x="791" y="820"/>
                    <a:pt x="790" y="818"/>
                  </a:cubicBezTo>
                  <a:cubicBezTo>
                    <a:pt x="789" y="818"/>
                    <a:pt x="787" y="817"/>
                    <a:pt x="785" y="817"/>
                  </a:cubicBezTo>
                  <a:cubicBezTo>
                    <a:pt x="784" y="817"/>
                    <a:pt x="782" y="817"/>
                    <a:pt x="780" y="817"/>
                  </a:cubicBezTo>
                  <a:cubicBezTo>
                    <a:pt x="780" y="816"/>
                    <a:pt x="780" y="816"/>
                    <a:pt x="780" y="815"/>
                  </a:cubicBezTo>
                  <a:cubicBezTo>
                    <a:pt x="780" y="815"/>
                    <a:pt x="780" y="815"/>
                    <a:pt x="780" y="815"/>
                  </a:cubicBezTo>
                  <a:cubicBezTo>
                    <a:pt x="780" y="815"/>
                    <a:pt x="780" y="816"/>
                    <a:pt x="780" y="817"/>
                  </a:cubicBezTo>
                  <a:cubicBezTo>
                    <a:pt x="779" y="819"/>
                    <a:pt x="776" y="819"/>
                    <a:pt x="776" y="820"/>
                  </a:cubicBezTo>
                  <a:cubicBezTo>
                    <a:pt x="777" y="821"/>
                    <a:pt x="777" y="821"/>
                    <a:pt x="777" y="822"/>
                  </a:cubicBezTo>
                  <a:cubicBezTo>
                    <a:pt x="779" y="822"/>
                    <a:pt x="782" y="823"/>
                    <a:pt x="784" y="824"/>
                  </a:cubicBezTo>
                  <a:cubicBezTo>
                    <a:pt x="784" y="823"/>
                    <a:pt x="785" y="823"/>
                    <a:pt x="786" y="824"/>
                  </a:cubicBezTo>
                  <a:cubicBezTo>
                    <a:pt x="787" y="824"/>
                    <a:pt x="787" y="824"/>
                    <a:pt x="788" y="825"/>
                  </a:cubicBezTo>
                  <a:cubicBezTo>
                    <a:pt x="789" y="823"/>
                    <a:pt x="791" y="823"/>
                    <a:pt x="793" y="822"/>
                  </a:cubicBezTo>
                  <a:cubicBezTo>
                    <a:pt x="876" y="856"/>
                    <a:pt x="878" y="856"/>
                    <a:pt x="881" y="856"/>
                  </a:cubicBezTo>
                  <a:cubicBezTo>
                    <a:pt x="882" y="854"/>
                    <a:pt x="883" y="852"/>
                    <a:pt x="885" y="851"/>
                  </a:cubicBezTo>
                  <a:cubicBezTo>
                    <a:pt x="884" y="850"/>
                    <a:pt x="884" y="849"/>
                    <a:pt x="883" y="848"/>
                  </a:cubicBezTo>
                  <a:cubicBezTo>
                    <a:pt x="876" y="849"/>
                    <a:pt x="868" y="850"/>
                    <a:pt x="861" y="850"/>
                  </a:cubicBezTo>
                  <a:cubicBezTo>
                    <a:pt x="861" y="850"/>
                    <a:pt x="861" y="850"/>
                    <a:pt x="861" y="851"/>
                  </a:cubicBezTo>
                  <a:cubicBezTo>
                    <a:pt x="859" y="850"/>
                    <a:pt x="857" y="851"/>
                    <a:pt x="855" y="850"/>
                  </a:cubicBezTo>
                  <a:cubicBezTo>
                    <a:pt x="851" y="850"/>
                    <a:pt x="847" y="851"/>
                    <a:pt x="844" y="851"/>
                  </a:cubicBezTo>
                  <a:cubicBezTo>
                    <a:pt x="844" y="854"/>
                    <a:pt x="842" y="854"/>
                    <a:pt x="841" y="857"/>
                  </a:cubicBezTo>
                  <a:cubicBezTo>
                    <a:pt x="841" y="857"/>
                    <a:pt x="842" y="857"/>
                    <a:pt x="842" y="857"/>
                  </a:cubicBezTo>
                  <a:cubicBezTo>
                    <a:pt x="848" y="857"/>
                    <a:pt x="853" y="857"/>
                    <a:pt x="859" y="857"/>
                  </a:cubicBezTo>
                  <a:cubicBezTo>
                    <a:pt x="859" y="856"/>
                    <a:pt x="860" y="856"/>
                    <a:pt x="860" y="856"/>
                  </a:cubicBezTo>
                  <a:cubicBezTo>
                    <a:pt x="862" y="856"/>
                    <a:pt x="862" y="855"/>
                    <a:pt x="864" y="855"/>
                  </a:cubicBezTo>
                  <a:cubicBezTo>
                    <a:pt x="864" y="855"/>
                    <a:pt x="864" y="855"/>
                    <a:pt x="864" y="854"/>
                  </a:cubicBezTo>
                  <a:cubicBezTo>
                    <a:pt x="865" y="854"/>
                    <a:pt x="867" y="854"/>
                    <a:pt x="869" y="854"/>
                  </a:cubicBezTo>
                  <a:cubicBezTo>
                    <a:pt x="869" y="854"/>
                    <a:pt x="869" y="855"/>
                    <a:pt x="869" y="855"/>
                  </a:cubicBezTo>
                  <a:cubicBezTo>
                    <a:pt x="871" y="855"/>
                    <a:pt x="872" y="855"/>
                    <a:pt x="874" y="856"/>
                  </a:cubicBezTo>
                  <a:cubicBezTo>
                    <a:pt x="774" y="813"/>
                    <a:pt x="771" y="812"/>
                    <a:pt x="769" y="812"/>
                  </a:cubicBezTo>
                  <a:cubicBezTo>
                    <a:pt x="768" y="811"/>
                    <a:pt x="767" y="811"/>
                    <a:pt x="766" y="810"/>
                  </a:cubicBezTo>
                  <a:cubicBezTo>
                    <a:pt x="768" y="813"/>
                    <a:pt x="772" y="815"/>
                    <a:pt x="774" y="818"/>
                  </a:cubicBezTo>
                  <a:cubicBezTo>
                    <a:pt x="776" y="817"/>
                    <a:pt x="775" y="815"/>
                    <a:pt x="776" y="814"/>
                  </a:cubicBezTo>
                  <a:cubicBezTo>
                    <a:pt x="974" y="850"/>
                    <a:pt x="972" y="851"/>
                    <a:pt x="969" y="852"/>
                  </a:cubicBezTo>
                  <a:cubicBezTo>
                    <a:pt x="969" y="852"/>
                    <a:pt x="969" y="852"/>
                    <a:pt x="969" y="853"/>
                  </a:cubicBezTo>
                  <a:cubicBezTo>
                    <a:pt x="972" y="852"/>
                    <a:pt x="975" y="851"/>
                    <a:pt x="977" y="850"/>
                  </a:cubicBezTo>
                  <a:cubicBezTo>
                    <a:pt x="963" y="856"/>
                    <a:pt x="966" y="855"/>
                    <a:pt x="967" y="853"/>
                  </a:cubicBezTo>
                  <a:cubicBezTo>
                    <a:pt x="963" y="854"/>
                    <a:pt x="960" y="855"/>
                    <a:pt x="957" y="856"/>
                  </a:cubicBezTo>
                  <a:cubicBezTo>
                    <a:pt x="959" y="856"/>
                    <a:pt x="960" y="858"/>
                    <a:pt x="962" y="858"/>
                  </a:cubicBezTo>
                  <a:cubicBezTo>
                    <a:pt x="772" y="802"/>
                    <a:pt x="785" y="805"/>
                    <a:pt x="798" y="807"/>
                  </a:cubicBezTo>
                  <a:cubicBezTo>
                    <a:pt x="804" y="807"/>
                    <a:pt x="804" y="807"/>
                    <a:pt x="804" y="807"/>
                  </a:cubicBezTo>
                  <a:cubicBezTo>
                    <a:pt x="804" y="808"/>
                    <a:pt x="804" y="808"/>
                    <a:pt x="804" y="808"/>
                  </a:cubicBezTo>
                  <a:cubicBezTo>
                    <a:pt x="811" y="810"/>
                    <a:pt x="817" y="811"/>
                    <a:pt x="823" y="812"/>
                  </a:cubicBezTo>
                  <a:cubicBezTo>
                    <a:pt x="823" y="812"/>
                    <a:pt x="823" y="811"/>
                    <a:pt x="823" y="810"/>
                  </a:cubicBezTo>
                  <a:cubicBezTo>
                    <a:pt x="823" y="810"/>
                    <a:pt x="823" y="810"/>
                    <a:pt x="823" y="809"/>
                  </a:cubicBezTo>
                  <a:cubicBezTo>
                    <a:pt x="820" y="810"/>
                    <a:pt x="818" y="810"/>
                    <a:pt x="816" y="809"/>
                  </a:cubicBezTo>
                  <a:cubicBezTo>
                    <a:pt x="816" y="809"/>
                    <a:pt x="816" y="809"/>
                    <a:pt x="816" y="809"/>
                  </a:cubicBezTo>
                  <a:cubicBezTo>
                    <a:pt x="815" y="809"/>
                    <a:pt x="814" y="808"/>
                    <a:pt x="814" y="807"/>
                  </a:cubicBezTo>
                  <a:cubicBezTo>
                    <a:pt x="814" y="807"/>
                    <a:pt x="814" y="807"/>
                    <a:pt x="814" y="807"/>
                  </a:cubicBezTo>
                  <a:cubicBezTo>
                    <a:pt x="829" y="807"/>
                    <a:pt x="829" y="807"/>
                    <a:pt x="829" y="807"/>
                  </a:cubicBezTo>
                  <a:cubicBezTo>
                    <a:pt x="809" y="802"/>
                    <a:pt x="789" y="798"/>
                    <a:pt x="768" y="797"/>
                  </a:cubicBezTo>
                  <a:cubicBezTo>
                    <a:pt x="763" y="796"/>
                    <a:pt x="746" y="796"/>
                    <a:pt x="750" y="806"/>
                  </a:cubicBezTo>
                  <a:cubicBezTo>
                    <a:pt x="750" y="807"/>
                    <a:pt x="751" y="807"/>
                    <a:pt x="751" y="808"/>
                  </a:cubicBezTo>
                  <a:cubicBezTo>
                    <a:pt x="761" y="808"/>
                    <a:pt x="761" y="808"/>
                    <a:pt x="761" y="808"/>
                  </a:cubicBezTo>
                  <a:cubicBezTo>
                    <a:pt x="761" y="807"/>
                    <a:pt x="761" y="807"/>
                    <a:pt x="761" y="807"/>
                  </a:cubicBezTo>
                  <a:cubicBezTo>
                    <a:pt x="757" y="804"/>
                    <a:pt x="754" y="804"/>
                    <a:pt x="760" y="803"/>
                  </a:cubicBezTo>
                  <a:cubicBezTo>
                    <a:pt x="982" y="855"/>
                    <a:pt x="982" y="855"/>
                    <a:pt x="982" y="854"/>
                  </a:cubicBezTo>
                  <a:cubicBezTo>
                    <a:pt x="977" y="854"/>
                    <a:pt x="976" y="857"/>
                    <a:pt x="972" y="858"/>
                  </a:cubicBezTo>
                  <a:cubicBezTo>
                    <a:pt x="972" y="858"/>
                    <a:pt x="972" y="858"/>
                    <a:pt x="973" y="858"/>
                  </a:cubicBezTo>
                  <a:cubicBezTo>
                    <a:pt x="976" y="857"/>
                    <a:pt x="978" y="856"/>
                    <a:pt x="981" y="855"/>
                  </a:cubicBezTo>
                  <a:cubicBezTo>
                    <a:pt x="967" y="816"/>
                    <a:pt x="962" y="817"/>
                    <a:pt x="956" y="819"/>
                  </a:cubicBezTo>
                  <a:cubicBezTo>
                    <a:pt x="958" y="823"/>
                    <a:pt x="966" y="817"/>
                    <a:pt x="966" y="823"/>
                  </a:cubicBezTo>
                  <a:cubicBezTo>
                    <a:pt x="966" y="823"/>
                    <a:pt x="966" y="823"/>
                    <a:pt x="966" y="823"/>
                  </a:cubicBezTo>
                  <a:cubicBezTo>
                    <a:pt x="967" y="823"/>
                    <a:pt x="967" y="823"/>
                    <a:pt x="968" y="823"/>
                  </a:cubicBezTo>
                  <a:cubicBezTo>
                    <a:pt x="970" y="822"/>
                    <a:pt x="971" y="818"/>
                    <a:pt x="973" y="820"/>
                  </a:cubicBezTo>
                  <a:cubicBezTo>
                    <a:pt x="973" y="821"/>
                    <a:pt x="973" y="821"/>
                    <a:pt x="973" y="822"/>
                  </a:cubicBezTo>
                  <a:cubicBezTo>
                    <a:pt x="981" y="820"/>
                    <a:pt x="989" y="818"/>
                    <a:pt x="996" y="816"/>
                  </a:cubicBezTo>
                  <a:cubicBezTo>
                    <a:pt x="996" y="816"/>
                    <a:pt x="997" y="815"/>
                    <a:pt x="997" y="815"/>
                  </a:cubicBezTo>
                  <a:cubicBezTo>
                    <a:pt x="997" y="815"/>
                    <a:pt x="998" y="814"/>
                    <a:pt x="998" y="813"/>
                  </a:cubicBezTo>
                  <a:cubicBezTo>
                    <a:pt x="999" y="812"/>
                    <a:pt x="998" y="810"/>
                    <a:pt x="997" y="810"/>
                  </a:cubicBezTo>
                  <a:cubicBezTo>
                    <a:pt x="995" y="811"/>
                    <a:pt x="992" y="812"/>
                    <a:pt x="989" y="811"/>
                  </a:cubicBezTo>
                  <a:cubicBezTo>
                    <a:pt x="989" y="811"/>
                    <a:pt x="989" y="811"/>
                    <a:pt x="989" y="811"/>
                  </a:cubicBezTo>
                  <a:cubicBezTo>
                    <a:pt x="986" y="811"/>
                    <a:pt x="984" y="812"/>
                    <a:pt x="981" y="813"/>
                  </a:cubicBezTo>
                  <a:cubicBezTo>
                    <a:pt x="981" y="813"/>
                    <a:pt x="982" y="814"/>
                    <a:pt x="982" y="814"/>
                  </a:cubicBezTo>
                  <a:cubicBezTo>
                    <a:pt x="981" y="818"/>
                    <a:pt x="979" y="819"/>
                    <a:pt x="975" y="819"/>
                  </a:cubicBezTo>
                  <a:cubicBezTo>
                    <a:pt x="973" y="818"/>
                    <a:pt x="974" y="815"/>
                    <a:pt x="972" y="815"/>
                  </a:cubicBezTo>
                  <a:cubicBezTo>
                    <a:pt x="891" y="850"/>
                    <a:pt x="893" y="849"/>
                    <a:pt x="894" y="847"/>
                  </a:cubicBezTo>
                  <a:cubicBezTo>
                    <a:pt x="893" y="847"/>
                    <a:pt x="893" y="847"/>
                    <a:pt x="892" y="847"/>
                  </a:cubicBezTo>
                  <a:cubicBezTo>
                    <a:pt x="890" y="847"/>
                    <a:pt x="888" y="848"/>
                    <a:pt x="887" y="848"/>
                  </a:cubicBezTo>
                  <a:cubicBezTo>
                    <a:pt x="887" y="849"/>
                    <a:pt x="888" y="850"/>
                    <a:pt x="890" y="851"/>
                  </a:cubicBezTo>
                  <a:cubicBezTo>
                    <a:pt x="889" y="815"/>
                    <a:pt x="887" y="815"/>
                    <a:pt x="886" y="815"/>
                  </a:cubicBezTo>
                  <a:cubicBezTo>
                    <a:pt x="888" y="817"/>
                    <a:pt x="890" y="819"/>
                    <a:pt x="891" y="822"/>
                  </a:cubicBezTo>
                  <a:cubicBezTo>
                    <a:pt x="895" y="822"/>
                    <a:pt x="900" y="822"/>
                    <a:pt x="904" y="822"/>
                  </a:cubicBezTo>
                  <a:cubicBezTo>
                    <a:pt x="903" y="821"/>
                    <a:pt x="903" y="820"/>
                    <a:pt x="903" y="818"/>
                  </a:cubicBezTo>
                  <a:cubicBezTo>
                    <a:pt x="898" y="818"/>
                    <a:pt x="895" y="816"/>
                    <a:pt x="891" y="815"/>
                  </a:cubicBezTo>
                  <a:cubicBezTo>
                    <a:pt x="906" y="845"/>
                    <a:pt x="906" y="845"/>
                    <a:pt x="906" y="845"/>
                  </a:cubicBezTo>
                  <a:cubicBezTo>
                    <a:pt x="906" y="845"/>
                    <a:pt x="905" y="845"/>
                    <a:pt x="905" y="845"/>
                  </a:cubicBezTo>
                  <a:cubicBezTo>
                    <a:pt x="905" y="845"/>
                    <a:pt x="905" y="846"/>
                    <a:pt x="905" y="846"/>
                  </a:cubicBezTo>
                  <a:cubicBezTo>
                    <a:pt x="905" y="846"/>
                    <a:pt x="906" y="845"/>
                    <a:pt x="906" y="845"/>
                  </a:cubicBezTo>
                  <a:cubicBezTo>
                    <a:pt x="826" y="825"/>
                    <a:pt x="826" y="825"/>
                    <a:pt x="826" y="825"/>
                  </a:cubicBezTo>
                  <a:cubicBezTo>
                    <a:pt x="825" y="825"/>
                    <a:pt x="824" y="825"/>
                    <a:pt x="823" y="825"/>
                  </a:cubicBezTo>
                  <a:cubicBezTo>
                    <a:pt x="823" y="825"/>
                    <a:pt x="823" y="825"/>
                    <a:pt x="823" y="825"/>
                  </a:cubicBezTo>
                  <a:cubicBezTo>
                    <a:pt x="817" y="825"/>
                    <a:pt x="817" y="825"/>
                    <a:pt x="817" y="825"/>
                  </a:cubicBezTo>
                  <a:cubicBezTo>
                    <a:pt x="817" y="825"/>
                    <a:pt x="817" y="824"/>
                    <a:pt x="817" y="824"/>
                  </a:cubicBezTo>
                  <a:cubicBezTo>
                    <a:pt x="816" y="823"/>
                    <a:pt x="815" y="823"/>
                    <a:pt x="814" y="823"/>
                  </a:cubicBezTo>
                  <a:cubicBezTo>
                    <a:pt x="814" y="824"/>
                    <a:pt x="814" y="825"/>
                    <a:pt x="814" y="825"/>
                  </a:cubicBezTo>
                  <a:cubicBezTo>
                    <a:pt x="806" y="825"/>
                    <a:pt x="806" y="825"/>
                    <a:pt x="806" y="825"/>
                  </a:cubicBezTo>
                  <a:cubicBezTo>
                    <a:pt x="806" y="825"/>
                    <a:pt x="805" y="825"/>
                    <a:pt x="805" y="824"/>
                  </a:cubicBezTo>
                  <a:cubicBezTo>
                    <a:pt x="804" y="824"/>
                    <a:pt x="803" y="824"/>
                    <a:pt x="802" y="824"/>
                  </a:cubicBezTo>
                  <a:cubicBezTo>
                    <a:pt x="802" y="824"/>
                    <a:pt x="801" y="822"/>
                    <a:pt x="801" y="821"/>
                  </a:cubicBezTo>
                  <a:cubicBezTo>
                    <a:pt x="801" y="821"/>
                    <a:pt x="801" y="821"/>
                    <a:pt x="800" y="821"/>
                  </a:cubicBezTo>
                  <a:cubicBezTo>
                    <a:pt x="800" y="822"/>
                    <a:pt x="800" y="823"/>
                    <a:pt x="800" y="824"/>
                  </a:cubicBezTo>
                  <a:cubicBezTo>
                    <a:pt x="801" y="825"/>
                    <a:pt x="802" y="825"/>
                    <a:pt x="802" y="826"/>
                  </a:cubicBezTo>
                  <a:cubicBezTo>
                    <a:pt x="790" y="826"/>
                    <a:pt x="790" y="826"/>
                    <a:pt x="790" y="826"/>
                  </a:cubicBezTo>
                  <a:cubicBezTo>
                    <a:pt x="845" y="840"/>
                    <a:pt x="907" y="836"/>
                    <a:pt x="963" y="824"/>
                  </a:cubicBezTo>
                  <a:cubicBezTo>
                    <a:pt x="922" y="824"/>
                    <a:pt x="922" y="824"/>
                    <a:pt x="922" y="824"/>
                  </a:cubicBezTo>
                  <a:cubicBezTo>
                    <a:pt x="891" y="828"/>
                    <a:pt x="859" y="829"/>
                    <a:pt x="828" y="825"/>
                  </a:cubicBezTo>
                  <a:cubicBezTo>
                    <a:pt x="888" y="854"/>
                    <a:pt x="887" y="853"/>
                    <a:pt x="887" y="853"/>
                  </a:cubicBezTo>
                  <a:cubicBezTo>
                    <a:pt x="887" y="854"/>
                    <a:pt x="887" y="854"/>
                    <a:pt x="886" y="855"/>
                  </a:cubicBezTo>
                  <a:cubicBezTo>
                    <a:pt x="887" y="855"/>
                    <a:pt x="887" y="855"/>
                    <a:pt x="888" y="855"/>
                  </a:cubicBezTo>
                  <a:cubicBezTo>
                    <a:pt x="814" y="852"/>
                    <a:pt x="815" y="853"/>
                    <a:pt x="817" y="854"/>
                  </a:cubicBezTo>
                  <a:cubicBezTo>
                    <a:pt x="818" y="854"/>
                    <a:pt x="818" y="854"/>
                    <a:pt x="819" y="855"/>
                  </a:cubicBezTo>
                  <a:cubicBezTo>
                    <a:pt x="819" y="855"/>
                    <a:pt x="820" y="856"/>
                    <a:pt x="820" y="856"/>
                  </a:cubicBezTo>
                  <a:cubicBezTo>
                    <a:pt x="821" y="856"/>
                    <a:pt x="823" y="856"/>
                    <a:pt x="825" y="856"/>
                  </a:cubicBezTo>
                  <a:cubicBezTo>
                    <a:pt x="829" y="857"/>
                    <a:pt x="832" y="857"/>
                    <a:pt x="836" y="857"/>
                  </a:cubicBezTo>
                  <a:cubicBezTo>
                    <a:pt x="834" y="856"/>
                    <a:pt x="832" y="856"/>
                    <a:pt x="830" y="855"/>
                  </a:cubicBezTo>
                  <a:cubicBezTo>
                    <a:pt x="829" y="853"/>
                    <a:pt x="832" y="853"/>
                    <a:pt x="832" y="851"/>
                  </a:cubicBezTo>
                  <a:cubicBezTo>
                    <a:pt x="832" y="851"/>
                    <a:pt x="832" y="851"/>
                    <a:pt x="832" y="851"/>
                  </a:cubicBezTo>
                  <a:cubicBezTo>
                    <a:pt x="832" y="851"/>
                    <a:pt x="831" y="851"/>
                    <a:pt x="831" y="850"/>
                  </a:cubicBezTo>
                  <a:cubicBezTo>
                    <a:pt x="831" y="850"/>
                    <a:pt x="831" y="850"/>
                    <a:pt x="831" y="850"/>
                  </a:cubicBezTo>
                  <a:cubicBezTo>
                    <a:pt x="830" y="850"/>
                    <a:pt x="830" y="850"/>
                    <a:pt x="830" y="850"/>
                  </a:cubicBezTo>
                  <a:cubicBezTo>
                    <a:pt x="829" y="850"/>
                    <a:pt x="828" y="850"/>
                    <a:pt x="828" y="850"/>
                  </a:cubicBezTo>
                  <a:cubicBezTo>
                    <a:pt x="826" y="850"/>
                    <a:pt x="824" y="850"/>
                    <a:pt x="822" y="850"/>
                  </a:cubicBezTo>
                  <a:cubicBezTo>
                    <a:pt x="822" y="851"/>
                    <a:pt x="822" y="852"/>
                    <a:pt x="822" y="854"/>
                  </a:cubicBezTo>
                  <a:cubicBezTo>
                    <a:pt x="818" y="854"/>
                    <a:pt x="816" y="852"/>
                    <a:pt x="816" y="849"/>
                  </a:cubicBezTo>
                  <a:cubicBezTo>
                    <a:pt x="814" y="849"/>
                    <a:pt x="813" y="849"/>
                    <a:pt x="811" y="849"/>
                  </a:cubicBezTo>
                  <a:cubicBezTo>
                    <a:pt x="811" y="849"/>
                    <a:pt x="812" y="850"/>
                    <a:pt x="812" y="850"/>
                  </a:cubicBezTo>
                  <a:cubicBezTo>
                    <a:pt x="811" y="850"/>
                    <a:pt x="811" y="850"/>
                    <a:pt x="810" y="850"/>
                  </a:cubicBezTo>
                  <a:cubicBezTo>
                    <a:pt x="811" y="851"/>
                    <a:pt x="811" y="851"/>
                    <a:pt x="811" y="852"/>
                  </a:cubicBezTo>
                  <a:cubicBezTo>
                    <a:pt x="973" y="965"/>
                    <a:pt x="974" y="965"/>
                    <a:pt x="976" y="965"/>
                  </a:cubicBezTo>
                  <a:cubicBezTo>
                    <a:pt x="976" y="965"/>
                    <a:pt x="976" y="965"/>
                    <a:pt x="976" y="965"/>
                  </a:cubicBezTo>
                  <a:cubicBezTo>
                    <a:pt x="978" y="964"/>
                    <a:pt x="980" y="963"/>
                    <a:pt x="982" y="962"/>
                  </a:cubicBezTo>
                  <a:cubicBezTo>
                    <a:pt x="982" y="962"/>
                    <a:pt x="982" y="962"/>
                    <a:pt x="982" y="962"/>
                  </a:cubicBezTo>
                  <a:cubicBezTo>
                    <a:pt x="980" y="963"/>
                    <a:pt x="979" y="963"/>
                    <a:pt x="978" y="962"/>
                  </a:cubicBezTo>
                  <a:cubicBezTo>
                    <a:pt x="977" y="964"/>
                    <a:pt x="974" y="962"/>
                    <a:pt x="973" y="961"/>
                  </a:cubicBezTo>
                  <a:cubicBezTo>
                    <a:pt x="973" y="959"/>
                    <a:pt x="975" y="960"/>
                    <a:pt x="977" y="960"/>
                  </a:cubicBezTo>
                  <a:cubicBezTo>
                    <a:pt x="977" y="959"/>
                    <a:pt x="978" y="958"/>
                    <a:pt x="978" y="958"/>
                  </a:cubicBezTo>
                  <a:cubicBezTo>
                    <a:pt x="978" y="958"/>
                    <a:pt x="978" y="958"/>
                    <a:pt x="978" y="958"/>
                  </a:cubicBezTo>
                  <a:cubicBezTo>
                    <a:pt x="978" y="957"/>
                    <a:pt x="978" y="957"/>
                    <a:pt x="977" y="956"/>
                  </a:cubicBezTo>
                  <a:cubicBezTo>
                    <a:pt x="976" y="957"/>
                    <a:pt x="974" y="958"/>
                    <a:pt x="972" y="959"/>
                  </a:cubicBezTo>
                  <a:cubicBezTo>
                    <a:pt x="973" y="960"/>
                    <a:pt x="973" y="962"/>
                    <a:pt x="972" y="964"/>
                  </a:cubicBezTo>
                  <a:cubicBezTo>
                    <a:pt x="836" y="851"/>
                    <a:pt x="836" y="851"/>
                    <a:pt x="836" y="851"/>
                  </a:cubicBezTo>
                  <a:cubicBezTo>
                    <a:pt x="839" y="851"/>
                    <a:pt x="839" y="851"/>
                    <a:pt x="842" y="851"/>
                  </a:cubicBezTo>
                  <a:cubicBezTo>
                    <a:pt x="840" y="851"/>
                    <a:pt x="838" y="851"/>
                    <a:pt x="836" y="850"/>
                  </a:cubicBezTo>
                  <a:cubicBezTo>
                    <a:pt x="485" y="1061"/>
                    <a:pt x="484" y="1062"/>
                    <a:pt x="483" y="1062"/>
                  </a:cubicBezTo>
                  <a:cubicBezTo>
                    <a:pt x="482" y="1064"/>
                    <a:pt x="482" y="1065"/>
                    <a:pt x="482" y="1067"/>
                  </a:cubicBezTo>
                  <a:cubicBezTo>
                    <a:pt x="483" y="1068"/>
                    <a:pt x="485" y="1069"/>
                    <a:pt x="487" y="1071"/>
                  </a:cubicBezTo>
                  <a:cubicBezTo>
                    <a:pt x="488" y="1069"/>
                    <a:pt x="494" y="1069"/>
                    <a:pt x="493" y="1072"/>
                  </a:cubicBezTo>
                  <a:cubicBezTo>
                    <a:pt x="494" y="1072"/>
                    <a:pt x="494" y="1072"/>
                    <a:pt x="494" y="1072"/>
                  </a:cubicBezTo>
                  <a:cubicBezTo>
                    <a:pt x="494" y="1073"/>
                    <a:pt x="493" y="1075"/>
                    <a:pt x="494" y="1076"/>
                  </a:cubicBezTo>
                  <a:cubicBezTo>
                    <a:pt x="502" y="1083"/>
                    <a:pt x="511" y="1090"/>
                    <a:pt x="521" y="1096"/>
                  </a:cubicBezTo>
                  <a:cubicBezTo>
                    <a:pt x="521" y="1096"/>
                    <a:pt x="522" y="1097"/>
                    <a:pt x="522" y="1097"/>
                  </a:cubicBezTo>
                  <a:cubicBezTo>
                    <a:pt x="522" y="1097"/>
                    <a:pt x="523" y="1096"/>
                    <a:pt x="523" y="1096"/>
                  </a:cubicBezTo>
                  <a:cubicBezTo>
                    <a:pt x="523" y="1096"/>
                    <a:pt x="522" y="1095"/>
                    <a:pt x="522" y="1095"/>
                  </a:cubicBezTo>
                  <a:cubicBezTo>
                    <a:pt x="530" y="1095"/>
                    <a:pt x="530" y="1095"/>
                    <a:pt x="530" y="1095"/>
                  </a:cubicBezTo>
                  <a:cubicBezTo>
                    <a:pt x="514" y="1085"/>
                    <a:pt x="499" y="1074"/>
                    <a:pt x="486" y="1061"/>
                  </a:cubicBezTo>
                  <a:cubicBezTo>
                    <a:pt x="708" y="1107"/>
                    <a:pt x="710" y="1106"/>
                    <a:pt x="711" y="1107"/>
                  </a:cubicBezTo>
                  <a:cubicBezTo>
                    <a:pt x="710" y="1111"/>
                    <a:pt x="717" y="1110"/>
                    <a:pt x="720" y="1111"/>
                  </a:cubicBezTo>
                  <a:cubicBezTo>
                    <a:pt x="710" y="1112"/>
                    <a:pt x="710" y="1112"/>
                    <a:pt x="710" y="1112"/>
                  </a:cubicBezTo>
                  <a:cubicBezTo>
                    <a:pt x="713" y="1113"/>
                    <a:pt x="716" y="1115"/>
                    <a:pt x="720" y="1116"/>
                  </a:cubicBezTo>
                  <a:cubicBezTo>
                    <a:pt x="733" y="1122"/>
                    <a:pt x="747" y="1126"/>
                    <a:pt x="762" y="1129"/>
                  </a:cubicBezTo>
                  <a:cubicBezTo>
                    <a:pt x="762" y="1129"/>
                    <a:pt x="762" y="1129"/>
                    <a:pt x="762" y="1128"/>
                  </a:cubicBezTo>
                  <a:cubicBezTo>
                    <a:pt x="771" y="1128"/>
                    <a:pt x="771" y="1128"/>
                    <a:pt x="771" y="1128"/>
                  </a:cubicBezTo>
                  <a:cubicBezTo>
                    <a:pt x="771" y="1129"/>
                    <a:pt x="771" y="1129"/>
                    <a:pt x="771" y="1130"/>
                  </a:cubicBezTo>
                  <a:cubicBezTo>
                    <a:pt x="777" y="1130"/>
                    <a:pt x="784" y="1131"/>
                    <a:pt x="790" y="1131"/>
                  </a:cubicBezTo>
                  <a:cubicBezTo>
                    <a:pt x="790" y="1130"/>
                    <a:pt x="791" y="1130"/>
                    <a:pt x="792" y="1130"/>
                  </a:cubicBezTo>
                  <a:cubicBezTo>
                    <a:pt x="791" y="1129"/>
                    <a:pt x="790" y="1129"/>
                    <a:pt x="789" y="1128"/>
                  </a:cubicBezTo>
                  <a:cubicBezTo>
                    <a:pt x="795" y="1128"/>
                    <a:pt x="795" y="1128"/>
                    <a:pt x="795" y="1128"/>
                  </a:cubicBezTo>
                  <a:cubicBezTo>
                    <a:pt x="796" y="1129"/>
                    <a:pt x="797" y="1129"/>
                    <a:pt x="797" y="1129"/>
                  </a:cubicBezTo>
                  <a:cubicBezTo>
                    <a:pt x="797" y="1130"/>
                    <a:pt x="797" y="1130"/>
                    <a:pt x="797" y="1131"/>
                  </a:cubicBezTo>
                  <a:cubicBezTo>
                    <a:pt x="798" y="1131"/>
                    <a:pt x="799" y="1131"/>
                    <a:pt x="800" y="1131"/>
                  </a:cubicBezTo>
                  <a:cubicBezTo>
                    <a:pt x="801" y="1130"/>
                    <a:pt x="803" y="1129"/>
                    <a:pt x="804" y="1128"/>
                  </a:cubicBezTo>
                  <a:cubicBezTo>
                    <a:pt x="811" y="1128"/>
                    <a:pt x="811" y="1128"/>
                    <a:pt x="811" y="1128"/>
                  </a:cubicBezTo>
                  <a:cubicBezTo>
                    <a:pt x="810" y="1129"/>
                    <a:pt x="809" y="1129"/>
                    <a:pt x="809" y="1130"/>
                  </a:cubicBezTo>
                  <a:cubicBezTo>
                    <a:pt x="810" y="1130"/>
                    <a:pt x="811" y="1130"/>
                    <a:pt x="812" y="1130"/>
                  </a:cubicBezTo>
                  <a:cubicBezTo>
                    <a:pt x="812" y="1129"/>
                    <a:pt x="812" y="1129"/>
                    <a:pt x="813" y="1128"/>
                  </a:cubicBezTo>
                  <a:cubicBezTo>
                    <a:pt x="817" y="1128"/>
                    <a:pt x="817" y="1128"/>
                    <a:pt x="817" y="1128"/>
                  </a:cubicBezTo>
                  <a:cubicBezTo>
                    <a:pt x="818" y="1128"/>
                    <a:pt x="819" y="1129"/>
                    <a:pt x="819" y="1130"/>
                  </a:cubicBezTo>
                  <a:cubicBezTo>
                    <a:pt x="821" y="1129"/>
                    <a:pt x="823" y="1129"/>
                    <a:pt x="825" y="1129"/>
                  </a:cubicBezTo>
                  <a:cubicBezTo>
                    <a:pt x="824" y="1129"/>
                    <a:pt x="824" y="1128"/>
                    <a:pt x="823" y="1128"/>
                  </a:cubicBezTo>
                  <a:cubicBezTo>
                    <a:pt x="830" y="1128"/>
                    <a:pt x="830" y="1128"/>
                    <a:pt x="830" y="1128"/>
                  </a:cubicBezTo>
                  <a:cubicBezTo>
                    <a:pt x="830" y="1128"/>
                    <a:pt x="830" y="1128"/>
                    <a:pt x="830" y="1128"/>
                  </a:cubicBezTo>
                  <a:cubicBezTo>
                    <a:pt x="855" y="1125"/>
                    <a:pt x="879" y="1119"/>
                    <a:pt x="903" y="1110"/>
                  </a:cubicBezTo>
                  <a:cubicBezTo>
                    <a:pt x="896" y="1110"/>
                    <a:pt x="896" y="1110"/>
                    <a:pt x="896" y="1110"/>
                  </a:cubicBezTo>
                  <a:cubicBezTo>
                    <a:pt x="896" y="1110"/>
                    <a:pt x="895" y="1110"/>
                    <a:pt x="895" y="1109"/>
                  </a:cubicBezTo>
                  <a:cubicBezTo>
                    <a:pt x="894" y="1110"/>
                    <a:pt x="894" y="1110"/>
                    <a:pt x="893" y="1110"/>
                  </a:cubicBezTo>
                  <a:cubicBezTo>
                    <a:pt x="889" y="1110"/>
                    <a:pt x="889" y="1110"/>
                    <a:pt x="889" y="1110"/>
                  </a:cubicBezTo>
                  <a:cubicBezTo>
                    <a:pt x="888" y="1109"/>
                    <a:pt x="888" y="1109"/>
                    <a:pt x="887" y="1108"/>
                  </a:cubicBezTo>
                  <a:cubicBezTo>
                    <a:pt x="856" y="1118"/>
                    <a:pt x="824" y="1124"/>
                    <a:pt x="792" y="1124"/>
                  </a:cubicBezTo>
                  <a:cubicBezTo>
                    <a:pt x="769" y="1124"/>
                    <a:pt x="749" y="1119"/>
                    <a:pt x="729" y="1111"/>
                  </a:cubicBezTo>
                  <a:cubicBezTo>
                    <a:pt x="722" y="1111"/>
                    <a:pt x="722" y="1111"/>
                    <a:pt x="722" y="1111"/>
                  </a:cubicBezTo>
                  <a:cubicBezTo>
                    <a:pt x="722" y="1111"/>
                    <a:pt x="722" y="1111"/>
                    <a:pt x="721" y="1111"/>
                  </a:cubicBezTo>
                  <a:cubicBezTo>
                    <a:pt x="722" y="1110"/>
                    <a:pt x="723" y="1110"/>
                    <a:pt x="723" y="1110"/>
                  </a:cubicBezTo>
                  <a:cubicBezTo>
                    <a:pt x="723" y="1109"/>
                    <a:pt x="723" y="1109"/>
                    <a:pt x="723" y="1109"/>
                  </a:cubicBezTo>
                  <a:cubicBezTo>
                    <a:pt x="720" y="1108"/>
                    <a:pt x="717" y="1106"/>
                    <a:pt x="714" y="1105"/>
                  </a:cubicBezTo>
                  <a:cubicBezTo>
                    <a:pt x="713" y="1105"/>
                    <a:pt x="712" y="1105"/>
                    <a:pt x="711" y="1104"/>
                  </a:cubicBezTo>
                  <a:cubicBezTo>
                    <a:pt x="709" y="1103"/>
                    <a:pt x="707" y="1102"/>
                    <a:pt x="704" y="1101"/>
                  </a:cubicBezTo>
                  <a:cubicBezTo>
                    <a:pt x="705" y="1102"/>
                    <a:pt x="706" y="1103"/>
                    <a:pt x="707" y="1104"/>
                  </a:cubicBezTo>
                  <a:cubicBezTo>
                    <a:pt x="707" y="1105"/>
                    <a:pt x="707" y="1106"/>
                    <a:pt x="706" y="1107"/>
                  </a:cubicBezTo>
                  <a:cubicBezTo>
                    <a:pt x="100" y="422"/>
                    <a:pt x="99" y="423"/>
                    <a:pt x="99" y="424"/>
                  </a:cubicBezTo>
                  <a:cubicBezTo>
                    <a:pt x="99" y="424"/>
                    <a:pt x="99" y="425"/>
                    <a:pt x="100" y="425"/>
                  </a:cubicBezTo>
                  <a:cubicBezTo>
                    <a:pt x="101" y="424"/>
                    <a:pt x="101" y="423"/>
                    <a:pt x="100" y="422"/>
                  </a:cubicBezTo>
                  <a:cubicBezTo>
                    <a:pt x="823" y="387"/>
                    <a:pt x="822" y="380"/>
                    <a:pt x="818" y="384"/>
                  </a:cubicBezTo>
                  <a:cubicBezTo>
                    <a:pt x="818" y="384"/>
                    <a:pt x="818" y="384"/>
                    <a:pt x="818" y="384"/>
                  </a:cubicBezTo>
                  <a:cubicBezTo>
                    <a:pt x="821" y="385"/>
                    <a:pt x="824" y="386"/>
                    <a:pt x="827" y="386"/>
                  </a:cubicBezTo>
                  <a:cubicBezTo>
                    <a:pt x="827" y="386"/>
                    <a:pt x="827" y="386"/>
                    <a:pt x="828" y="386"/>
                  </a:cubicBezTo>
                  <a:cubicBezTo>
                    <a:pt x="763" y="390"/>
                    <a:pt x="762" y="389"/>
                    <a:pt x="761" y="389"/>
                  </a:cubicBezTo>
                  <a:cubicBezTo>
                    <a:pt x="759" y="391"/>
                    <a:pt x="755" y="393"/>
                    <a:pt x="753" y="394"/>
                  </a:cubicBezTo>
                  <a:cubicBezTo>
                    <a:pt x="757" y="395"/>
                    <a:pt x="761" y="396"/>
                    <a:pt x="765" y="397"/>
                  </a:cubicBezTo>
                  <a:cubicBezTo>
                    <a:pt x="766" y="397"/>
                    <a:pt x="766" y="394"/>
                    <a:pt x="767" y="394"/>
                  </a:cubicBezTo>
                  <a:cubicBezTo>
                    <a:pt x="772" y="393"/>
                    <a:pt x="773" y="397"/>
                    <a:pt x="777" y="398"/>
                  </a:cubicBezTo>
                  <a:cubicBezTo>
                    <a:pt x="775" y="396"/>
                    <a:pt x="775" y="395"/>
                    <a:pt x="776" y="393"/>
                  </a:cubicBezTo>
                  <a:cubicBezTo>
                    <a:pt x="773" y="392"/>
                    <a:pt x="770" y="392"/>
                    <a:pt x="768" y="391"/>
                  </a:cubicBezTo>
                  <a:cubicBezTo>
                    <a:pt x="766" y="392"/>
                    <a:pt x="764" y="392"/>
                    <a:pt x="763" y="391"/>
                  </a:cubicBezTo>
                  <a:cubicBezTo>
                    <a:pt x="764" y="391"/>
                    <a:pt x="764" y="391"/>
                    <a:pt x="765" y="390"/>
                  </a:cubicBezTo>
                  <a:cubicBezTo>
                    <a:pt x="138" y="423"/>
                    <a:pt x="139" y="423"/>
                    <a:pt x="139" y="423"/>
                  </a:cubicBezTo>
                  <a:cubicBezTo>
                    <a:pt x="139" y="423"/>
                    <a:pt x="139" y="423"/>
                    <a:pt x="139" y="423"/>
                  </a:cubicBezTo>
                  <a:cubicBezTo>
                    <a:pt x="138" y="423"/>
                    <a:pt x="138" y="423"/>
                    <a:pt x="138" y="423"/>
                  </a:cubicBezTo>
                  <a:cubicBezTo>
                    <a:pt x="330" y="393"/>
                    <a:pt x="330" y="391"/>
                    <a:pt x="329" y="390"/>
                  </a:cubicBezTo>
                  <a:cubicBezTo>
                    <a:pt x="321" y="393"/>
                    <a:pt x="313" y="397"/>
                    <a:pt x="304" y="400"/>
                  </a:cubicBezTo>
                  <a:cubicBezTo>
                    <a:pt x="304" y="401"/>
                    <a:pt x="304" y="401"/>
                    <a:pt x="304" y="402"/>
                  </a:cubicBezTo>
                  <a:cubicBezTo>
                    <a:pt x="301" y="402"/>
                    <a:pt x="301" y="402"/>
                    <a:pt x="301" y="402"/>
                  </a:cubicBezTo>
                  <a:cubicBezTo>
                    <a:pt x="292" y="406"/>
                    <a:pt x="283" y="411"/>
                    <a:pt x="274" y="416"/>
                  </a:cubicBezTo>
                  <a:cubicBezTo>
                    <a:pt x="272" y="417"/>
                    <a:pt x="270" y="419"/>
                    <a:pt x="269" y="420"/>
                  </a:cubicBezTo>
                  <a:cubicBezTo>
                    <a:pt x="284" y="419"/>
                    <a:pt x="284" y="419"/>
                    <a:pt x="284" y="419"/>
                  </a:cubicBezTo>
                  <a:cubicBezTo>
                    <a:pt x="299" y="411"/>
                    <a:pt x="315" y="403"/>
                    <a:pt x="332" y="396"/>
                  </a:cubicBezTo>
                  <a:cubicBezTo>
                    <a:pt x="332" y="396"/>
                    <a:pt x="331" y="396"/>
                    <a:pt x="331" y="396"/>
                  </a:cubicBezTo>
                  <a:cubicBezTo>
                    <a:pt x="331" y="393"/>
                    <a:pt x="332" y="393"/>
                    <a:pt x="334" y="392"/>
                  </a:cubicBezTo>
                  <a:cubicBezTo>
                    <a:pt x="216" y="429"/>
                    <a:pt x="217" y="429"/>
                    <a:pt x="218" y="429"/>
                  </a:cubicBezTo>
                  <a:cubicBezTo>
                    <a:pt x="218" y="429"/>
                    <a:pt x="219" y="429"/>
                    <a:pt x="220" y="428"/>
                  </a:cubicBezTo>
                  <a:cubicBezTo>
                    <a:pt x="219" y="427"/>
                    <a:pt x="218" y="426"/>
                    <a:pt x="218" y="425"/>
                  </a:cubicBezTo>
                  <a:cubicBezTo>
                    <a:pt x="219" y="426"/>
                    <a:pt x="220" y="427"/>
                    <a:pt x="222" y="427"/>
                  </a:cubicBezTo>
                  <a:cubicBezTo>
                    <a:pt x="223" y="425"/>
                    <a:pt x="225" y="424"/>
                    <a:pt x="226" y="423"/>
                  </a:cubicBezTo>
                  <a:cubicBezTo>
                    <a:pt x="226" y="423"/>
                    <a:pt x="225" y="422"/>
                    <a:pt x="225" y="422"/>
                  </a:cubicBezTo>
                  <a:cubicBezTo>
                    <a:pt x="223" y="422"/>
                    <a:pt x="223" y="422"/>
                    <a:pt x="222" y="423"/>
                  </a:cubicBezTo>
                  <a:cubicBezTo>
                    <a:pt x="220" y="423"/>
                    <a:pt x="220" y="422"/>
                    <a:pt x="220" y="420"/>
                  </a:cubicBezTo>
                  <a:cubicBezTo>
                    <a:pt x="231" y="420"/>
                    <a:pt x="231" y="420"/>
                    <a:pt x="231" y="420"/>
                  </a:cubicBezTo>
                  <a:cubicBezTo>
                    <a:pt x="244" y="410"/>
                    <a:pt x="259" y="401"/>
                    <a:pt x="273" y="394"/>
                  </a:cubicBezTo>
                  <a:cubicBezTo>
                    <a:pt x="273" y="393"/>
                    <a:pt x="273" y="390"/>
                    <a:pt x="272" y="389"/>
                  </a:cubicBezTo>
                  <a:cubicBezTo>
                    <a:pt x="274" y="388"/>
                    <a:pt x="276" y="388"/>
                    <a:pt x="279" y="388"/>
                  </a:cubicBezTo>
                  <a:cubicBezTo>
                    <a:pt x="279" y="389"/>
                    <a:pt x="279" y="390"/>
                    <a:pt x="278" y="391"/>
                  </a:cubicBezTo>
                  <a:cubicBezTo>
                    <a:pt x="280" y="390"/>
                    <a:pt x="281" y="390"/>
                    <a:pt x="283" y="389"/>
                  </a:cubicBezTo>
                  <a:cubicBezTo>
                    <a:pt x="283" y="389"/>
                    <a:pt x="284" y="388"/>
                    <a:pt x="285" y="387"/>
                  </a:cubicBezTo>
                  <a:cubicBezTo>
                    <a:pt x="284" y="386"/>
                    <a:pt x="282" y="385"/>
                    <a:pt x="280" y="384"/>
                  </a:cubicBezTo>
                  <a:cubicBezTo>
                    <a:pt x="275" y="386"/>
                    <a:pt x="271" y="388"/>
                    <a:pt x="266" y="391"/>
                  </a:cubicBezTo>
                  <a:cubicBezTo>
                    <a:pt x="265" y="393"/>
                    <a:pt x="265" y="394"/>
                    <a:pt x="264" y="396"/>
                  </a:cubicBezTo>
                  <a:cubicBezTo>
                    <a:pt x="262" y="396"/>
                    <a:pt x="261" y="396"/>
                    <a:pt x="259" y="396"/>
                  </a:cubicBezTo>
                  <a:cubicBezTo>
                    <a:pt x="259" y="395"/>
                    <a:pt x="259" y="395"/>
                    <a:pt x="259" y="395"/>
                  </a:cubicBezTo>
                  <a:cubicBezTo>
                    <a:pt x="256" y="396"/>
                    <a:pt x="253" y="398"/>
                    <a:pt x="250" y="400"/>
                  </a:cubicBezTo>
                  <a:cubicBezTo>
                    <a:pt x="250" y="401"/>
                    <a:pt x="249" y="401"/>
                    <a:pt x="248" y="402"/>
                  </a:cubicBezTo>
                  <a:cubicBezTo>
                    <a:pt x="249" y="401"/>
                    <a:pt x="249" y="401"/>
                    <a:pt x="249" y="401"/>
                  </a:cubicBezTo>
                  <a:cubicBezTo>
                    <a:pt x="238" y="407"/>
                    <a:pt x="228" y="414"/>
                    <a:pt x="218" y="422"/>
                  </a:cubicBezTo>
                  <a:cubicBezTo>
                    <a:pt x="216" y="423"/>
                    <a:pt x="215" y="425"/>
                    <a:pt x="215" y="429"/>
                  </a:cubicBezTo>
                  <a:cubicBezTo>
                    <a:pt x="581" y="360"/>
                    <a:pt x="579" y="360"/>
                    <a:pt x="577" y="360"/>
                  </a:cubicBezTo>
                  <a:cubicBezTo>
                    <a:pt x="579" y="361"/>
                    <a:pt x="581" y="362"/>
                    <a:pt x="582" y="362"/>
                  </a:cubicBezTo>
                  <a:cubicBezTo>
                    <a:pt x="583" y="361"/>
                    <a:pt x="583" y="361"/>
                    <a:pt x="583" y="360"/>
                  </a:cubicBezTo>
                  <a:cubicBezTo>
                    <a:pt x="714" y="845"/>
                    <a:pt x="715" y="845"/>
                    <a:pt x="715" y="845"/>
                  </a:cubicBezTo>
                  <a:cubicBezTo>
                    <a:pt x="709" y="840"/>
                    <a:pt x="703" y="834"/>
                    <a:pt x="699" y="827"/>
                  </a:cubicBezTo>
                  <a:cubicBezTo>
                    <a:pt x="698" y="827"/>
                    <a:pt x="698" y="827"/>
                    <a:pt x="698" y="826"/>
                  </a:cubicBezTo>
                  <a:cubicBezTo>
                    <a:pt x="695" y="826"/>
                    <a:pt x="695" y="826"/>
                    <a:pt x="695" y="826"/>
                  </a:cubicBezTo>
                  <a:cubicBezTo>
                    <a:pt x="696" y="826"/>
                    <a:pt x="697" y="826"/>
                    <a:pt x="697" y="825"/>
                  </a:cubicBezTo>
                  <a:cubicBezTo>
                    <a:pt x="697" y="824"/>
                    <a:pt x="696" y="823"/>
                    <a:pt x="695" y="822"/>
                  </a:cubicBezTo>
                  <a:cubicBezTo>
                    <a:pt x="694" y="822"/>
                    <a:pt x="692" y="822"/>
                    <a:pt x="691" y="821"/>
                  </a:cubicBezTo>
                  <a:cubicBezTo>
                    <a:pt x="690" y="819"/>
                    <a:pt x="692" y="817"/>
                    <a:pt x="694" y="817"/>
                  </a:cubicBezTo>
                  <a:cubicBezTo>
                    <a:pt x="694" y="816"/>
                    <a:pt x="694" y="815"/>
                    <a:pt x="694" y="813"/>
                  </a:cubicBezTo>
                  <a:cubicBezTo>
                    <a:pt x="693" y="813"/>
                    <a:pt x="693" y="812"/>
                    <a:pt x="692" y="812"/>
                  </a:cubicBezTo>
                  <a:cubicBezTo>
                    <a:pt x="691" y="813"/>
                    <a:pt x="689" y="813"/>
                    <a:pt x="686" y="814"/>
                  </a:cubicBezTo>
                  <a:cubicBezTo>
                    <a:pt x="686" y="815"/>
                    <a:pt x="687" y="816"/>
                    <a:pt x="687" y="818"/>
                  </a:cubicBezTo>
                  <a:cubicBezTo>
                    <a:pt x="689" y="818"/>
                    <a:pt x="690" y="821"/>
                    <a:pt x="691" y="824"/>
                  </a:cubicBezTo>
                  <a:cubicBezTo>
                    <a:pt x="692" y="825"/>
                    <a:pt x="692" y="826"/>
                    <a:pt x="693" y="826"/>
                  </a:cubicBezTo>
                  <a:cubicBezTo>
                    <a:pt x="690" y="826"/>
                    <a:pt x="690" y="826"/>
                    <a:pt x="690" y="826"/>
                  </a:cubicBezTo>
                  <a:cubicBezTo>
                    <a:pt x="693" y="833"/>
                    <a:pt x="699" y="839"/>
                    <a:pt x="704" y="844"/>
                  </a:cubicBezTo>
                  <a:cubicBezTo>
                    <a:pt x="705" y="844"/>
                    <a:pt x="705" y="844"/>
                    <a:pt x="705" y="844"/>
                  </a:cubicBezTo>
                  <a:cubicBezTo>
                    <a:pt x="705" y="844"/>
                    <a:pt x="705" y="844"/>
                    <a:pt x="704" y="844"/>
                  </a:cubicBezTo>
                  <a:cubicBezTo>
                    <a:pt x="706" y="846"/>
                    <a:pt x="708" y="847"/>
                    <a:pt x="709" y="848"/>
                  </a:cubicBezTo>
                  <a:cubicBezTo>
                    <a:pt x="711" y="850"/>
                    <a:pt x="713" y="851"/>
                    <a:pt x="715" y="853"/>
                  </a:cubicBezTo>
                  <a:cubicBezTo>
                    <a:pt x="716" y="853"/>
                    <a:pt x="716" y="853"/>
                    <a:pt x="716" y="852"/>
                  </a:cubicBezTo>
                  <a:cubicBezTo>
                    <a:pt x="713" y="850"/>
                    <a:pt x="710" y="847"/>
                    <a:pt x="706" y="844"/>
                  </a:cubicBezTo>
                  <a:cubicBezTo>
                    <a:pt x="712" y="844"/>
                    <a:pt x="712" y="844"/>
                    <a:pt x="712" y="844"/>
                  </a:cubicBezTo>
                  <a:cubicBezTo>
                    <a:pt x="713" y="844"/>
                    <a:pt x="714" y="845"/>
                    <a:pt x="714" y="846"/>
                  </a:cubicBezTo>
                  <a:cubicBezTo>
                    <a:pt x="1030" y="773"/>
                    <a:pt x="963" y="771"/>
                    <a:pt x="898" y="764"/>
                  </a:cubicBezTo>
                  <a:cubicBezTo>
                    <a:pt x="876" y="759"/>
                    <a:pt x="854" y="755"/>
                    <a:pt x="831" y="750"/>
                  </a:cubicBezTo>
                  <a:cubicBezTo>
                    <a:pt x="833" y="751"/>
                    <a:pt x="835" y="752"/>
                    <a:pt x="836" y="754"/>
                  </a:cubicBezTo>
                  <a:cubicBezTo>
                    <a:pt x="828" y="754"/>
                    <a:pt x="828" y="754"/>
                    <a:pt x="828" y="754"/>
                  </a:cubicBezTo>
                  <a:cubicBezTo>
                    <a:pt x="827" y="752"/>
                    <a:pt x="827" y="751"/>
                    <a:pt x="828" y="749"/>
                  </a:cubicBezTo>
                  <a:cubicBezTo>
                    <a:pt x="826" y="749"/>
                    <a:pt x="824" y="748"/>
                    <a:pt x="823" y="748"/>
                  </a:cubicBezTo>
                  <a:cubicBezTo>
                    <a:pt x="824" y="750"/>
                    <a:pt x="824" y="751"/>
                    <a:pt x="823" y="753"/>
                  </a:cubicBezTo>
                  <a:cubicBezTo>
                    <a:pt x="823" y="754"/>
                    <a:pt x="824" y="754"/>
                    <a:pt x="824" y="754"/>
                  </a:cubicBezTo>
                  <a:cubicBezTo>
                    <a:pt x="805" y="754"/>
                    <a:pt x="805" y="754"/>
                    <a:pt x="805" y="754"/>
                  </a:cubicBezTo>
                  <a:cubicBezTo>
                    <a:pt x="805" y="754"/>
                    <a:pt x="805" y="754"/>
                    <a:pt x="806" y="754"/>
                  </a:cubicBezTo>
                  <a:cubicBezTo>
                    <a:pt x="803" y="751"/>
                    <a:pt x="800" y="753"/>
                    <a:pt x="797" y="754"/>
                  </a:cubicBezTo>
                  <a:cubicBezTo>
                    <a:pt x="798" y="754"/>
                    <a:pt x="799" y="754"/>
                    <a:pt x="800" y="754"/>
                  </a:cubicBezTo>
                  <a:cubicBezTo>
                    <a:pt x="800" y="754"/>
                    <a:pt x="800" y="754"/>
                    <a:pt x="800" y="754"/>
                  </a:cubicBezTo>
                  <a:cubicBezTo>
                    <a:pt x="792" y="754"/>
                    <a:pt x="792" y="754"/>
                    <a:pt x="792" y="754"/>
                  </a:cubicBezTo>
                  <a:cubicBezTo>
                    <a:pt x="792" y="754"/>
                    <a:pt x="792" y="754"/>
                    <a:pt x="792" y="754"/>
                  </a:cubicBezTo>
                  <a:cubicBezTo>
                    <a:pt x="791" y="753"/>
                    <a:pt x="790" y="753"/>
                    <a:pt x="790" y="751"/>
                  </a:cubicBezTo>
                  <a:cubicBezTo>
                    <a:pt x="787" y="751"/>
                    <a:pt x="787" y="751"/>
                    <a:pt x="784" y="751"/>
                  </a:cubicBezTo>
                  <a:cubicBezTo>
                    <a:pt x="783" y="751"/>
                    <a:pt x="782" y="752"/>
                    <a:pt x="781" y="754"/>
                  </a:cubicBezTo>
                  <a:cubicBezTo>
                    <a:pt x="782" y="754"/>
                    <a:pt x="782" y="754"/>
                    <a:pt x="783" y="754"/>
                  </a:cubicBezTo>
                  <a:cubicBezTo>
                    <a:pt x="777" y="754"/>
                    <a:pt x="777" y="754"/>
                    <a:pt x="777" y="754"/>
                  </a:cubicBezTo>
                  <a:cubicBezTo>
                    <a:pt x="777" y="754"/>
                    <a:pt x="777" y="754"/>
                    <a:pt x="777" y="754"/>
                  </a:cubicBezTo>
                  <a:cubicBezTo>
                    <a:pt x="777" y="754"/>
                    <a:pt x="777" y="754"/>
                    <a:pt x="777" y="754"/>
                  </a:cubicBezTo>
                  <a:cubicBezTo>
                    <a:pt x="763" y="755"/>
                    <a:pt x="763" y="755"/>
                    <a:pt x="763" y="755"/>
                  </a:cubicBezTo>
                  <a:cubicBezTo>
                    <a:pt x="765" y="753"/>
                    <a:pt x="767" y="751"/>
                    <a:pt x="768" y="750"/>
                  </a:cubicBezTo>
                  <a:cubicBezTo>
                    <a:pt x="768" y="749"/>
                    <a:pt x="768" y="749"/>
                    <a:pt x="767" y="749"/>
                  </a:cubicBezTo>
                  <a:cubicBezTo>
                    <a:pt x="766" y="748"/>
                    <a:pt x="764" y="748"/>
                    <a:pt x="762" y="748"/>
                  </a:cubicBezTo>
                  <a:cubicBezTo>
                    <a:pt x="760" y="749"/>
                    <a:pt x="759" y="752"/>
                    <a:pt x="755" y="751"/>
                  </a:cubicBezTo>
                  <a:cubicBezTo>
                    <a:pt x="754" y="753"/>
                    <a:pt x="754" y="754"/>
                    <a:pt x="754" y="755"/>
                  </a:cubicBezTo>
                  <a:cubicBezTo>
                    <a:pt x="737" y="755"/>
                    <a:pt x="737" y="755"/>
                    <a:pt x="737" y="755"/>
                  </a:cubicBezTo>
                  <a:cubicBezTo>
                    <a:pt x="737" y="754"/>
                    <a:pt x="737" y="753"/>
                    <a:pt x="736" y="753"/>
                  </a:cubicBezTo>
                  <a:cubicBezTo>
                    <a:pt x="739" y="752"/>
                    <a:pt x="741" y="750"/>
                    <a:pt x="742" y="748"/>
                  </a:cubicBezTo>
                  <a:cubicBezTo>
                    <a:pt x="735" y="748"/>
                    <a:pt x="728" y="748"/>
                    <a:pt x="722" y="749"/>
                  </a:cubicBezTo>
                  <a:cubicBezTo>
                    <a:pt x="722" y="750"/>
                    <a:pt x="722" y="751"/>
                    <a:pt x="722" y="752"/>
                  </a:cubicBezTo>
                  <a:cubicBezTo>
                    <a:pt x="723" y="751"/>
                    <a:pt x="725" y="751"/>
                    <a:pt x="726" y="751"/>
                  </a:cubicBezTo>
                  <a:cubicBezTo>
                    <a:pt x="726" y="751"/>
                    <a:pt x="727" y="751"/>
                    <a:pt x="728" y="751"/>
                  </a:cubicBezTo>
                  <a:cubicBezTo>
                    <a:pt x="728" y="752"/>
                    <a:pt x="728" y="754"/>
                    <a:pt x="728" y="755"/>
                  </a:cubicBezTo>
                  <a:cubicBezTo>
                    <a:pt x="697" y="755"/>
                    <a:pt x="697" y="755"/>
                    <a:pt x="697" y="755"/>
                  </a:cubicBezTo>
                  <a:cubicBezTo>
                    <a:pt x="697" y="755"/>
                    <a:pt x="696" y="754"/>
                    <a:pt x="696" y="753"/>
                  </a:cubicBezTo>
                  <a:cubicBezTo>
                    <a:pt x="696" y="753"/>
                    <a:pt x="696" y="752"/>
                    <a:pt x="697" y="752"/>
                  </a:cubicBezTo>
                  <a:cubicBezTo>
                    <a:pt x="695" y="752"/>
                    <a:pt x="693" y="753"/>
                    <a:pt x="690" y="753"/>
                  </a:cubicBezTo>
                  <a:cubicBezTo>
                    <a:pt x="692" y="753"/>
                    <a:pt x="693" y="754"/>
                    <a:pt x="693" y="755"/>
                  </a:cubicBezTo>
                  <a:cubicBezTo>
                    <a:pt x="686" y="755"/>
                    <a:pt x="686" y="755"/>
                    <a:pt x="686" y="755"/>
                  </a:cubicBezTo>
                  <a:cubicBezTo>
                    <a:pt x="686" y="755"/>
                    <a:pt x="686" y="755"/>
                    <a:pt x="686" y="754"/>
                  </a:cubicBezTo>
                  <a:cubicBezTo>
                    <a:pt x="686" y="754"/>
                    <a:pt x="685" y="755"/>
                    <a:pt x="685" y="755"/>
                  </a:cubicBezTo>
                  <a:cubicBezTo>
                    <a:pt x="685" y="755"/>
                    <a:pt x="685" y="755"/>
                    <a:pt x="685" y="755"/>
                  </a:cubicBezTo>
                  <a:cubicBezTo>
                    <a:pt x="683" y="755"/>
                    <a:pt x="683" y="755"/>
                    <a:pt x="683" y="755"/>
                  </a:cubicBezTo>
                  <a:cubicBezTo>
                    <a:pt x="667" y="760"/>
                    <a:pt x="651" y="769"/>
                    <a:pt x="640" y="782"/>
                  </a:cubicBezTo>
                  <a:cubicBezTo>
                    <a:pt x="640" y="782"/>
                    <a:pt x="640" y="782"/>
                    <a:pt x="640" y="782"/>
                  </a:cubicBezTo>
                  <a:cubicBezTo>
                    <a:pt x="640" y="782"/>
                    <a:pt x="640" y="782"/>
                    <a:pt x="640" y="782"/>
                  </a:cubicBezTo>
                  <a:cubicBezTo>
                    <a:pt x="633" y="790"/>
                    <a:pt x="629" y="799"/>
                    <a:pt x="627" y="809"/>
                  </a:cubicBezTo>
                  <a:cubicBezTo>
                    <a:pt x="632" y="809"/>
                    <a:pt x="632" y="809"/>
                    <a:pt x="632" y="809"/>
                  </a:cubicBezTo>
                  <a:cubicBezTo>
                    <a:pt x="632" y="809"/>
                    <a:pt x="633" y="810"/>
                    <a:pt x="634" y="811"/>
                  </a:cubicBezTo>
                  <a:cubicBezTo>
                    <a:pt x="634" y="809"/>
                    <a:pt x="634" y="807"/>
                    <a:pt x="635" y="805"/>
                  </a:cubicBezTo>
                  <a:cubicBezTo>
                    <a:pt x="636" y="798"/>
                    <a:pt x="640" y="791"/>
                    <a:pt x="645" y="786"/>
                  </a:cubicBezTo>
                  <a:cubicBezTo>
                    <a:pt x="645" y="785"/>
                    <a:pt x="645" y="784"/>
                    <a:pt x="646" y="783"/>
                  </a:cubicBezTo>
                  <a:cubicBezTo>
                    <a:pt x="646" y="783"/>
                    <a:pt x="646" y="783"/>
                    <a:pt x="647" y="783"/>
                  </a:cubicBezTo>
                  <a:cubicBezTo>
                    <a:pt x="649" y="781"/>
                    <a:pt x="652" y="779"/>
                    <a:pt x="654" y="777"/>
                  </a:cubicBezTo>
                  <a:cubicBezTo>
                    <a:pt x="652" y="778"/>
                    <a:pt x="650" y="778"/>
                    <a:pt x="647" y="777"/>
                  </a:cubicBezTo>
                  <a:cubicBezTo>
                    <a:pt x="647" y="773"/>
                    <a:pt x="653" y="774"/>
                    <a:pt x="655" y="776"/>
                  </a:cubicBezTo>
                  <a:cubicBezTo>
                    <a:pt x="664" y="770"/>
                    <a:pt x="675" y="765"/>
                    <a:pt x="685" y="762"/>
                  </a:cubicBezTo>
                  <a:cubicBezTo>
                    <a:pt x="712" y="753"/>
                    <a:pt x="742" y="754"/>
                    <a:pt x="771" y="756"/>
                  </a:cubicBezTo>
                  <a:cubicBezTo>
                    <a:pt x="806" y="759"/>
                    <a:pt x="840" y="764"/>
                    <a:pt x="875" y="768"/>
                  </a:cubicBezTo>
                  <a:cubicBezTo>
                    <a:pt x="883" y="769"/>
                    <a:pt x="890" y="770"/>
                    <a:pt x="897" y="770"/>
                  </a:cubicBezTo>
                  <a:cubicBezTo>
                    <a:pt x="898" y="771"/>
                    <a:pt x="899" y="771"/>
                    <a:pt x="900" y="771"/>
                  </a:cubicBezTo>
                  <a:cubicBezTo>
                    <a:pt x="900" y="771"/>
                    <a:pt x="900" y="771"/>
                    <a:pt x="900" y="771"/>
                  </a:cubicBezTo>
                  <a:cubicBezTo>
                    <a:pt x="909" y="771"/>
                    <a:pt x="909" y="771"/>
                    <a:pt x="909" y="771"/>
                  </a:cubicBezTo>
                  <a:cubicBezTo>
                    <a:pt x="909" y="771"/>
                    <a:pt x="909" y="771"/>
                    <a:pt x="909" y="772"/>
                  </a:cubicBezTo>
                  <a:cubicBezTo>
                    <a:pt x="922" y="773"/>
                    <a:pt x="934" y="774"/>
                    <a:pt x="947" y="774"/>
                  </a:cubicBezTo>
                  <a:cubicBezTo>
                    <a:pt x="947" y="774"/>
                    <a:pt x="947" y="773"/>
                    <a:pt x="947" y="773"/>
                  </a:cubicBezTo>
                  <a:cubicBezTo>
                    <a:pt x="947" y="773"/>
                    <a:pt x="947" y="773"/>
                    <a:pt x="947" y="773"/>
                  </a:cubicBezTo>
                  <a:cubicBezTo>
                    <a:pt x="948" y="772"/>
                    <a:pt x="948" y="772"/>
                    <a:pt x="948" y="771"/>
                  </a:cubicBezTo>
                  <a:cubicBezTo>
                    <a:pt x="951" y="771"/>
                    <a:pt x="952" y="773"/>
                    <a:pt x="953" y="774"/>
                  </a:cubicBezTo>
                  <a:cubicBezTo>
                    <a:pt x="954" y="774"/>
                    <a:pt x="955" y="774"/>
                    <a:pt x="956" y="774"/>
                  </a:cubicBezTo>
                  <a:cubicBezTo>
                    <a:pt x="956" y="774"/>
                    <a:pt x="957" y="775"/>
                    <a:pt x="957" y="775"/>
                  </a:cubicBezTo>
                  <a:cubicBezTo>
                    <a:pt x="958" y="775"/>
                    <a:pt x="959" y="775"/>
                    <a:pt x="960" y="775"/>
                  </a:cubicBezTo>
                  <a:cubicBezTo>
                    <a:pt x="959" y="775"/>
                    <a:pt x="959" y="774"/>
                    <a:pt x="958" y="773"/>
                  </a:cubicBezTo>
                  <a:cubicBezTo>
                    <a:pt x="957" y="773"/>
                    <a:pt x="956" y="772"/>
                    <a:pt x="956" y="770"/>
                  </a:cubicBezTo>
                  <a:cubicBezTo>
                    <a:pt x="960" y="770"/>
                    <a:pt x="960" y="770"/>
                    <a:pt x="960" y="770"/>
                  </a:cubicBezTo>
                  <a:cubicBezTo>
                    <a:pt x="960" y="770"/>
                    <a:pt x="960" y="770"/>
                    <a:pt x="960" y="770"/>
                  </a:cubicBezTo>
                  <a:cubicBezTo>
                    <a:pt x="961" y="772"/>
                    <a:pt x="962" y="774"/>
                    <a:pt x="961" y="775"/>
                  </a:cubicBezTo>
                  <a:cubicBezTo>
                    <a:pt x="962" y="775"/>
                    <a:pt x="964" y="775"/>
                    <a:pt x="965" y="775"/>
                  </a:cubicBezTo>
                  <a:cubicBezTo>
                    <a:pt x="964" y="774"/>
                    <a:pt x="963" y="772"/>
                    <a:pt x="963" y="770"/>
                  </a:cubicBezTo>
                  <a:cubicBezTo>
                    <a:pt x="975" y="770"/>
                    <a:pt x="975" y="770"/>
                    <a:pt x="975" y="770"/>
                  </a:cubicBezTo>
                  <a:cubicBezTo>
                    <a:pt x="976" y="773"/>
                    <a:pt x="976" y="774"/>
                    <a:pt x="977" y="776"/>
                  </a:cubicBezTo>
                  <a:cubicBezTo>
                    <a:pt x="983" y="776"/>
                    <a:pt x="989" y="776"/>
                    <a:pt x="996" y="775"/>
                  </a:cubicBezTo>
                  <a:cubicBezTo>
                    <a:pt x="995" y="774"/>
                    <a:pt x="994" y="771"/>
                    <a:pt x="993" y="770"/>
                  </a:cubicBezTo>
                  <a:cubicBezTo>
                    <a:pt x="1023" y="770"/>
                    <a:pt x="1023" y="770"/>
                    <a:pt x="1023" y="770"/>
                  </a:cubicBezTo>
                  <a:cubicBezTo>
                    <a:pt x="1023" y="771"/>
                    <a:pt x="1024" y="772"/>
                    <a:pt x="1024" y="774"/>
                  </a:cubicBezTo>
                  <a:cubicBezTo>
                    <a:pt x="1028" y="774"/>
                    <a:pt x="1032" y="773"/>
                    <a:pt x="1036" y="773"/>
                  </a:cubicBezTo>
                  <a:cubicBezTo>
                    <a:pt x="1036" y="771"/>
                    <a:pt x="1036" y="771"/>
                    <a:pt x="1036" y="770"/>
                  </a:cubicBezTo>
                  <a:cubicBezTo>
                    <a:pt x="1058" y="769"/>
                    <a:pt x="1058" y="769"/>
                    <a:pt x="1058" y="769"/>
                  </a:cubicBezTo>
                  <a:cubicBezTo>
                    <a:pt x="1058" y="769"/>
                    <a:pt x="1058" y="770"/>
                    <a:pt x="1058" y="770"/>
                  </a:cubicBezTo>
                  <a:cubicBezTo>
                    <a:pt x="1071" y="767"/>
                    <a:pt x="1083" y="765"/>
                    <a:pt x="1095" y="761"/>
                  </a:cubicBezTo>
                  <a:cubicBezTo>
                    <a:pt x="1100" y="760"/>
                    <a:pt x="1097" y="754"/>
                    <a:pt x="1093" y="755"/>
                  </a:cubicBezTo>
                  <a:cubicBezTo>
                    <a:pt x="1033" y="770"/>
                    <a:pt x="1033" y="770"/>
                    <a:pt x="1033" y="770"/>
                  </a:cubicBezTo>
                  <a:cubicBezTo>
                    <a:pt x="1030" y="770"/>
                    <a:pt x="1027" y="771"/>
                    <a:pt x="1025" y="770"/>
                  </a:cubicBezTo>
                  <a:cubicBezTo>
                    <a:pt x="719" y="848"/>
                    <a:pt x="718" y="848"/>
                    <a:pt x="718" y="849"/>
                  </a:cubicBezTo>
                  <a:cubicBezTo>
                    <a:pt x="718" y="849"/>
                    <a:pt x="717" y="849"/>
                    <a:pt x="716" y="849"/>
                  </a:cubicBezTo>
                  <a:cubicBezTo>
                    <a:pt x="717" y="850"/>
                    <a:pt x="718" y="851"/>
                    <a:pt x="719" y="851"/>
                  </a:cubicBezTo>
                  <a:cubicBezTo>
                    <a:pt x="719" y="851"/>
                    <a:pt x="720" y="851"/>
                    <a:pt x="721" y="851"/>
                  </a:cubicBezTo>
                  <a:cubicBezTo>
                    <a:pt x="720" y="851"/>
                    <a:pt x="720" y="851"/>
                    <a:pt x="720" y="850"/>
                  </a:cubicBezTo>
                  <a:cubicBezTo>
                    <a:pt x="720" y="850"/>
                    <a:pt x="721" y="849"/>
                    <a:pt x="721" y="849"/>
                  </a:cubicBezTo>
                  <a:cubicBezTo>
                    <a:pt x="720" y="848"/>
                    <a:pt x="720" y="848"/>
                    <a:pt x="719" y="847"/>
                  </a:cubicBezTo>
                  <a:cubicBezTo>
                    <a:pt x="713" y="782"/>
                    <a:pt x="709" y="784"/>
                    <a:pt x="705" y="786"/>
                  </a:cubicBezTo>
                  <a:cubicBezTo>
                    <a:pt x="705" y="786"/>
                    <a:pt x="705" y="786"/>
                    <a:pt x="705" y="787"/>
                  </a:cubicBezTo>
                  <a:cubicBezTo>
                    <a:pt x="705" y="787"/>
                    <a:pt x="705" y="787"/>
                    <a:pt x="705" y="787"/>
                  </a:cubicBezTo>
                  <a:cubicBezTo>
                    <a:pt x="706" y="787"/>
                    <a:pt x="707" y="788"/>
                    <a:pt x="710" y="788"/>
                  </a:cubicBezTo>
                  <a:cubicBezTo>
                    <a:pt x="709" y="787"/>
                    <a:pt x="708" y="786"/>
                    <a:pt x="708" y="785"/>
                  </a:cubicBezTo>
                  <a:cubicBezTo>
                    <a:pt x="710" y="784"/>
                    <a:pt x="711" y="783"/>
                    <a:pt x="714" y="784"/>
                  </a:cubicBezTo>
                  <a:cubicBezTo>
                    <a:pt x="714" y="787"/>
                    <a:pt x="713" y="788"/>
                    <a:pt x="711" y="788"/>
                  </a:cubicBezTo>
                  <a:cubicBezTo>
                    <a:pt x="712" y="789"/>
                    <a:pt x="712" y="789"/>
                    <a:pt x="712" y="790"/>
                  </a:cubicBezTo>
                  <a:cubicBezTo>
                    <a:pt x="713" y="790"/>
                    <a:pt x="714" y="789"/>
                    <a:pt x="715" y="789"/>
                  </a:cubicBezTo>
                  <a:cubicBezTo>
                    <a:pt x="715" y="788"/>
                    <a:pt x="716" y="788"/>
                    <a:pt x="716" y="787"/>
                  </a:cubicBezTo>
                  <a:cubicBezTo>
                    <a:pt x="717" y="787"/>
                    <a:pt x="718" y="787"/>
                    <a:pt x="718" y="787"/>
                  </a:cubicBezTo>
                  <a:cubicBezTo>
                    <a:pt x="716" y="786"/>
                    <a:pt x="715" y="783"/>
                    <a:pt x="716" y="780"/>
                  </a:cubicBezTo>
                  <a:cubicBezTo>
                    <a:pt x="1002" y="772"/>
                    <a:pt x="1004" y="773"/>
                    <a:pt x="1005" y="775"/>
                  </a:cubicBezTo>
                  <a:cubicBezTo>
                    <a:pt x="1007" y="775"/>
                    <a:pt x="1009" y="775"/>
                    <a:pt x="1011" y="775"/>
                  </a:cubicBezTo>
                  <a:cubicBezTo>
                    <a:pt x="1008" y="773"/>
                    <a:pt x="1006" y="771"/>
                    <a:pt x="1003" y="770"/>
                  </a:cubicBezTo>
                  <a:cubicBezTo>
                    <a:pt x="705" y="790"/>
                    <a:pt x="705" y="790"/>
                    <a:pt x="705" y="788"/>
                  </a:cubicBezTo>
                  <a:cubicBezTo>
                    <a:pt x="705" y="788"/>
                    <a:pt x="705" y="788"/>
                    <a:pt x="705" y="788"/>
                  </a:cubicBezTo>
                  <a:cubicBezTo>
                    <a:pt x="704" y="790"/>
                    <a:pt x="702" y="790"/>
                    <a:pt x="701" y="789"/>
                  </a:cubicBezTo>
                  <a:cubicBezTo>
                    <a:pt x="700" y="789"/>
                    <a:pt x="700" y="790"/>
                    <a:pt x="699" y="790"/>
                  </a:cubicBezTo>
                  <a:cubicBezTo>
                    <a:pt x="699" y="790"/>
                    <a:pt x="700" y="791"/>
                    <a:pt x="700" y="791"/>
                  </a:cubicBezTo>
                  <a:cubicBezTo>
                    <a:pt x="698" y="791"/>
                    <a:pt x="698" y="791"/>
                    <a:pt x="698" y="791"/>
                  </a:cubicBezTo>
                  <a:cubicBezTo>
                    <a:pt x="693" y="795"/>
                    <a:pt x="689" y="801"/>
                    <a:pt x="687" y="808"/>
                  </a:cubicBezTo>
                  <a:cubicBezTo>
                    <a:pt x="687" y="808"/>
                    <a:pt x="687" y="808"/>
                    <a:pt x="687" y="808"/>
                  </a:cubicBezTo>
                  <a:cubicBezTo>
                    <a:pt x="694" y="808"/>
                    <a:pt x="694" y="808"/>
                    <a:pt x="694" y="808"/>
                  </a:cubicBezTo>
                  <a:cubicBezTo>
                    <a:pt x="696" y="801"/>
                    <a:pt x="703" y="795"/>
                    <a:pt x="712" y="791"/>
                  </a:cubicBezTo>
                  <a:cubicBezTo>
                    <a:pt x="819" y="780"/>
                    <a:pt x="820" y="780"/>
                    <a:pt x="820" y="780"/>
                  </a:cubicBezTo>
                  <a:cubicBezTo>
                    <a:pt x="820" y="777"/>
                    <a:pt x="820" y="775"/>
                    <a:pt x="821" y="773"/>
                  </a:cubicBezTo>
                  <a:cubicBezTo>
                    <a:pt x="819" y="773"/>
                    <a:pt x="816" y="773"/>
                    <a:pt x="814" y="772"/>
                  </a:cubicBezTo>
                  <a:cubicBezTo>
                    <a:pt x="813" y="773"/>
                    <a:pt x="813" y="773"/>
                    <a:pt x="813" y="773"/>
                  </a:cubicBezTo>
                  <a:cubicBezTo>
                    <a:pt x="814" y="774"/>
                    <a:pt x="814" y="776"/>
                    <a:pt x="813" y="777"/>
                  </a:cubicBezTo>
                  <a:cubicBezTo>
                    <a:pt x="815" y="777"/>
                    <a:pt x="817" y="777"/>
                    <a:pt x="819" y="777"/>
                  </a:cubicBezTo>
                  <a:cubicBezTo>
                    <a:pt x="819" y="779"/>
                    <a:pt x="819" y="780"/>
                    <a:pt x="819" y="780"/>
                  </a:cubicBezTo>
                  <a:cubicBezTo>
                    <a:pt x="721" y="380"/>
                    <a:pt x="721" y="380"/>
                    <a:pt x="721" y="380"/>
                  </a:cubicBezTo>
                  <a:cubicBezTo>
                    <a:pt x="688" y="373"/>
                    <a:pt x="654" y="367"/>
                    <a:pt x="621" y="364"/>
                  </a:cubicBezTo>
                  <a:cubicBezTo>
                    <a:pt x="612" y="364"/>
                    <a:pt x="612" y="364"/>
                    <a:pt x="612" y="364"/>
                  </a:cubicBezTo>
                  <a:cubicBezTo>
                    <a:pt x="613" y="363"/>
                    <a:pt x="613" y="363"/>
                    <a:pt x="613" y="363"/>
                  </a:cubicBezTo>
                  <a:cubicBezTo>
                    <a:pt x="606" y="362"/>
                    <a:pt x="598" y="361"/>
                    <a:pt x="591" y="361"/>
                  </a:cubicBezTo>
                  <a:cubicBezTo>
                    <a:pt x="591" y="362"/>
                    <a:pt x="591" y="363"/>
                    <a:pt x="591" y="364"/>
                  </a:cubicBezTo>
                  <a:cubicBezTo>
                    <a:pt x="568" y="364"/>
                    <a:pt x="568" y="364"/>
                    <a:pt x="568" y="364"/>
                  </a:cubicBezTo>
                  <a:cubicBezTo>
                    <a:pt x="567" y="363"/>
                    <a:pt x="568" y="361"/>
                    <a:pt x="568" y="359"/>
                  </a:cubicBezTo>
                  <a:cubicBezTo>
                    <a:pt x="567" y="359"/>
                    <a:pt x="566" y="359"/>
                    <a:pt x="566" y="359"/>
                  </a:cubicBezTo>
                  <a:cubicBezTo>
                    <a:pt x="566" y="360"/>
                    <a:pt x="567" y="362"/>
                    <a:pt x="566" y="364"/>
                  </a:cubicBezTo>
                  <a:cubicBezTo>
                    <a:pt x="529" y="364"/>
                    <a:pt x="529" y="364"/>
                    <a:pt x="529" y="364"/>
                  </a:cubicBezTo>
                  <a:cubicBezTo>
                    <a:pt x="529" y="364"/>
                    <a:pt x="529" y="363"/>
                    <a:pt x="529" y="363"/>
                  </a:cubicBezTo>
                  <a:cubicBezTo>
                    <a:pt x="524" y="364"/>
                    <a:pt x="524" y="361"/>
                    <a:pt x="524" y="358"/>
                  </a:cubicBezTo>
                  <a:cubicBezTo>
                    <a:pt x="520" y="358"/>
                    <a:pt x="516" y="358"/>
                    <a:pt x="511" y="358"/>
                  </a:cubicBezTo>
                  <a:cubicBezTo>
                    <a:pt x="512" y="361"/>
                    <a:pt x="514" y="363"/>
                    <a:pt x="514" y="364"/>
                  </a:cubicBezTo>
                  <a:cubicBezTo>
                    <a:pt x="507" y="365"/>
                    <a:pt x="507" y="365"/>
                    <a:pt x="507" y="365"/>
                  </a:cubicBezTo>
                  <a:cubicBezTo>
                    <a:pt x="505" y="363"/>
                    <a:pt x="504" y="361"/>
                    <a:pt x="503" y="358"/>
                  </a:cubicBezTo>
                  <a:cubicBezTo>
                    <a:pt x="502" y="358"/>
                    <a:pt x="502" y="358"/>
                    <a:pt x="501" y="358"/>
                  </a:cubicBezTo>
                  <a:cubicBezTo>
                    <a:pt x="501" y="359"/>
                    <a:pt x="502" y="359"/>
                    <a:pt x="503" y="359"/>
                  </a:cubicBezTo>
                  <a:cubicBezTo>
                    <a:pt x="503" y="361"/>
                    <a:pt x="503" y="363"/>
                    <a:pt x="502" y="365"/>
                  </a:cubicBezTo>
                  <a:cubicBezTo>
                    <a:pt x="498" y="365"/>
                    <a:pt x="498" y="365"/>
                    <a:pt x="498" y="365"/>
                  </a:cubicBezTo>
                  <a:cubicBezTo>
                    <a:pt x="497" y="363"/>
                    <a:pt x="497" y="361"/>
                    <a:pt x="494" y="361"/>
                  </a:cubicBezTo>
                  <a:cubicBezTo>
                    <a:pt x="495" y="360"/>
                    <a:pt x="495" y="359"/>
                    <a:pt x="495" y="359"/>
                  </a:cubicBezTo>
                  <a:cubicBezTo>
                    <a:pt x="493" y="359"/>
                    <a:pt x="492" y="359"/>
                    <a:pt x="490" y="359"/>
                  </a:cubicBezTo>
                  <a:cubicBezTo>
                    <a:pt x="493" y="360"/>
                    <a:pt x="494" y="362"/>
                    <a:pt x="495" y="365"/>
                  </a:cubicBezTo>
                  <a:cubicBezTo>
                    <a:pt x="493" y="365"/>
                    <a:pt x="493" y="365"/>
                    <a:pt x="493" y="365"/>
                  </a:cubicBezTo>
                  <a:cubicBezTo>
                    <a:pt x="492" y="363"/>
                    <a:pt x="490" y="363"/>
                    <a:pt x="489" y="362"/>
                  </a:cubicBezTo>
                  <a:cubicBezTo>
                    <a:pt x="489" y="361"/>
                    <a:pt x="490" y="361"/>
                    <a:pt x="490" y="359"/>
                  </a:cubicBezTo>
                  <a:cubicBezTo>
                    <a:pt x="489" y="359"/>
                    <a:pt x="487" y="359"/>
                    <a:pt x="486" y="359"/>
                  </a:cubicBezTo>
                  <a:cubicBezTo>
                    <a:pt x="484" y="359"/>
                    <a:pt x="483" y="360"/>
                    <a:pt x="481" y="360"/>
                  </a:cubicBezTo>
                  <a:cubicBezTo>
                    <a:pt x="481" y="360"/>
                    <a:pt x="481" y="360"/>
                    <a:pt x="481" y="359"/>
                  </a:cubicBezTo>
                  <a:cubicBezTo>
                    <a:pt x="478" y="360"/>
                    <a:pt x="476" y="360"/>
                    <a:pt x="473" y="360"/>
                  </a:cubicBezTo>
                  <a:cubicBezTo>
                    <a:pt x="472" y="361"/>
                    <a:pt x="472" y="362"/>
                    <a:pt x="472" y="364"/>
                  </a:cubicBezTo>
                  <a:cubicBezTo>
                    <a:pt x="465" y="362"/>
                    <a:pt x="462" y="362"/>
                    <a:pt x="458" y="361"/>
                  </a:cubicBezTo>
                  <a:cubicBezTo>
                    <a:pt x="457" y="361"/>
                    <a:pt x="456" y="361"/>
                    <a:pt x="455" y="361"/>
                  </a:cubicBezTo>
                  <a:cubicBezTo>
                    <a:pt x="454" y="363"/>
                    <a:pt x="454" y="364"/>
                    <a:pt x="454" y="365"/>
                  </a:cubicBezTo>
                  <a:cubicBezTo>
                    <a:pt x="439" y="365"/>
                    <a:pt x="439" y="365"/>
                    <a:pt x="439" y="365"/>
                  </a:cubicBezTo>
                  <a:cubicBezTo>
                    <a:pt x="439" y="364"/>
                    <a:pt x="440" y="364"/>
                    <a:pt x="441" y="363"/>
                  </a:cubicBezTo>
                  <a:cubicBezTo>
                    <a:pt x="440" y="363"/>
                    <a:pt x="438" y="363"/>
                    <a:pt x="437" y="363"/>
                  </a:cubicBezTo>
                  <a:cubicBezTo>
                    <a:pt x="437" y="364"/>
                    <a:pt x="437" y="365"/>
                    <a:pt x="437" y="365"/>
                  </a:cubicBezTo>
                  <a:cubicBezTo>
                    <a:pt x="427" y="365"/>
                    <a:pt x="427" y="365"/>
                    <a:pt x="427" y="365"/>
                  </a:cubicBezTo>
                  <a:cubicBezTo>
                    <a:pt x="427" y="365"/>
                    <a:pt x="426" y="365"/>
                    <a:pt x="426" y="365"/>
                  </a:cubicBezTo>
                  <a:cubicBezTo>
                    <a:pt x="426" y="365"/>
                    <a:pt x="426" y="365"/>
                    <a:pt x="426" y="365"/>
                  </a:cubicBezTo>
                  <a:cubicBezTo>
                    <a:pt x="424" y="365"/>
                    <a:pt x="424" y="365"/>
                    <a:pt x="424" y="365"/>
                  </a:cubicBezTo>
                  <a:cubicBezTo>
                    <a:pt x="396" y="370"/>
                    <a:pt x="368" y="376"/>
                    <a:pt x="342" y="385"/>
                  </a:cubicBezTo>
                  <a:cubicBezTo>
                    <a:pt x="341" y="386"/>
                    <a:pt x="340" y="387"/>
                    <a:pt x="340" y="390"/>
                  </a:cubicBezTo>
                  <a:cubicBezTo>
                    <a:pt x="341" y="391"/>
                    <a:pt x="341" y="392"/>
                    <a:pt x="342" y="392"/>
                  </a:cubicBezTo>
                  <a:cubicBezTo>
                    <a:pt x="347" y="390"/>
                    <a:pt x="353" y="389"/>
                    <a:pt x="358" y="387"/>
                  </a:cubicBezTo>
                  <a:cubicBezTo>
                    <a:pt x="360" y="386"/>
                    <a:pt x="361" y="386"/>
                    <a:pt x="362" y="386"/>
                  </a:cubicBezTo>
                  <a:cubicBezTo>
                    <a:pt x="360" y="385"/>
                    <a:pt x="358" y="385"/>
                    <a:pt x="356" y="383"/>
                  </a:cubicBezTo>
                  <a:cubicBezTo>
                    <a:pt x="367" y="383"/>
                    <a:pt x="367" y="383"/>
                    <a:pt x="367" y="383"/>
                  </a:cubicBezTo>
                  <a:cubicBezTo>
                    <a:pt x="367" y="384"/>
                    <a:pt x="367" y="384"/>
                    <a:pt x="366" y="384"/>
                  </a:cubicBezTo>
                  <a:cubicBezTo>
                    <a:pt x="434" y="365"/>
                    <a:pt x="506" y="362"/>
                    <a:pt x="576" y="367"/>
                  </a:cubicBezTo>
                  <a:cubicBezTo>
                    <a:pt x="614" y="369"/>
                    <a:pt x="653" y="374"/>
                    <a:pt x="691" y="381"/>
                  </a:cubicBezTo>
                  <a:cubicBezTo>
                    <a:pt x="691" y="381"/>
                    <a:pt x="691" y="381"/>
                    <a:pt x="691" y="380"/>
                  </a:cubicBezTo>
                  <a:cubicBezTo>
                    <a:pt x="694" y="380"/>
                    <a:pt x="694" y="380"/>
                    <a:pt x="694" y="380"/>
                  </a:cubicBezTo>
                  <a:cubicBezTo>
                    <a:pt x="695" y="381"/>
                    <a:pt x="695" y="382"/>
                    <a:pt x="696" y="382"/>
                  </a:cubicBezTo>
                  <a:cubicBezTo>
                    <a:pt x="699" y="383"/>
                    <a:pt x="703" y="383"/>
                    <a:pt x="706" y="384"/>
                  </a:cubicBezTo>
                  <a:cubicBezTo>
                    <a:pt x="706" y="384"/>
                    <a:pt x="706" y="383"/>
                    <a:pt x="707" y="383"/>
                  </a:cubicBezTo>
                  <a:cubicBezTo>
                    <a:pt x="708" y="383"/>
                    <a:pt x="710" y="383"/>
                    <a:pt x="712" y="383"/>
                  </a:cubicBezTo>
                  <a:cubicBezTo>
                    <a:pt x="712" y="384"/>
                    <a:pt x="712" y="385"/>
                    <a:pt x="712" y="385"/>
                  </a:cubicBezTo>
                  <a:cubicBezTo>
                    <a:pt x="725" y="388"/>
                    <a:pt x="738" y="391"/>
                    <a:pt x="752" y="394"/>
                  </a:cubicBezTo>
                  <a:cubicBezTo>
                    <a:pt x="751" y="392"/>
                    <a:pt x="753" y="390"/>
                    <a:pt x="754" y="388"/>
                  </a:cubicBezTo>
                  <a:cubicBezTo>
                    <a:pt x="752" y="387"/>
                    <a:pt x="750" y="387"/>
                    <a:pt x="748" y="386"/>
                  </a:cubicBezTo>
                  <a:cubicBezTo>
                    <a:pt x="748" y="388"/>
                    <a:pt x="747" y="389"/>
                    <a:pt x="747" y="390"/>
                  </a:cubicBezTo>
                  <a:cubicBezTo>
                    <a:pt x="741" y="391"/>
                    <a:pt x="738" y="389"/>
                    <a:pt x="738" y="385"/>
                  </a:cubicBezTo>
                  <a:cubicBezTo>
                    <a:pt x="739" y="384"/>
                    <a:pt x="739" y="384"/>
                    <a:pt x="740" y="384"/>
                  </a:cubicBezTo>
                  <a:cubicBezTo>
                    <a:pt x="737" y="383"/>
                    <a:pt x="733" y="383"/>
                    <a:pt x="730" y="382"/>
                  </a:cubicBezTo>
                  <a:cubicBezTo>
                    <a:pt x="730" y="384"/>
                    <a:pt x="730" y="385"/>
                    <a:pt x="730" y="387"/>
                  </a:cubicBezTo>
                  <a:cubicBezTo>
                    <a:pt x="724" y="388"/>
                    <a:pt x="723" y="384"/>
                    <a:pt x="719" y="383"/>
                  </a:cubicBezTo>
                  <a:cubicBezTo>
                    <a:pt x="719" y="381"/>
                    <a:pt x="720" y="381"/>
                    <a:pt x="721" y="380"/>
                  </a:cubicBezTo>
                  <a:cubicBezTo>
                    <a:pt x="517" y="363"/>
                    <a:pt x="517" y="361"/>
                    <a:pt x="517" y="360"/>
                  </a:cubicBezTo>
                  <a:cubicBezTo>
                    <a:pt x="520" y="360"/>
                    <a:pt x="521" y="363"/>
                    <a:pt x="524" y="364"/>
                  </a:cubicBezTo>
                  <a:cubicBezTo>
                    <a:pt x="347" y="821"/>
                    <a:pt x="346" y="821"/>
                    <a:pt x="345" y="821"/>
                  </a:cubicBezTo>
                  <a:cubicBezTo>
                    <a:pt x="345" y="821"/>
                    <a:pt x="345" y="821"/>
                    <a:pt x="345" y="822"/>
                  </a:cubicBezTo>
                  <a:cubicBezTo>
                    <a:pt x="346" y="821"/>
                    <a:pt x="349" y="822"/>
                    <a:pt x="349" y="821"/>
                  </a:cubicBezTo>
                  <a:cubicBezTo>
                    <a:pt x="374" y="721"/>
                    <a:pt x="374" y="720"/>
                    <a:pt x="373" y="719"/>
                  </a:cubicBezTo>
                  <a:cubicBezTo>
                    <a:pt x="368" y="732"/>
                    <a:pt x="363" y="746"/>
                    <a:pt x="358" y="759"/>
                  </a:cubicBezTo>
                  <a:cubicBezTo>
                    <a:pt x="356" y="765"/>
                    <a:pt x="355" y="771"/>
                    <a:pt x="353" y="777"/>
                  </a:cubicBezTo>
                  <a:cubicBezTo>
                    <a:pt x="356" y="778"/>
                    <a:pt x="357" y="781"/>
                    <a:pt x="358" y="784"/>
                  </a:cubicBezTo>
                  <a:cubicBezTo>
                    <a:pt x="363" y="762"/>
                    <a:pt x="370" y="742"/>
                    <a:pt x="378" y="722"/>
                  </a:cubicBezTo>
                  <a:cubicBezTo>
                    <a:pt x="424" y="568"/>
                    <a:pt x="419" y="571"/>
                    <a:pt x="413" y="575"/>
                  </a:cubicBezTo>
                  <a:cubicBezTo>
                    <a:pt x="414" y="576"/>
                    <a:pt x="413" y="576"/>
                    <a:pt x="412" y="577"/>
                  </a:cubicBezTo>
                  <a:cubicBezTo>
                    <a:pt x="412" y="577"/>
                    <a:pt x="412" y="577"/>
                    <a:pt x="411" y="577"/>
                  </a:cubicBezTo>
                  <a:cubicBezTo>
                    <a:pt x="402" y="584"/>
                    <a:pt x="393" y="591"/>
                    <a:pt x="384" y="599"/>
                  </a:cubicBezTo>
                  <a:cubicBezTo>
                    <a:pt x="385" y="599"/>
                    <a:pt x="388" y="600"/>
                    <a:pt x="390" y="602"/>
                  </a:cubicBezTo>
                  <a:cubicBezTo>
                    <a:pt x="399" y="594"/>
                    <a:pt x="409" y="586"/>
                    <a:pt x="419" y="579"/>
                  </a:cubicBezTo>
                  <a:cubicBezTo>
                    <a:pt x="412" y="579"/>
                    <a:pt x="412" y="579"/>
                    <a:pt x="412" y="579"/>
                  </a:cubicBezTo>
                  <a:cubicBezTo>
                    <a:pt x="413" y="578"/>
                    <a:pt x="414" y="577"/>
                    <a:pt x="414" y="576"/>
                  </a:cubicBezTo>
                  <a:cubicBezTo>
                    <a:pt x="418" y="576"/>
                    <a:pt x="420" y="577"/>
                    <a:pt x="421" y="578"/>
                  </a:cubicBezTo>
                  <a:cubicBezTo>
                    <a:pt x="422" y="577"/>
                    <a:pt x="424" y="576"/>
                    <a:pt x="425" y="575"/>
                  </a:cubicBezTo>
                  <a:cubicBezTo>
                    <a:pt x="425" y="575"/>
                    <a:pt x="425" y="575"/>
                    <a:pt x="425" y="575"/>
                  </a:cubicBezTo>
                  <a:cubicBezTo>
                    <a:pt x="426" y="573"/>
                    <a:pt x="428" y="573"/>
                    <a:pt x="429" y="572"/>
                  </a:cubicBezTo>
                  <a:cubicBezTo>
                    <a:pt x="432" y="570"/>
                    <a:pt x="435" y="568"/>
                    <a:pt x="439" y="566"/>
                  </a:cubicBezTo>
                  <a:cubicBezTo>
                    <a:pt x="438" y="566"/>
                    <a:pt x="438" y="566"/>
                    <a:pt x="438" y="566"/>
                  </a:cubicBezTo>
                  <a:cubicBezTo>
                    <a:pt x="434" y="566"/>
                    <a:pt x="433" y="573"/>
                    <a:pt x="428" y="570"/>
                  </a:cubicBezTo>
                  <a:cubicBezTo>
                    <a:pt x="430" y="569"/>
                    <a:pt x="429" y="567"/>
                    <a:pt x="429" y="565"/>
                  </a:cubicBezTo>
                  <a:cubicBezTo>
                    <a:pt x="472" y="581"/>
                    <a:pt x="467" y="583"/>
                    <a:pt x="463" y="585"/>
                  </a:cubicBezTo>
                  <a:cubicBezTo>
                    <a:pt x="447" y="593"/>
                    <a:pt x="433" y="603"/>
                    <a:pt x="420" y="614"/>
                  </a:cubicBezTo>
                  <a:cubicBezTo>
                    <a:pt x="420" y="614"/>
                    <a:pt x="420" y="614"/>
                    <a:pt x="420" y="614"/>
                  </a:cubicBezTo>
                  <a:cubicBezTo>
                    <a:pt x="420" y="614"/>
                    <a:pt x="420" y="614"/>
                    <a:pt x="420" y="614"/>
                  </a:cubicBezTo>
                  <a:cubicBezTo>
                    <a:pt x="402" y="631"/>
                    <a:pt x="387" y="650"/>
                    <a:pt x="374" y="671"/>
                  </a:cubicBezTo>
                  <a:cubicBezTo>
                    <a:pt x="374" y="672"/>
                    <a:pt x="374" y="672"/>
                    <a:pt x="374" y="673"/>
                  </a:cubicBezTo>
                  <a:cubicBezTo>
                    <a:pt x="374" y="673"/>
                    <a:pt x="374" y="673"/>
                    <a:pt x="373" y="673"/>
                  </a:cubicBezTo>
                  <a:cubicBezTo>
                    <a:pt x="373" y="674"/>
                    <a:pt x="372" y="675"/>
                    <a:pt x="372" y="676"/>
                  </a:cubicBezTo>
                  <a:cubicBezTo>
                    <a:pt x="372" y="675"/>
                    <a:pt x="373" y="675"/>
                    <a:pt x="373" y="674"/>
                  </a:cubicBezTo>
                  <a:cubicBezTo>
                    <a:pt x="374" y="676"/>
                    <a:pt x="376" y="678"/>
                    <a:pt x="375" y="682"/>
                  </a:cubicBezTo>
                  <a:cubicBezTo>
                    <a:pt x="375" y="682"/>
                    <a:pt x="375" y="682"/>
                    <a:pt x="375" y="682"/>
                  </a:cubicBezTo>
                  <a:cubicBezTo>
                    <a:pt x="376" y="681"/>
                    <a:pt x="376" y="681"/>
                    <a:pt x="377" y="680"/>
                  </a:cubicBezTo>
                  <a:cubicBezTo>
                    <a:pt x="376" y="679"/>
                    <a:pt x="376" y="677"/>
                    <a:pt x="377" y="676"/>
                  </a:cubicBezTo>
                  <a:cubicBezTo>
                    <a:pt x="378" y="676"/>
                    <a:pt x="378" y="676"/>
                    <a:pt x="379" y="676"/>
                  </a:cubicBezTo>
                  <a:cubicBezTo>
                    <a:pt x="393" y="653"/>
                    <a:pt x="411" y="631"/>
                    <a:pt x="432" y="613"/>
                  </a:cubicBezTo>
                  <a:cubicBezTo>
                    <a:pt x="435" y="610"/>
                    <a:pt x="439" y="608"/>
                    <a:pt x="442" y="605"/>
                  </a:cubicBezTo>
                  <a:cubicBezTo>
                    <a:pt x="442" y="605"/>
                    <a:pt x="441" y="604"/>
                    <a:pt x="441" y="603"/>
                  </a:cubicBezTo>
                  <a:cubicBezTo>
                    <a:pt x="442" y="602"/>
                    <a:pt x="444" y="601"/>
                    <a:pt x="447" y="601"/>
                  </a:cubicBezTo>
                  <a:cubicBezTo>
                    <a:pt x="448" y="601"/>
                    <a:pt x="449" y="600"/>
                    <a:pt x="450" y="600"/>
                  </a:cubicBezTo>
                  <a:cubicBezTo>
                    <a:pt x="451" y="598"/>
                    <a:pt x="450" y="597"/>
                    <a:pt x="450" y="596"/>
                  </a:cubicBezTo>
                  <a:cubicBezTo>
                    <a:pt x="456" y="596"/>
                    <a:pt x="456" y="596"/>
                    <a:pt x="456" y="596"/>
                  </a:cubicBezTo>
                  <a:cubicBezTo>
                    <a:pt x="468" y="589"/>
                    <a:pt x="481" y="583"/>
                    <a:pt x="495" y="579"/>
                  </a:cubicBezTo>
                  <a:cubicBezTo>
                    <a:pt x="489" y="579"/>
                    <a:pt x="489" y="579"/>
                    <a:pt x="489" y="579"/>
                  </a:cubicBezTo>
                  <a:cubicBezTo>
                    <a:pt x="488" y="577"/>
                    <a:pt x="488" y="576"/>
                    <a:pt x="489" y="574"/>
                  </a:cubicBezTo>
                  <a:cubicBezTo>
                    <a:pt x="487" y="575"/>
                    <a:pt x="485" y="575"/>
                    <a:pt x="483" y="576"/>
                  </a:cubicBezTo>
                  <a:cubicBezTo>
                    <a:pt x="484" y="576"/>
                    <a:pt x="484" y="576"/>
                    <a:pt x="484" y="576"/>
                  </a:cubicBezTo>
                  <a:cubicBezTo>
                    <a:pt x="484" y="577"/>
                    <a:pt x="484" y="578"/>
                    <a:pt x="484" y="579"/>
                  </a:cubicBezTo>
                  <a:cubicBezTo>
                    <a:pt x="395" y="652"/>
                    <a:pt x="390" y="648"/>
                    <a:pt x="393" y="645"/>
                  </a:cubicBezTo>
                  <a:cubicBezTo>
                    <a:pt x="395" y="645"/>
                    <a:pt x="396" y="645"/>
                    <a:pt x="397" y="645"/>
                  </a:cubicBezTo>
                  <a:cubicBezTo>
                    <a:pt x="397" y="646"/>
                    <a:pt x="397" y="648"/>
                    <a:pt x="397" y="649"/>
                  </a:cubicBezTo>
                  <a:cubicBezTo>
                    <a:pt x="444" y="1051"/>
                    <a:pt x="428" y="1032"/>
                    <a:pt x="414" y="1009"/>
                  </a:cubicBezTo>
                  <a:cubicBezTo>
                    <a:pt x="413" y="1008"/>
                    <a:pt x="412" y="1007"/>
                    <a:pt x="412" y="1007"/>
                  </a:cubicBezTo>
                  <a:cubicBezTo>
                    <a:pt x="412" y="1007"/>
                    <a:pt x="412" y="1007"/>
                    <a:pt x="411" y="1007"/>
                  </a:cubicBezTo>
                  <a:cubicBezTo>
                    <a:pt x="407" y="1007"/>
                    <a:pt x="407" y="1007"/>
                    <a:pt x="407" y="1007"/>
                  </a:cubicBezTo>
                  <a:cubicBezTo>
                    <a:pt x="407" y="1006"/>
                    <a:pt x="407" y="1006"/>
                    <a:pt x="406" y="1005"/>
                  </a:cubicBezTo>
                  <a:cubicBezTo>
                    <a:pt x="405" y="1004"/>
                    <a:pt x="404" y="1004"/>
                    <a:pt x="402" y="1004"/>
                  </a:cubicBezTo>
                  <a:cubicBezTo>
                    <a:pt x="406" y="1011"/>
                    <a:pt x="411" y="1018"/>
                    <a:pt x="415" y="1024"/>
                  </a:cubicBezTo>
                  <a:cubicBezTo>
                    <a:pt x="420" y="1024"/>
                    <a:pt x="420" y="1024"/>
                    <a:pt x="420" y="1024"/>
                  </a:cubicBezTo>
                  <a:cubicBezTo>
                    <a:pt x="421" y="1025"/>
                    <a:pt x="421" y="1025"/>
                    <a:pt x="421" y="1025"/>
                  </a:cubicBezTo>
                  <a:cubicBezTo>
                    <a:pt x="420" y="1027"/>
                    <a:pt x="420" y="1028"/>
                    <a:pt x="419" y="1030"/>
                  </a:cubicBezTo>
                  <a:cubicBezTo>
                    <a:pt x="421" y="1032"/>
                    <a:pt x="423" y="1035"/>
                    <a:pt x="424" y="1037"/>
                  </a:cubicBezTo>
                  <a:cubicBezTo>
                    <a:pt x="427" y="1037"/>
                    <a:pt x="427" y="1039"/>
                    <a:pt x="427" y="1041"/>
                  </a:cubicBezTo>
                  <a:cubicBezTo>
                    <a:pt x="432" y="1047"/>
                    <a:pt x="436" y="1052"/>
                    <a:pt x="441" y="1058"/>
                  </a:cubicBezTo>
                  <a:cubicBezTo>
                    <a:pt x="447" y="1064"/>
                    <a:pt x="453" y="1071"/>
                    <a:pt x="459" y="1077"/>
                  </a:cubicBezTo>
                  <a:cubicBezTo>
                    <a:pt x="461" y="1075"/>
                    <a:pt x="462" y="1072"/>
                    <a:pt x="462" y="1069"/>
                  </a:cubicBezTo>
                  <a:cubicBezTo>
                    <a:pt x="537" y="1105"/>
                    <a:pt x="538" y="1105"/>
                    <a:pt x="538" y="1105"/>
                  </a:cubicBezTo>
                  <a:cubicBezTo>
                    <a:pt x="538" y="1102"/>
                    <a:pt x="537" y="1099"/>
                    <a:pt x="532" y="1098"/>
                  </a:cubicBezTo>
                  <a:cubicBezTo>
                    <a:pt x="532" y="1098"/>
                    <a:pt x="531" y="1099"/>
                    <a:pt x="531" y="1100"/>
                  </a:cubicBezTo>
                  <a:cubicBezTo>
                    <a:pt x="533" y="1101"/>
                    <a:pt x="534" y="1103"/>
                    <a:pt x="536" y="1104"/>
                  </a:cubicBezTo>
                  <a:cubicBezTo>
                    <a:pt x="536" y="1105"/>
                    <a:pt x="536" y="1105"/>
                    <a:pt x="537" y="1105"/>
                  </a:cubicBezTo>
                  <a:cubicBezTo>
                    <a:pt x="537" y="1105"/>
                    <a:pt x="537" y="1105"/>
                    <a:pt x="536" y="1105"/>
                  </a:cubicBezTo>
                  <a:cubicBezTo>
                    <a:pt x="537" y="1105"/>
                    <a:pt x="537" y="1105"/>
                    <a:pt x="537" y="1106"/>
                  </a:cubicBezTo>
                  <a:cubicBezTo>
                    <a:pt x="665" y="850"/>
                    <a:pt x="684" y="867"/>
                    <a:pt x="707" y="879"/>
                  </a:cubicBezTo>
                  <a:cubicBezTo>
                    <a:pt x="709" y="879"/>
                    <a:pt x="709" y="879"/>
                    <a:pt x="709" y="879"/>
                  </a:cubicBezTo>
                  <a:cubicBezTo>
                    <a:pt x="709" y="880"/>
                    <a:pt x="709" y="880"/>
                    <a:pt x="709" y="880"/>
                  </a:cubicBezTo>
                  <a:cubicBezTo>
                    <a:pt x="713" y="882"/>
                    <a:pt x="717" y="884"/>
                    <a:pt x="721" y="886"/>
                  </a:cubicBezTo>
                  <a:cubicBezTo>
                    <a:pt x="723" y="885"/>
                    <a:pt x="725" y="886"/>
                    <a:pt x="727" y="888"/>
                  </a:cubicBezTo>
                  <a:cubicBezTo>
                    <a:pt x="727" y="888"/>
                    <a:pt x="727" y="888"/>
                    <a:pt x="727" y="889"/>
                  </a:cubicBezTo>
                  <a:cubicBezTo>
                    <a:pt x="729" y="889"/>
                    <a:pt x="731" y="890"/>
                    <a:pt x="733" y="890"/>
                  </a:cubicBezTo>
                  <a:cubicBezTo>
                    <a:pt x="734" y="890"/>
                    <a:pt x="735" y="889"/>
                    <a:pt x="736" y="889"/>
                  </a:cubicBezTo>
                  <a:cubicBezTo>
                    <a:pt x="736" y="888"/>
                    <a:pt x="736" y="887"/>
                    <a:pt x="738" y="887"/>
                  </a:cubicBezTo>
                  <a:cubicBezTo>
                    <a:pt x="742" y="891"/>
                    <a:pt x="742" y="896"/>
                    <a:pt x="752" y="895"/>
                  </a:cubicBezTo>
                  <a:cubicBezTo>
                    <a:pt x="752" y="895"/>
                    <a:pt x="752" y="896"/>
                    <a:pt x="752" y="897"/>
                  </a:cubicBezTo>
                  <a:cubicBezTo>
                    <a:pt x="760" y="899"/>
                    <a:pt x="767" y="900"/>
                    <a:pt x="773" y="901"/>
                  </a:cubicBezTo>
                  <a:cubicBezTo>
                    <a:pt x="819" y="910"/>
                    <a:pt x="867" y="905"/>
                    <a:pt x="913" y="894"/>
                  </a:cubicBezTo>
                  <a:cubicBezTo>
                    <a:pt x="913" y="893"/>
                    <a:pt x="913" y="892"/>
                    <a:pt x="913" y="892"/>
                  </a:cubicBezTo>
                  <a:cubicBezTo>
                    <a:pt x="912" y="892"/>
                    <a:pt x="911" y="893"/>
                    <a:pt x="911" y="893"/>
                  </a:cubicBezTo>
                  <a:cubicBezTo>
                    <a:pt x="910" y="893"/>
                    <a:pt x="910" y="894"/>
                    <a:pt x="910" y="895"/>
                  </a:cubicBezTo>
                  <a:cubicBezTo>
                    <a:pt x="907" y="894"/>
                    <a:pt x="906" y="895"/>
                    <a:pt x="903" y="895"/>
                  </a:cubicBezTo>
                  <a:cubicBezTo>
                    <a:pt x="903" y="895"/>
                    <a:pt x="903" y="894"/>
                    <a:pt x="903" y="894"/>
                  </a:cubicBezTo>
                  <a:cubicBezTo>
                    <a:pt x="902" y="895"/>
                    <a:pt x="901" y="895"/>
                    <a:pt x="900" y="896"/>
                  </a:cubicBezTo>
                  <a:cubicBezTo>
                    <a:pt x="881" y="896"/>
                    <a:pt x="881" y="896"/>
                    <a:pt x="881" y="896"/>
                  </a:cubicBezTo>
                  <a:cubicBezTo>
                    <a:pt x="882" y="895"/>
                    <a:pt x="882" y="894"/>
                    <a:pt x="882" y="894"/>
                  </a:cubicBezTo>
                  <a:cubicBezTo>
                    <a:pt x="880" y="894"/>
                    <a:pt x="877" y="894"/>
                    <a:pt x="875" y="895"/>
                  </a:cubicBezTo>
                  <a:cubicBezTo>
                    <a:pt x="874" y="895"/>
                    <a:pt x="874" y="895"/>
                    <a:pt x="874" y="896"/>
                  </a:cubicBezTo>
                  <a:cubicBezTo>
                    <a:pt x="874" y="896"/>
                    <a:pt x="874" y="896"/>
                    <a:pt x="874" y="896"/>
                  </a:cubicBezTo>
                  <a:cubicBezTo>
                    <a:pt x="867" y="896"/>
                    <a:pt x="867" y="896"/>
                    <a:pt x="867" y="896"/>
                  </a:cubicBezTo>
                  <a:cubicBezTo>
                    <a:pt x="867" y="896"/>
                    <a:pt x="866" y="896"/>
                    <a:pt x="866" y="896"/>
                  </a:cubicBezTo>
                  <a:cubicBezTo>
                    <a:pt x="835" y="900"/>
                    <a:pt x="803" y="900"/>
                    <a:pt x="773" y="894"/>
                  </a:cubicBezTo>
                  <a:cubicBezTo>
                    <a:pt x="773" y="895"/>
                    <a:pt x="773" y="895"/>
                    <a:pt x="773" y="896"/>
                  </a:cubicBezTo>
                  <a:cubicBezTo>
                    <a:pt x="774" y="896"/>
                    <a:pt x="775" y="896"/>
                    <a:pt x="775" y="897"/>
                  </a:cubicBezTo>
                  <a:cubicBezTo>
                    <a:pt x="766" y="897"/>
                    <a:pt x="766" y="897"/>
                    <a:pt x="766" y="897"/>
                  </a:cubicBezTo>
                  <a:cubicBezTo>
                    <a:pt x="766" y="896"/>
                    <a:pt x="766" y="894"/>
                    <a:pt x="766" y="893"/>
                  </a:cubicBezTo>
                  <a:cubicBezTo>
                    <a:pt x="765" y="893"/>
                    <a:pt x="763" y="892"/>
                    <a:pt x="761" y="892"/>
                  </a:cubicBezTo>
                  <a:cubicBezTo>
                    <a:pt x="762" y="893"/>
                    <a:pt x="763" y="895"/>
                    <a:pt x="763" y="897"/>
                  </a:cubicBezTo>
                  <a:cubicBezTo>
                    <a:pt x="760" y="897"/>
                    <a:pt x="760" y="897"/>
                    <a:pt x="760" y="897"/>
                  </a:cubicBezTo>
                  <a:cubicBezTo>
                    <a:pt x="758" y="895"/>
                    <a:pt x="755" y="893"/>
                    <a:pt x="754" y="890"/>
                  </a:cubicBezTo>
                  <a:cubicBezTo>
                    <a:pt x="753" y="890"/>
                    <a:pt x="752" y="890"/>
                    <a:pt x="751" y="889"/>
                  </a:cubicBezTo>
                  <a:cubicBezTo>
                    <a:pt x="750" y="890"/>
                    <a:pt x="747" y="889"/>
                    <a:pt x="745" y="889"/>
                  </a:cubicBezTo>
                  <a:cubicBezTo>
                    <a:pt x="745" y="889"/>
                    <a:pt x="745" y="888"/>
                    <a:pt x="745" y="888"/>
                  </a:cubicBezTo>
                  <a:cubicBezTo>
                    <a:pt x="744" y="887"/>
                    <a:pt x="743" y="887"/>
                    <a:pt x="741" y="886"/>
                  </a:cubicBezTo>
                  <a:cubicBezTo>
                    <a:pt x="741" y="886"/>
                    <a:pt x="740" y="886"/>
                    <a:pt x="739" y="886"/>
                  </a:cubicBezTo>
                  <a:cubicBezTo>
                    <a:pt x="737" y="886"/>
                    <a:pt x="730" y="887"/>
                    <a:pt x="730" y="886"/>
                  </a:cubicBezTo>
                  <a:cubicBezTo>
                    <a:pt x="731" y="885"/>
                    <a:pt x="729" y="883"/>
                    <a:pt x="728" y="881"/>
                  </a:cubicBezTo>
                  <a:cubicBezTo>
                    <a:pt x="716" y="876"/>
                    <a:pt x="702" y="868"/>
                    <a:pt x="690" y="858"/>
                  </a:cubicBezTo>
                  <a:cubicBezTo>
                    <a:pt x="689" y="858"/>
                    <a:pt x="688" y="858"/>
                    <a:pt x="686" y="857"/>
                  </a:cubicBezTo>
                  <a:cubicBezTo>
                    <a:pt x="687" y="857"/>
                    <a:pt x="687" y="856"/>
                    <a:pt x="687" y="855"/>
                  </a:cubicBezTo>
                  <a:cubicBezTo>
                    <a:pt x="685" y="854"/>
                    <a:pt x="683" y="852"/>
                    <a:pt x="682" y="851"/>
                  </a:cubicBezTo>
                  <a:cubicBezTo>
                    <a:pt x="682" y="852"/>
                    <a:pt x="681" y="853"/>
                    <a:pt x="681" y="854"/>
                  </a:cubicBezTo>
                  <a:cubicBezTo>
                    <a:pt x="674" y="856"/>
                    <a:pt x="670" y="850"/>
                    <a:pt x="672" y="845"/>
                  </a:cubicBezTo>
                  <a:cubicBezTo>
                    <a:pt x="673" y="844"/>
                    <a:pt x="674" y="844"/>
                    <a:pt x="675" y="844"/>
                  </a:cubicBezTo>
                  <a:cubicBezTo>
                    <a:pt x="667" y="834"/>
                    <a:pt x="662" y="823"/>
                    <a:pt x="664" y="812"/>
                  </a:cubicBezTo>
                  <a:cubicBezTo>
                    <a:pt x="664" y="812"/>
                    <a:pt x="663" y="812"/>
                    <a:pt x="663" y="812"/>
                  </a:cubicBezTo>
                  <a:cubicBezTo>
                    <a:pt x="663" y="814"/>
                    <a:pt x="661" y="815"/>
                    <a:pt x="658" y="815"/>
                  </a:cubicBezTo>
                  <a:cubicBezTo>
                    <a:pt x="658" y="819"/>
                    <a:pt x="658" y="823"/>
                    <a:pt x="659" y="827"/>
                  </a:cubicBezTo>
                  <a:cubicBezTo>
                    <a:pt x="497" y="505"/>
                    <a:pt x="495" y="507"/>
                    <a:pt x="492" y="507"/>
                  </a:cubicBezTo>
                  <a:cubicBezTo>
                    <a:pt x="489" y="507"/>
                    <a:pt x="489" y="507"/>
                    <a:pt x="489" y="507"/>
                  </a:cubicBezTo>
                  <a:cubicBezTo>
                    <a:pt x="488" y="507"/>
                    <a:pt x="487" y="507"/>
                    <a:pt x="486" y="506"/>
                  </a:cubicBezTo>
                  <a:cubicBezTo>
                    <a:pt x="485" y="507"/>
                    <a:pt x="484" y="507"/>
                    <a:pt x="483" y="507"/>
                  </a:cubicBezTo>
                  <a:cubicBezTo>
                    <a:pt x="483" y="507"/>
                    <a:pt x="483" y="507"/>
                    <a:pt x="483" y="507"/>
                  </a:cubicBezTo>
                  <a:cubicBezTo>
                    <a:pt x="482" y="507"/>
                    <a:pt x="482" y="507"/>
                    <a:pt x="482" y="507"/>
                  </a:cubicBezTo>
                  <a:cubicBezTo>
                    <a:pt x="461" y="514"/>
                    <a:pt x="440" y="522"/>
                    <a:pt x="420" y="532"/>
                  </a:cubicBezTo>
                  <a:cubicBezTo>
                    <a:pt x="421" y="532"/>
                    <a:pt x="421" y="531"/>
                    <a:pt x="423" y="532"/>
                  </a:cubicBezTo>
                  <a:cubicBezTo>
                    <a:pt x="423" y="533"/>
                    <a:pt x="422" y="535"/>
                    <a:pt x="422" y="536"/>
                  </a:cubicBezTo>
                  <a:cubicBezTo>
                    <a:pt x="419" y="536"/>
                    <a:pt x="418" y="535"/>
                    <a:pt x="419" y="532"/>
                  </a:cubicBezTo>
                  <a:cubicBezTo>
                    <a:pt x="387" y="549"/>
                    <a:pt x="357" y="570"/>
                    <a:pt x="333" y="597"/>
                  </a:cubicBezTo>
                  <a:cubicBezTo>
                    <a:pt x="342" y="597"/>
                    <a:pt x="342" y="597"/>
                    <a:pt x="342" y="597"/>
                  </a:cubicBezTo>
                  <a:cubicBezTo>
                    <a:pt x="349" y="590"/>
                    <a:pt x="356" y="584"/>
                    <a:pt x="364" y="577"/>
                  </a:cubicBezTo>
                  <a:cubicBezTo>
                    <a:pt x="363" y="576"/>
                    <a:pt x="364" y="575"/>
                    <a:pt x="364" y="574"/>
                  </a:cubicBezTo>
                  <a:cubicBezTo>
                    <a:pt x="366" y="574"/>
                    <a:pt x="366" y="574"/>
                    <a:pt x="367" y="575"/>
                  </a:cubicBezTo>
                  <a:cubicBezTo>
                    <a:pt x="389" y="556"/>
                    <a:pt x="414" y="541"/>
                    <a:pt x="440" y="530"/>
                  </a:cubicBezTo>
                  <a:cubicBezTo>
                    <a:pt x="438" y="529"/>
                    <a:pt x="437" y="527"/>
                    <a:pt x="438" y="525"/>
                  </a:cubicBezTo>
                  <a:cubicBezTo>
                    <a:pt x="445" y="525"/>
                    <a:pt x="445" y="525"/>
                    <a:pt x="445" y="525"/>
                  </a:cubicBezTo>
                  <a:cubicBezTo>
                    <a:pt x="445" y="525"/>
                    <a:pt x="445" y="525"/>
                    <a:pt x="445" y="525"/>
                  </a:cubicBezTo>
                  <a:cubicBezTo>
                    <a:pt x="445" y="526"/>
                    <a:pt x="445" y="527"/>
                    <a:pt x="445" y="528"/>
                  </a:cubicBezTo>
                  <a:cubicBezTo>
                    <a:pt x="477" y="514"/>
                    <a:pt x="511" y="506"/>
                    <a:pt x="546" y="501"/>
                  </a:cubicBezTo>
                  <a:cubicBezTo>
                    <a:pt x="548" y="500"/>
                    <a:pt x="550" y="499"/>
                    <a:pt x="553" y="500"/>
                  </a:cubicBezTo>
                  <a:cubicBezTo>
                    <a:pt x="553" y="500"/>
                    <a:pt x="553" y="500"/>
                    <a:pt x="553" y="500"/>
                  </a:cubicBezTo>
                  <a:cubicBezTo>
                    <a:pt x="558" y="500"/>
                    <a:pt x="563" y="499"/>
                    <a:pt x="567" y="499"/>
                  </a:cubicBezTo>
                  <a:cubicBezTo>
                    <a:pt x="568" y="497"/>
                    <a:pt x="570" y="495"/>
                    <a:pt x="572" y="497"/>
                  </a:cubicBezTo>
                  <a:cubicBezTo>
                    <a:pt x="573" y="498"/>
                    <a:pt x="572" y="498"/>
                    <a:pt x="572" y="499"/>
                  </a:cubicBezTo>
                  <a:cubicBezTo>
                    <a:pt x="575" y="498"/>
                    <a:pt x="577" y="498"/>
                    <a:pt x="580" y="498"/>
                  </a:cubicBezTo>
                  <a:cubicBezTo>
                    <a:pt x="580" y="498"/>
                    <a:pt x="580" y="497"/>
                    <a:pt x="581" y="496"/>
                  </a:cubicBezTo>
                  <a:cubicBezTo>
                    <a:pt x="584" y="496"/>
                    <a:pt x="584" y="498"/>
                    <a:pt x="586" y="497"/>
                  </a:cubicBezTo>
                  <a:cubicBezTo>
                    <a:pt x="586" y="498"/>
                    <a:pt x="586" y="498"/>
                    <a:pt x="586" y="498"/>
                  </a:cubicBezTo>
                  <a:cubicBezTo>
                    <a:pt x="587" y="498"/>
                    <a:pt x="588" y="498"/>
                    <a:pt x="590" y="498"/>
                  </a:cubicBezTo>
                  <a:cubicBezTo>
                    <a:pt x="589" y="498"/>
                    <a:pt x="589" y="498"/>
                    <a:pt x="589" y="497"/>
                  </a:cubicBezTo>
                  <a:cubicBezTo>
                    <a:pt x="591" y="497"/>
                    <a:pt x="593" y="497"/>
                    <a:pt x="594" y="496"/>
                  </a:cubicBezTo>
                  <a:cubicBezTo>
                    <a:pt x="593" y="494"/>
                    <a:pt x="593" y="491"/>
                    <a:pt x="591" y="490"/>
                  </a:cubicBezTo>
                  <a:cubicBezTo>
                    <a:pt x="590" y="490"/>
                    <a:pt x="589" y="490"/>
                    <a:pt x="588" y="490"/>
                  </a:cubicBezTo>
                  <a:cubicBezTo>
                    <a:pt x="588" y="493"/>
                    <a:pt x="588" y="495"/>
                    <a:pt x="586" y="496"/>
                  </a:cubicBezTo>
                  <a:cubicBezTo>
                    <a:pt x="583" y="495"/>
                    <a:pt x="582" y="493"/>
                    <a:pt x="581" y="491"/>
                  </a:cubicBezTo>
                  <a:cubicBezTo>
                    <a:pt x="576" y="491"/>
                    <a:pt x="572" y="491"/>
                    <a:pt x="567" y="492"/>
                  </a:cubicBezTo>
                  <a:cubicBezTo>
                    <a:pt x="568" y="492"/>
                    <a:pt x="568" y="492"/>
                    <a:pt x="568" y="493"/>
                  </a:cubicBezTo>
                  <a:cubicBezTo>
                    <a:pt x="564" y="494"/>
                    <a:pt x="562" y="493"/>
                    <a:pt x="559" y="492"/>
                  </a:cubicBezTo>
                  <a:cubicBezTo>
                    <a:pt x="559" y="493"/>
                    <a:pt x="558" y="493"/>
                    <a:pt x="558" y="493"/>
                  </a:cubicBezTo>
                  <a:cubicBezTo>
                    <a:pt x="559" y="494"/>
                    <a:pt x="559" y="496"/>
                    <a:pt x="559" y="497"/>
                  </a:cubicBezTo>
                  <a:cubicBezTo>
                    <a:pt x="557" y="498"/>
                    <a:pt x="557" y="496"/>
                    <a:pt x="554" y="496"/>
                  </a:cubicBezTo>
                  <a:cubicBezTo>
                    <a:pt x="554" y="495"/>
                    <a:pt x="554" y="494"/>
                    <a:pt x="554" y="493"/>
                  </a:cubicBezTo>
                  <a:cubicBezTo>
                    <a:pt x="553" y="493"/>
                    <a:pt x="552" y="493"/>
                    <a:pt x="551" y="493"/>
                  </a:cubicBezTo>
                  <a:cubicBezTo>
                    <a:pt x="544" y="494"/>
                    <a:pt x="538" y="495"/>
                    <a:pt x="532" y="496"/>
                  </a:cubicBezTo>
                  <a:cubicBezTo>
                    <a:pt x="530" y="498"/>
                    <a:pt x="527" y="499"/>
                    <a:pt x="525" y="498"/>
                  </a:cubicBezTo>
                  <a:cubicBezTo>
                    <a:pt x="525" y="498"/>
                    <a:pt x="524" y="498"/>
                    <a:pt x="524" y="498"/>
                  </a:cubicBezTo>
                  <a:cubicBezTo>
                    <a:pt x="524" y="498"/>
                    <a:pt x="524" y="498"/>
                    <a:pt x="524" y="498"/>
                  </a:cubicBezTo>
                  <a:cubicBezTo>
                    <a:pt x="521" y="498"/>
                    <a:pt x="517" y="499"/>
                    <a:pt x="514" y="499"/>
                  </a:cubicBezTo>
                  <a:cubicBezTo>
                    <a:pt x="514" y="501"/>
                    <a:pt x="514" y="502"/>
                    <a:pt x="513" y="503"/>
                  </a:cubicBezTo>
                  <a:cubicBezTo>
                    <a:pt x="512" y="503"/>
                    <a:pt x="511" y="503"/>
                    <a:pt x="510" y="503"/>
                  </a:cubicBezTo>
                  <a:cubicBezTo>
                    <a:pt x="509" y="502"/>
                    <a:pt x="509" y="501"/>
                    <a:pt x="509" y="501"/>
                  </a:cubicBezTo>
                  <a:cubicBezTo>
                    <a:pt x="505" y="501"/>
                    <a:pt x="502" y="502"/>
                    <a:pt x="498" y="503"/>
                  </a:cubicBezTo>
                  <a:cubicBezTo>
                    <a:pt x="432" y="531"/>
                    <a:pt x="431" y="530"/>
                    <a:pt x="431" y="528"/>
                  </a:cubicBezTo>
                  <a:cubicBezTo>
                    <a:pt x="433" y="526"/>
                    <a:pt x="436" y="526"/>
                    <a:pt x="437" y="527"/>
                  </a:cubicBezTo>
                  <a:cubicBezTo>
                    <a:pt x="437" y="531"/>
                    <a:pt x="436" y="532"/>
                    <a:pt x="432" y="533"/>
                  </a:cubicBezTo>
                  <a:cubicBezTo>
                    <a:pt x="156" y="829"/>
                    <a:pt x="155" y="830"/>
                    <a:pt x="155" y="831"/>
                  </a:cubicBezTo>
                  <a:cubicBezTo>
                    <a:pt x="149" y="831"/>
                    <a:pt x="149" y="831"/>
                    <a:pt x="149" y="831"/>
                  </a:cubicBezTo>
                  <a:cubicBezTo>
                    <a:pt x="146" y="842"/>
                    <a:pt x="144" y="852"/>
                    <a:pt x="141" y="863"/>
                  </a:cubicBezTo>
                  <a:cubicBezTo>
                    <a:pt x="142" y="864"/>
                    <a:pt x="142" y="865"/>
                    <a:pt x="142" y="867"/>
                  </a:cubicBezTo>
                  <a:cubicBezTo>
                    <a:pt x="142" y="867"/>
                    <a:pt x="141" y="867"/>
                    <a:pt x="140" y="867"/>
                  </a:cubicBezTo>
                  <a:cubicBezTo>
                    <a:pt x="139" y="873"/>
                    <a:pt x="138" y="878"/>
                    <a:pt x="136" y="884"/>
                  </a:cubicBezTo>
                  <a:cubicBezTo>
                    <a:pt x="143" y="884"/>
                    <a:pt x="143" y="884"/>
                    <a:pt x="143" y="884"/>
                  </a:cubicBezTo>
                  <a:cubicBezTo>
                    <a:pt x="148" y="865"/>
                    <a:pt x="152" y="847"/>
                    <a:pt x="156" y="828"/>
                  </a:cubicBezTo>
                  <a:cubicBezTo>
                    <a:pt x="128" y="849"/>
                    <a:pt x="128" y="849"/>
                    <a:pt x="128" y="849"/>
                  </a:cubicBezTo>
                  <a:cubicBezTo>
                    <a:pt x="130" y="843"/>
                    <a:pt x="133" y="837"/>
                    <a:pt x="135" y="831"/>
                  </a:cubicBezTo>
                  <a:cubicBezTo>
                    <a:pt x="129" y="831"/>
                    <a:pt x="129" y="831"/>
                    <a:pt x="129" y="831"/>
                  </a:cubicBezTo>
                  <a:cubicBezTo>
                    <a:pt x="129" y="831"/>
                    <a:pt x="129" y="831"/>
                    <a:pt x="129" y="830"/>
                  </a:cubicBezTo>
                  <a:cubicBezTo>
                    <a:pt x="134" y="828"/>
                    <a:pt x="132" y="820"/>
                    <a:pt x="139" y="820"/>
                  </a:cubicBezTo>
                  <a:cubicBezTo>
                    <a:pt x="143" y="812"/>
                    <a:pt x="146" y="804"/>
                    <a:pt x="149" y="796"/>
                  </a:cubicBezTo>
                  <a:cubicBezTo>
                    <a:pt x="146" y="796"/>
                    <a:pt x="146" y="796"/>
                    <a:pt x="146" y="796"/>
                  </a:cubicBezTo>
                  <a:cubicBezTo>
                    <a:pt x="146" y="795"/>
                    <a:pt x="146" y="794"/>
                    <a:pt x="147" y="793"/>
                  </a:cubicBezTo>
                  <a:cubicBezTo>
                    <a:pt x="148" y="792"/>
                    <a:pt x="149" y="793"/>
                    <a:pt x="150" y="793"/>
                  </a:cubicBezTo>
                  <a:cubicBezTo>
                    <a:pt x="153" y="788"/>
                    <a:pt x="155" y="783"/>
                    <a:pt x="157" y="777"/>
                  </a:cubicBezTo>
                  <a:cubicBezTo>
                    <a:pt x="157" y="777"/>
                    <a:pt x="157" y="777"/>
                    <a:pt x="157" y="777"/>
                  </a:cubicBezTo>
                  <a:cubicBezTo>
                    <a:pt x="157" y="777"/>
                    <a:pt x="157" y="777"/>
                    <a:pt x="157" y="777"/>
                  </a:cubicBezTo>
                  <a:cubicBezTo>
                    <a:pt x="159" y="772"/>
                    <a:pt x="162" y="767"/>
                    <a:pt x="164" y="762"/>
                  </a:cubicBezTo>
                  <a:cubicBezTo>
                    <a:pt x="163" y="767"/>
                    <a:pt x="162" y="772"/>
                    <a:pt x="161" y="777"/>
                  </a:cubicBezTo>
                  <a:cubicBezTo>
                    <a:pt x="163" y="777"/>
                    <a:pt x="163" y="777"/>
                    <a:pt x="163" y="777"/>
                  </a:cubicBezTo>
                  <a:cubicBezTo>
                    <a:pt x="164" y="778"/>
                    <a:pt x="165" y="778"/>
                    <a:pt x="166" y="780"/>
                  </a:cubicBezTo>
                  <a:cubicBezTo>
                    <a:pt x="165" y="782"/>
                    <a:pt x="165" y="785"/>
                    <a:pt x="162" y="784"/>
                  </a:cubicBezTo>
                  <a:cubicBezTo>
                    <a:pt x="161" y="783"/>
                    <a:pt x="161" y="781"/>
                    <a:pt x="160" y="780"/>
                  </a:cubicBezTo>
                  <a:cubicBezTo>
                    <a:pt x="160" y="782"/>
                    <a:pt x="159" y="783"/>
                    <a:pt x="159" y="785"/>
                  </a:cubicBezTo>
                  <a:cubicBezTo>
                    <a:pt x="160" y="785"/>
                    <a:pt x="162" y="786"/>
                    <a:pt x="163" y="786"/>
                  </a:cubicBezTo>
                  <a:cubicBezTo>
                    <a:pt x="163" y="790"/>
                    <a:pt x="160" y="791"/>
                    <a:pt x="158" y="790"/>
                  </a:cubicBezTo>
                  <a:cubicBezTo>
                    <a:pt x="156" y="798"/>
                    <a:pt x="155" y="805"/>
                    <a:pt x="153" y="813"/>
                  </a:cubicBezTo>
                  <a:cubicBezTo>
                    <a:pt x="159" y="813"/>
                    <a:pt x="159" y="813"/>
                    <a:pt x="159" y="813"/>
                  </a:cubicBezTo>
                  <a:cubicBezTo>
                    <a:pt x="159" y="813"/>
                    <a:pt x="158" y="814"/>
                    <a:pt x="158" y="814"/>
                  </a:cubicBezTo>
                  <a:cubicBezTo>
                    <a:pt x="156" y="814"/>
                    <a:pt x="154" y="814"/>
                    <a:pt x="153" y="814"/>
                  </a:cubicBezTo>
                  <a:cubicBezTo>
                    <a:pt x="152" y="818"/>
                    <a:pt x="151" y="821"/>
                    <a:pt x="150" y="825"/>
                  </a:cubicBezTo>
                  <a:cubicBezTo>
                    <a:pt x="152" y="824"/>
                    <a:pt x="154" y="825"/>
                    <a:pt x="157" y="826"/>
                  </a:cubicBezTo>
                  <a:cubicBezTo>
                    <a:pt x="163" y="799"/>
                    <a:pt x="169" y="773"/>
                    <a:pt x="174" y="746"/>
                  </a:cubicBezTo>
                  <a:cubicBezTo>
                    <a:pt x="172" y="745"/>
                    <a:pt x="170" y="744"/>
                    <a:pt x="168" y="743"/>
                  </a:cubicBezTo>
                  <a:cubicBezTo>
                    <a:pt x="168" y="743"/>
                    <a:pt x="168" y="744"/>
                    <a:pt x="168" y="744"/>
                  </a:cubicBezTo>
                  <a:cubicBezTo>
                    <a:pt x="166" y="744"/>
                    <a:pt x="165" y="744"/>
                    <a:pt x="164" y="746"/>
                  </a:cubicBezTo>
                  <a:cubicBezTo>
                    <a:pt x="163" y="747"/>
                    <a:pt x="163" y="749"/>
                    <a:pt x="162" y="750"/>
                  </a:cubicBezTo>
                  <a:cubicBezTo>
                    <a:pt x="164" y="750"/>
                    <a:pt x="167" y="750"/>
                    <a:pt x="169" y="750"/>
                  </a:cubicBezTo>
                  <a:cubicBezTo>
                    <a:pt x="171" y="757"/>
                    <a:pt x="164" y="760"/>
                    <a:pt x="159" y="759"/>
                  </a:cubicBezTo>
                  <a:cubicBezTo>
                    <a:pt x="159" y="759"/>
                    <a:pt x="159" y="758"/>
                    <a:pt x="158" y="758"/>
                  </a:cubicBezTo>
                  <a:cubicBezTo>
                    <a:pt x="154" y="767"/>
                    <a:pt x="150" y="776"/>
                    <a:pt x="147" y="785"/>
                  </a:cubicBezTo>
                  <a:cubicBezTo>
                    <a:pt x="148" y="784"/>
                    <a:pt x="151" y="785"/>
                    <a:pt x="152" y="786"/>
                  </a:cubicBezTo>
                  <a:cubicBezTo>
                    <a:pt x="152" y="787"/>
                    <a:pt x="151" y="788"/>
                    <a:pt x="150" y="789"/>
                  </a:cubicBezTo>
                  <a:cubicBezTo>
                    <a:pt x="150" y="791"/>
                    <a:pt x="148" y="791"/>
                    <a:pt x="146" y="791"/>
                  </a:cubicBezTo>
                  <a:cubicBezTo>
                    <a:pt x="146" y="791"/>
                    <a:pt x="145" y="791"/>
                    <a:pt x="145" y="791"/>
                  </a:cubicBezTo>
                  <a:cubicBezTo>
                    <a:pt x="145" y="791"/>
                    <a:pt x="144" y="790"/>
                    <a:pt x="144" y="790"/>
                  </a:cubicBezTo>
                  <a:cubicBezTo>
                    <a:pt x="136" y="811"/>
                    <a:pt x="127" y="832"/>
                    <a:pt x="120" y="853"/>
                  </a:cubicBezTo>
                  <a:cubicBezTo>
                    <a:pt x="121" y="855"/>
                    <a:pt x="121" y="857"/>
                    <a:pt x="119" y="858"/>
                  </a:cubicBezTo>
                  <a:cubicBezTo>
                    <a:pt x="119" y="858"/>
                    <a:pt x="118" y="857"/>
                    <a:pt x="118" y="857"/>
                  </a:cubicBezTo>
                  <a:cubicBezTo>
                    <a:pt x="115" y="866"/>
                    <a:pt x="111" y="875"/>
                    <a:pt x="108" y="885"/>
                  </a:cubicBezTo>
                  <a:cubicBezTo>
                    <a:pt x="111" y="884"/>
                    <a:pt x="111" y="884"/>
                    <a:pt x="111" y="884"/>
                  </a:cubicBezTo>
                  <a:cubicBezTo>
                    <a:pt x="112" y="885"/>
                    <a:pt x="112" y="886"/>
                    <a:pt x="112" y="887"/>
                  </a:cubicBezTo>
                  <a:cubicBezTo>
                    <a:pt x="111" y="888"/>
                    <a:pt x="109" y="888"/>
                    <a:pt x="107" y="888"/>
                  </a:cubicBezTo>
                  <a:cubicBezTo>
                    <a:pt x="106" y="891"/>
                    <a:pt x="105" y="895"/>
                    <a:pt x="103" y="898"/>
                  </a:cubicBezTo>
                  <a:cubicBezTo>
                    <a:pt x="104" y="898"/>
                    <a:pt x="104" y="898"/>
                    <a:pt x="104" y="898"/>
                  </a:cubicBezTo>
                  <a:cubicBezTo>
                    <a:pt x="105" y="899"/>
                    <a:pt x="105" y="901"/>
                    <a:pt x="105" y="903"/>
                  </a:cubicBezTo>
                  <a:cubicBezTo>
                    <a:pt x="102" y="903"/>
                    <a:pt x="102" y="903"/>
                    <a:pt x="102" y="903"/>
                  </a:cubicBezTo>
                  <a:cubicBezTo>
                    <a:pt x="99" y="911"/>
                    <a:pt x="96" y="920"/>
                    <a:pt x="94" y="928"/>
                  </a:cubicBezTo>
                  <a:cubicBezTo>
                    <a:pt x="96" y="929"/>
                    <a:pt x="97" y="931"/>
                    <a:pt x="98" y="933"/>
                  </a:cubicBezTo>
                  <a:cubicBezTo>
                    <a:pt x="98" y="931"/>
                    <a:pt x="100" y="931"/>
                    <a:pt x="99" y="929"/>
                  </a:cubicBezTo>
                  <a:cubicBezTo>
                    <a:pt x="100" y="929"/>
                    <a:pt x="100" y="929"/>
                    <a:pt x="100" y="929"/>
                  </a:cubicBezTo>
                  <a:cubicBezTo>
                    <a:pt x="107" y="908"/>
                    <a:pt x="114" y="888"/>
                    <a:pt x="122" y="867"/>
                  </a:cubicBezTo>
                  <a:cubicBezTo>
                    <a:pt x="118" y="867"/>
                    <a:pt x="118" y="867"/>
                    <a:pt x="118" y="867"/>
                  </a:cubicBezTo>
                  <a:cubicBezTo>
                    <a:pt x="118" y="865"/>
                    <a:pt x="118" y="862"/>
                    <a:pt x="121" y="860"/>
                  </a:cubicBezTo>
                  <a:cubicBezTo>
                    <a:pt x="122" y="860"/>
                    <a:pt x="123" y="861"/>
                    <a:pt x="124" y="861"/>
                  </a:cubicBezTo>
                  <a:cubicBezTo>
                    <a:pt x="125" y="858"/>
                    <a:pt x="126" y="855"/>
                    <a:pt x="127" y="851"/>
                  </a:cubicBezTo>
                  <a:cubicBezTo>
                    <a:pt x="125" y="851"/>
                    <a:pt x="122" y="850"/>
                    <a:pt x="121" y="849"/>
                  </a:cubicBezTo>
                  <a:cubicBezTo>
                    <a:pt x="153" y="823"/>
                    <a:pt x="153" y="818"/>
                    <a:pt x="156" y="818"/>
                  </a:cubicBezTo>
                  <a:cubicBezTo>
                    <a:pt x="159" y="819"/>
                    <a:pt x="158" y="823"/>
                    <a:pt x="155" y="824"/>
                  </a:cubicBezTo>
                  <a:cubicBezTo>
                    <a:pt x="140" y="813"/>
                    <a:pt x="140" y="813"/>
                    <a:pt x="140" y="813"/>
                  </a:cubicBezTo>
                  <a:cubicBezTo>
                    <a:pt x="140" y="813"/>
                    <a:pt x="140" y="813"/>
                    <a:pt x="140" y="814"/>
                  </a:cubicBezTo>
                  <a:cubicBezTo>
                    <a:pt x="138" y="813"/>
                    <a:pt x="136" y="814"/>
                    <a:pt x="135" y="814"/>
                  </a:cubicBezTo>
                  <a:cubicBezTo>
                    <a:pt x="135" y="814"/>
                    <a:pt x="135" y="813"/>
                    <a:pt x="135" y="813"/>
                  </a:cubicBezTo>
                  <a:cubicBezTo>
                    <a:pt x="137" y="827"/>
                    <a:pt x="137" y="827"/>
                    <a:pt x="137" y="827"/>
                  </a:cubicBezTo>
                  <a:cubicBezTo>
                    <a:pt x="137" y="827"/>
                    <a:pt x="137" y="827"/>
                    <a:pt x="137" y="827"/>
                  </a:cubicBezTo>
                  <a:cubicBezTo>
                    <a:pt x="137" y="827"/>
                    <a:pt x="137" y="827"/>
                    <a:pt x="137" y="827"/>
                  </a:cubicBezTo>
                  <a:cubicBezTo>
                    <a:pt x="381" y="604"/>
                    <a:pt x="383" y="604"/>
                    <a:pt x="386" y="603"/>
                  </a:cubicBezTo>
                  <a:cubicBezTo>
                    <a:pt x="386" y="604"/>
                    <a:pt x="386" y="605"/>
                    <a:pt x="386" y="606"/>
                  </a:cubicBezTo>
                  <a:cubicBezTo>
                    <a:pt x="387" y="605"/>
                    <a:pt x="387" y="605"/>
                    <a:pt x="388" y="604"/>
                  </a:cubicBezTo>
                  <a:cubicBezTo>
                    <a:pt x="386" y="603"/>
                    <a:pt x="385" y="601"/>
                    <a:pt x="383" y="599"/>
                  </a:cubicBezTo>
                  <a:cubicBezTo>
                    <a:pt x="382" y="601"/>
                    <a:pt x="381" y="602"/>
                    <a:pt x="379" y="603"/>
                  </a:cubicBezTo>
                  <a:cubicBezTo>
                    <a:pt x="27" y="462"/>
                    <a:pt x="27" y="462"/>
                    <a:pt x="27" y="462"/>
                  </a:cubicBezTo>
                  <a:cubicBezTo>
                    <a:pt x="27" y="462"/>
                    <a:pt x="27" y="462"/>
                    <a:pt x="27" y="462"/>
                  </a:cubicBezTo>
                  <a:cubicBezTo>
                    <a:pt x="27" y="462"/>
                    <a:pt x="27" y="462"/>
                    <a:pt x="27" y="462"/>
                  </a:cubicBezTo>
                  <a:cubicBezTo>
                    <a:pt x="213" y="744"/>
                    <a:pt x="213" y="744"/>
                    <a:pt x="213" y="743"/>
                  </a:cubicBezTo>
                  <a:cubicBezTo>
                    <a:pt x="212" y="743"/>
                    <a:pt x="212" y="744"/>
                    <a:pt x="212" y="744"/>
                  </a:cubicBezTo>
                  <a:cubicBezTo>
                    <a:pt x="213" y="744"/>
                    <a:pt x="213" y="745"/>
                    <a:pt x="213" y="745"/>
                  </a:cubicBezTo>
                  <a:cubicBezTo>
                    <a:pt x="228" y="720"/>
                    <a:pt x="227" y="720"/>
                    <a:pt x="227" y="720"/>
                  </a:cubicBezTo>
                  <a:cubicBezTo>
                    <a:pt x="226" y="717"/>
                    <a:pt x="228" y="716"/>
                    <a:pt x="230" y="717"/>
                  </a:cubicBezTo>
                  <a:cubicBezTo>
                    <a:pt x="234" y="707"/>
                    <a:pt x="238" y="697"/>
                    <a:pt x="243" y="688"/>
                  </a:cubicBezTo>
                  <a:cubicBezTo>
                    <a:pt x="236" y="688"/>
                    <a:pt x="236" y="688"/>
                    <a:pt x="236" y="688"/>
                  </a:cubicBezTo>
                  <a:cubicBezTo>
                    <a:pt x="236" y="688"/>
                    <a:pt x="236" y="688"/>
                    <a:pt x="236" y="688"/>
                  </a:cubicBezTo>
                  <a:cubicBezTo>
                    <a:pt x="231" y="698"/>
                    <a:pt x="226" y="708"/>
                    <a:pt x="222" y="719"/>
                  </a:cubicBezTo>
                  <a:cubicBezTo>
                    <a:pt x="222" y="721"/>
                    <a:pt x="223" y="722"/>
                    <a:pt x="224" y="724"/>
                  </a:cubicBezTo>
                  <a:cubicBezTo>
                    <a:pt x="220" y="724"/>
                    <a:pt x="220" y="724"/>
                    <a:pt x="220" y="724"/>
                  </a:cubicBezTo>
                  <a:cubicBezTo>
                    <a:pt x="217" y="729"/>
                    <a:pt x="215" y="735"/>
                    <a:pt x="213" y="741"/>
                  </a:cubicBezTo>
                  <a:cubicBezTo>
                    <a:pt x="221" y="741"/>
                    <a:pt x="221" y="741"/>
                    <a:pt x="221" y="741"/>
                  </a:cubicBezTo>
                  <a:cubicBezTo>
                    <a:pt x="223" y="734"/>
                    <a:pt x="226" y="727"/>
                    <a:pt x="228" y="720"/>
                  </a:cubicBezTo>
                  <a:cubicBezTo>
                    <a:pt x="94" y="635"/>
                    <a:pt x="94" y="635"/>
                    <a:pt x="94" y="635"/>
                  </a:cubicBezTo>
                  <a:cubicBezTo>
                    <a:pt x="97" y="629"/>
                    <a:pt x="101" y="623"/>
                    <a:pt x="104" y="618"/>
                  </a:cubicBezTo>
                  <a:cubicBezTo>
                    <a:pt x="96" y="618"/>
                    <a:pt x="96" y="618"/>
                    <a:pt x="96" y="618"/>
                  </a:cubicBezTo>
                  <a:cubicBezTo>
                    <a:pt x="92" y="623"/>
                    <a:pt x="89" y="629"/>
                    <a:pt x="86" y="635"/>
                  </a:cubicBezTo>
                  <a:cubicBezTo>
                    <a:pt x="892" y="462"/>
                    <a:pt x="892" y="462"/>
                    <a:pt x="892" y="462"/>
                  </a:cubicBezTo>
                  <a:cubicBezTo>
                    <a:pt x="893" y="462"/>
                    <a:pt x="893" y="462"/>
                    <a:pt x="893" y="462"/>
                  </a:cubicBezTo>
                  <a:cubicBezTo>
                    <a:pt x="893" y="461"/>
                    <a:pt x="892" y="461"/>
                    <a:pt x="892" y="461"/>
                  </a:cubicBezTo>
                  <a:cubicBezTo>
                    <a:pt x="1062" y="714"/>
                    <a:pt x="1062" y="714"/>
                    <a:pt x="1062" y="714"/>
                  </a:cubicBezTo>
                  <a:cubicBezTo>
                    <a:pt x="1062" y="714"/>
                    <a:pt x="1063" y="714"/>
                    <a:pt x="1064" y="714"/>
                  </a:cubicBezTo>
                  <a:cubicBezTo>
                    <a:pt x="1064" y="714"/>
                    <a:pt x="1064" y="714"/>
                    <a:pt x="1064" y="714"/>
                  </a:cubicBezTo>
                  <a:cubicBezTo>
                    <a:pt x="1066" y="714"/>
                    <a:pt x="1067" y="714"/>
                    <a:pt x="1069" y="714"/>
                  </a:cubicBezTo>
                  <a:cubicBezTo>
                    <a:pt x="1068" y="711"/>
                    <a:pt x="1067" y="709"/>
                    <a:pt x="1064" y="708"/>
                  </a:cubicBezTo>
                  <a:cubicBezTo>
                    <a:pt x="1064" y="708"/>
                    <a:pt x="1063" y="708"/>
                    <a:pt x="1062" y="708"/>
                  </a:cubicBezTo>
                  <a:cubicBezTo>
                    <a:pt x="1062" y="708"/>
                    <a:pt x="1062" y="709"/>
                    <a:pt x="1062" y="709"/>
                  </a:cubicBezTo>
                  <a:cubicBezTo>
                    <a:pt x="1062" y="709"/>
                    <a:pt x="1062" y="709"/>
                    <a:pt x="1062" y="709"/>
                  </a:cubicBezTo>
                  <a:cubicBezTo>
                    <a:pt x="1062" y="710"/>
                    <a:pt x="1061" y="710"/>
                    <a:pt x="1061" y="710"/>
                  </a:cubicBezTo>
                  <a:cubicBezTo>
                    <a:pt x="1062" y="711"/>
                    <a:pt x="1062" y="711"/>
                    <a:pt x="1063" y="711"/>
                  </a:cubicBezTo>
                  <a:cubicBezTo>
                    <a:pt x="1063" y="712"/>
                    <a:pt x="1062" y="713"/>
                    <a:pt x="1062" y="714"/>
                  </a:cubicBezTo>
                  <a:cubicBezTo>
                    <a:pt x="877" y="461"/>
                    <a:pt x="876" y="460"/>
                    <a:pt x="873" y="460"/>
                  </a:cubicBezTo>
                  <a:cubicBezTo>
                    <a:pt x="872" y="461"/>
                    <a:pt x="871" y="461"/>
                    <a:pt x="870" y="461"/>
                  </a:cubicBezTo>
                  <a:cubicBezTo>
                    <a:pt x="872" y="462"/>
                    <a:pt x="875" y="463"/>
                    <a:pt x="877" y="463"/>
                  </a:cubicBezTo>
                  <a:cubicBezTo>
                    <a:pt x="609" y="428"/>
                    <a:pt x="609" y="427"/>
                    <a:pt x="609" y="426"/>
                  </a:cubicBezTo>
                  <a:cubicBezTo>
                    <a:pt x="608" y="425"/>
                    <a:pt x="608" y="423"/>
                    <a:pt x="607" y="422"/>
                  </a:cubicBezTo>
                  <a:cubicBezTo>
                    <a:pt x="602" y="422"/>
                    <a:pt x="597" y="422"/>
                    <a:pt x="592" y="421"/>
                  </a:cubicBezTo>
                  <a:cubicBezTo>
                    <a:pt x="591" y="422"/>
                    <a:pt x="591" y="423"/>
                    <a:pt x="590" y="423"/>
                  </a:cubicBezTo>
                  <a:cubicBezTo>
                    <a:pt x="594" y="424"/>
                    <a:pt x="595" y="426"/>
                    <a:pt x="595" y="428"/>
                  </a:cubicBezTo>
                  <a:cubicBezTo>
                    <a:pt x="600" y="429"/>
                    <a:pt x="604" y="429"/>
                    <a:pt x="609" y="429"/>
                  </a:cubicBezTo>
                  <a:cubicBezTo>
                    <a:pt x="626" y="424"/>
                    <a:pt x="621" y="423"/>
                    <a:pt x="616" y="423"/>
                  </a:cubicBezTo>
                  <a:cubicBezTo>
                    <a:pt x="617" y="425"/>
                    <a:pt x="616" y="427"/>
                    <a:pt x="618" y="429"/>
                  </a:cubicBezTo>
                  <a:cubicBezTo>
                    <a:pt x="618" y="427"/>
                    <a:pt x="618" y="425"/>
                    <a:pt x="621" y="425"/>
                  </a:cubicBezTo>
                  <a:cubicBezTo>
                    <a:pt x="624" y="426"/>
                    <a:pt x="626" y="428"/>
                    <a:pt x="626" y="431"/>
                  </a:cubicBezTo>
                  <a:cubicBezTo>
                    <a:pt x="628" y="431"/>
                    <a:pt x="630" y="431"/>
                    <a:pt x="631" y="431"/>
                  </a:cubicBezTo>
                  <a:cubicBezTo>
                    <a:pt x="629" y="430"/>
                    <a:pt x="629" y="427"/>
                    <a:pt x="631" y="425"/>
                  </a:cubicBezTo>
                  <a:cubicBezTo>
                    <a:pt x="866" y="641"/>
                    <a:pt x="864" y="641"/>
                    <a:pt x="862" y="642"/>
                  </a:cubicBezTo>
                  <a:cubicBezTo>
                    <a:pt x="863" y="642"/>
                    <a:pt x="864" y="642"/>
                    <a:pt x="864" y="643"/>
                  </a:cubicBezTo>
                  <a:cubicBezTo>
                    <a:pt x="867" y="642"/>
                    <a:pt x="871" y="641"/>
                    <a:pt x="873" y="640"/>
                  </a:cubicBezTo>
                  <a:cubicBezTo>
                    <a:pt x="872" y="639"/>
                    <a:pt x="871" y="639"/>
                    <a:pt x="870" y="638"/>
                  </a:cubicBezTo>
                  <a:cubicBezTo>
                    <a:pt x="869" y="639"/>
                    <a:pt x="869" y="639"/>
                    <a:pt x="869" y="640"/>
                  </a:cubicBezTo>
                  <a:cubicBezTo>
                    <a:pt x="984" y="706"/>
                    <a:pt x="985" y="708"/>
                    <a:pt x="985" y="711"/>
                  </a:cubicBezTo>
                  <a:cubicBezTo>
                    <a:pt x="1001" y="713"/>
                    <a:pt x="1018" y="715"/>
                    <a:pt x="1034" y="715"/>
                  </a:cubicBezTo>
                  <a:cubicBezTo>
                    <a:pt x="1034" y="714"/>
                    <a:pt x="1034" y="714"/>
                    <a:pt x="1034" y="714"/>
                  </a:cubicBezTo>
                  <a:cubicBezTo>
                    <a:pt x="1031" y="715"/>
                    <a:pt x="1029" y="714"/>
                    <a:pt x="1027" y="714"/>
                  </a:cubicBezTo>
                  <a:cubicBezTo>
                    <a:pt x="1027" y="711"/>
                    <a:pt x="1027" y="710"/>
                    <a:pt x="1028" y="708"/>
                  </a:cubicBezTo>
                  <a:cubicBezTo>
                    <a:pt x="1018" y="708"/>
                    <a:pt x="1008" y="707"/>
                    <a:pt x="998" y="706"/>
                  </a:cubicBezTo>
                  <a:cubicBezTo>
                    <a:pt x="998" y="706"/>
                    <a:pt x="998" y="706"/>
                    <a:pt x="998" y="706"/>
                  </a:cubicBezTo>
                  <a:cubicBezTo>
                    <a:pt x="997" y="706"/>
                    <a:pt x="997" y="707"/>
                    <a:pt x="997" y="708"/>
                  </a:cubicBezTo>
                  <a:cubicBezTo>
                    <a:pt x="994" y="708"/>
                    <a:pt x="992" y="707"/>
                    <a:pt x="991" y="705"/>
                  </a:cubicBezTo>
                  <a:cubicBezTo>
                    <a:pt x="989" y="704"/>
                    <a:pt x="986" y="704"/>
                    <a:pt x="984" y="704"/>
                  </a:cubicBezTo>
                  <a:cubicBezTo>
                    <a:pt x="1043" y="713"/>
                    <a:pt x="1042" y="710"/>
                    <a:pt x="1041" y="709"/>
                  </a:cubicBezTo>
                  <a:cubicBezTo>
                    <a:pt x="1039" y="709"/>
                    <a:pt x="1037" y="709"/>
                    <a:pt x="1036" y="709"/>
                  </a:cubicBezTo>
                  <a:cubicBezTo>
                    <a:pt x="1036" y="710"/>
                    <a:pt x="1036" y="712"/>
                    <a:pt x="1035" y="713"/>
                  </a:cubicBezTo>
                  <a:cubicBezTo>
                    <a:pt x="1038" y="712"/>
                    <a:pt x="1038" y="713"/>
                    <a:pt x="1039" y="715"/>
                  </a:cubicBezTo>
                  <a:cubicBezTo>
                    <a:pt x="1040" y="715"/>
                    <a:pt x="1041" y="715"/>
                    <a:pt x="1043" y="715"/>
                  </a:cubicBezTo>
                  <a:cubicBezTo>
                    <a:pt x="1055" y="713"/>
                    <a:pt x="1054" y="710"/>
                    <a:pt x="1052" y="708"/>
                  </a:cubicBezTo>
                  <a:cubicBezTo>
                    <a:pt x="1050" y="708"/>
                    <a:pt x="1048" y="709"/>
                    <a:pt x="1045" y="709"/>
                  </a:cubicBezTo>
                  <a:cubicBezTo>
                    <a:pt x="1046" y="711"/>
                    <a:pt x="1047" y="713"/>
                    <a:pt x="1048" y="715"/>
                  </a:cubicBezTo>
                  <a:cubicBezTo>
                    <a:pt x="1051" y="715"/>
                    <a:pt x="1053" y="715"/>
                    <a:pt x="1056" y="715"/>
                  </a:cubicBezTo>
                  <a:cubicBezTo>
                    <a:pt x="995" y="574"/>
                    <a:pt x="996" y="574"/>
                    <a:pt x="996" y="574"/>
                  </a:cubicBezTo>
                  <a:cubicBezTo>
                    <a:pt x="985" y="574"/>
                    <a:pt x="985" y="574"/>
                    <a:pt x="985" y="574"/>
                  </a:cubicBezTo>
                  <a:cubicBezTo>
                    <a:pt x="985" y="572"/>
                    <a:pt x="986" y="571"/>
                    <a:pt x="988" y="570"/>
                  </a:cubicBezTo>
                  <a:cubicBezTo>
                    <a:pt x="988" y="570"/>
                    <a:pt x="987" y="569"/>
                    <a:pt x="987" y="569"/>
                  </a:cubicBezTo>
                  <a:cubicBezTo>
                    <a:pt x="984" y="568"/>
                    <a:pt x="981" y="568"/>
                    <a:pt x="977" y="567"/>
                  </a:cubicBezTo>
                  <a:cubicBezTo>
                    <a:pt x="977" y="568"/>
                    <a:pt x="976" y="568"/>
                    <a:pt x="976" y="569"/>
                  </a:cubicBezTo>
                  <a:cubicBezTo>
                    <a:pt x="975" y="570"/>
                    <a:pt x="975" y="570"/>
                    <a:pt x="975" y="571"/>
                  </a:cubicBezTo>
                  <a:cubicBezTo>
                    <a:pt x="973" y="572"/>
                    <a:pt x="969" y="570"/>
                    <a:pt x="969" y="572"/>
                  </a:cubicBezTo>
                  <a:cubicBezTo>
                    <a:pt x="971" y="572"/>
                    <a:pt x="973" y="573"/>
                    <a:pt x="975" y="573"/>
                  </a:cubicBezTo>
                  <a:cubicBezTo>
                    <a:pt x="976" y="573"/>
                    <a:pt x="978" y="572"/>
                    <a:pt x="979" y="571"/>
                  </a:cubicBezTo>
                  <a:cubicBezTo>
                    <a:pt x="979" y="572"/>
                    <a:pt x="979" y="572"/>
                    <a:pt x="978" y="573"/>
                  </a:cubicBezTo>
                  <a:cubicBezTo>
                    <a:pt x="981" y="573"/>
                    <a:pt x="983" y="573"/>
                    <a:pt x="985" y="574"/>
                  </a:cubicBezTo>
                  <a:cubicBezTo>
                    <a:pt x="980" y="574"/>
                    <a:pt x="980" y="574"/>
                    <a:pt x="980" y="574"/>
                  </a:cubicBezTo>
                  <a:cubicBezTo>
                    <a:pt x="989" y="576"/>
                    <a:pt x="997" y="578"/>
                    <a:pt x="1006" y="579"/>
                  </a:cubicBezTo>
                  <a:cubicBezTo>
                    <a:pt x="1009" y="579"/>
                    <a:pt x="1011" y="576"/>
                    <a:pt x="1010" y="574"/>
                  </a:cubicBezTo>
                  <a:cubicBezTo>
                    <a:pt x="1004" y="574"/>
                    <a:pt x="1004" y="574"/>
                    <a:pt x="1004" y="574"/>
                  </a:cubicBezTo>
                  <a:cubicBezTo>
                    <a:pt x="1004" y="573"/>
                    <a:pt x="1003" y="572"/>
                    <a:pt x="1002" y="571"/>
                  </a:cubicBezTo>
                  <a:cubicBezTo>
                    <a:pt x="1000" y="571"/>
                    <a:pt x="997" y="571"/>
                    <a:pt x="995" y="570"/>
                  </a:cubicBezTo>
                  <a:cubicBezTo>
                    <a:pt x="995" y="571"/>
                    <a:pt x="995" y="573"/>
                    <a:pt x="995" y="574"/>
                  </a:cubicBezTo>
                  <a:cubicBezTo>
                    <a:pt x="453" y="435"/>
                    <a:pt x="453" y="434"/>
                    <a:pt x="453" y="432"/>
                  </a:cubicBezTo>
                  <a:cubicBezTo>
                    <a:pt x="452" y="433"/>
                    <a:pt x="450" y="433"/>
                    <a:pt x="449" y="434"/>
                  </a:cubicBezTo>
                  <a:cubicBezTo>
                    <a:pt x="449" y="434"/>
                    <a:pt x="449" y="434"/>
                    <a:pt x="449" y="434"/>
                  </a:cubicBezTo>
                  <a:cubicBezTo>
                    <a:pt x="449" y="434"/>
                    <a:pt x="449" y="434"/>
                    <a:pt x="449" y="434"/>
                  </a:cubicBezTo>
                  <a:cubicBezTo>
                    <a:pt x="448" y="434"/>
                    <a:pt x="447" y="434"/>
                    <a:pt x="447" y="434"/>
                  </a:cubicBezTo>
                  <a:cubicBezTo>
                    <a:pt x="447" y="435"/>
                    <a:pt x="447" y="436"/>
                    <a:pt x="447" y="436"/>
                  </a:cubicBezTo>
                  <a:cubicBezTo>
                    <a:pt x="439" y="436"/>
                    <a:pt x="439" y="436"/>
                    <a:pt x="439" y="436"/>
                  </a:cubicBezTo>
                  <a:cubicBezTo>
                    <a:pt x="423" y="441"/>
                    <a:pt x="407" y="447"/>
                    <a:pt x="391" y="454"/>
                  </a:cubicBezTo>
                  <a:cubicBezTo>
                    <a:pt x="394" y="454"/>
                    <a:pt x="394" y="454"/>
                    <a:pt x="394" y="454"/>
                  </a:cubicBezTo>
                  <a:cubicBezTo>
                    <a:pt x="393" y="457"/>
                    <a:pt x="390" y="458"/>
                    <a:pt x="386" y="459"/>
                  </a:cubicBezTo>
                  <a:cubicBezTo>
                    <a:pt x="388" y="459"/>
                    <a:pt x="389" y="460"/>
                    <a:pt x="391" y="461"/>
                  </a:cubicBezTo>
                  <a:cubicBezTo>
                    <a:pt x="394" y="460"/>
                    <a:pt x="396" y="458"/>
                    <a:pt x="399" y="457"/>
                  </a:cubicBezTo>
                  <a:cubicBezTo>
                    <a:pt x="400" y="457"/>
                    <a:pt x="402" y="456"/>
                    <a:pt x="403" y="456"/>
                  </a:cubicBezTo>
                  <a:cubicBezTo>
                    <a:pt x="403" y="455"/>
                    <a:pt x="402" y="455"/>
                    <a:pt x="402" y="454"/>
                  </a:cubicBezTo>
                  <a:cubicBezTo>
                    <a:pt x="407" y="454"/>
                    <a:pt x="407" y="454"/>
                    <a:pt x="407" y="454"/>
                  </a:cubicBezTo>
                  <a:cubicBezTo>
                    <a:pt x="426" y="446"/>
                    <a:pt x="446" y="440"/>
                    <a:pt x="466" y="436"/>
                  </a:cubicBezTo>
                  <a:cubicBezTo>
                    <a:pt x="142" y="613"/>
                    <a:pt x="141" y="613"/>
                    <a:pt x="141" y="613"/>
                  </a:cubicBezTo>
                  <a:cubicBezTo>
                    <a:pt x="141" y="610"/>
                    <a:pt x="142" y="607"/>
                    <a:pt x="144" y="607"/>
                  </a:cubicBezTo>
                  <a:cubicBezTo>
                    <a:pt x="145" y="607"/>
                    <a:pt x="145" y="607"/>
                    <a:pt x="145" y="607"/>
                  </a:cubicBezTo>
                  <a:cubicBezTo>
                    <a:pt x="150" y="599"/>
                    <a:pt x="155" y="590"/>
                    <a:pt x="161" y="581"/>
                  </a:cubicBezTo>
                  <a:cubicBezTo>
                    <a:pt x="156" y="582"/>
                    <a:pt x="156" y="582"/>
                    <a:pt x="156" y="582"/>
                  </a:cubicBezTo>
                  <a:cubicBezTo>
                    <a:pt x="156" y="580"/>
                    <a:pt x="156" y="578"/>
                    <a:pt x="156" y="577"/>
                  </a:cubicBezTo>
                  <a:cubicBezTo>
                    <a:pt x="152" y="584"/>
                    <a:pt x="147" y="590"/>
                    <a:pt x="143" y="597"/>
                  </a:cubicBezTo>
                  <a:cubicBezTo>
                    <a:pt x="140" y="602"/>
                    <a:pt x="137" y="608"/>
                    <a:pt x="134" y="613"/>
                  </a:cubicBezTo>
                  <a:cubicBezTo>
                    <a:pt x="135" y="613"/>
                    <a:pt x="136" y="613"/>
                    <a:pt x="137" y="614"/>
                  </a:cubicBezTo>
                  <a:cubicBezTo>
                    <a:pt x="137" y="615"/>
                    <a:pt x="137" y="616"/>
                    <a:pt x="137" y="617"/>
                  </a:cubicBezTo>
                  <a:cubicBezTo>
                    <a:pt x="132" y="617"/>
                    <a:pt x="132" y="617"/>
                    <a:pt x="132" y="617"/>
                  </a:cubicBezTo>
                  <a:cubicBezTo>
                    <a:pt x="129" y="623"/>
                    <a:pt x="126" y="629"/>
                    <a:pt x="122" y="635"/>
                  </a:cubicBezTo>
                  <a:cubicBezTo>
                    <a:pt x="130" y="635"/>
                    <a:pt x="130" y="635"/>
                    <a:pt x="130" y="635"/>
                  </a:cubicBezTo>
                  <a:cubicBezTo>
                    <a:pt x="134" y="627"/>
                    <a:pt x="138" y="620"/>
                    <a:pt x="142" y="613"/>
                  </a:cubicBezTo>
                  <a:cubicBezTo>
                    <a:pt x="98" y="779"/>
                    <a:pt x="99" y="778"/>
                    <a:pt x="99" y="778"/>
                  </a:cubicBezTo>
                  <a:cubicBezTo>
                    <a:pt x="102" y="778"/>
                    <a:pt x="102" y="778"/>
                    <a:pt x="102" y="778"/>
                  </a:cubicBezTo>
                  <a:cubicBezTo>
                    <a:pt x="104" y="772"/>
                    <a:pt x="107" y="766"/>
                    <a:pt x="109" y="760"/>
                  </a:cubicBezTo>
                  <a:cubicBezTo>
                    <a:pt x="106" y="760"/>
                    <a:pt x="106" y="760"/>
                    <a:pt x="106" y="760"/>
                  </a:cubicBezTo>
                  <a:cubicBezTo>
                    <a:pt x="106" y="760"/>
                    <a:pt x="106" y="760"/>
                    <a:pt x="105" y="760"/>
                  </a:cubicBezTo>
                  <a:cubicBezTo>
                    <a:pt x="105" y="759"/>
                    <a:pt x="105" y="759"/>
                    <a:pt x="105" y="758"/>
                  </a:cubicBezTo>
                  <a:cubicBezTo>
                    <a:pt x="104" y="759"/>
                    <a:pt x="103" y="759"/>
                    <a:pt x="102" y="759"/>
                  </a:cubicBezTo>
                  <a:cubicBezTo>
                    <a:pt x="102" y="760"/>
                    <a:pt x="103" y="760"/>
                    <a:pt x="103" y="760"/>
                  </a:cubicBezTo>
                  <a:cubicBezTo>
                    <a:pt x="101" y="760"/>
                    <a:pt x="101" y="760"/>
                    <a:pt x="101" y="760"/>
                  </a:cubicBezTo>
                  <a:cubicBezTo>
                    <a:pt x="99" y="766"/>
                    <a:pt x="97" y="772"/>
                    <a:pt x="94" y="778"/>
                  </a:cubicBezTo>
                  <a:cubicBezTo>
                    <a:pt x="96" y="778"/>
                    <a:pt x="96" y="778"/>
                    <a:pt x="96" y="778"/>
                  </a:cubicBezTo>
                  <a:cubicBezTo>
                    <a:pt x="96" y="778"/>
                    <a:pt x="97" y="779"/>
                    <a:pt x="98" y="780"/>
                  </a:cubicBezTo>
                  <a:cubicBezTo>
                    <a:pt x="325" y="501"/>
                    <a:pt x="326" y="500"/>
                    <a:pt x="327" y="499"/>
                  </a:cubicBezTo>
                  <a:cubicBezTo>
                    <a:pt x="327" y="499"/>
                    <a:pt x="327" y="498"/>
                    <a:pt x="327" y="498"/>
                  </a:cubicBezTo>
                  <a:cubicBezTo>
                    <a:pt x="328" y="498"/>
                    <a:pt x="329" y="498"/>
                    <a:pt x="329" y="498"/>
                  </a:cubicBezTo>
                  <a:cubicBezTo>
                    <a:pt x="346" y="485"/>
                    <a:pt x="363" y="474"/>
                    <a:pt x="382" y="465"/>
                  </a:cubicBezTo>
                  <a:cubicBezTo>
                    <a:pt x="382" y="463"/>
                    <a:pt x="383" y="462"/>
                    <a:pt x="385" y="461"/>
                  </a:cubicBezTo>
                  <a:cubicBezTo>
                    <a:pt x="384" y="461"/>
                    <a:pt x="383" y="460"/>
                    <a:pt x="382" y="458"/>
                  </a:cubicBezTo>
                  <a:cubicBezTo>
                    <a:pt x="379" y="460"/>
                    <a:pt x="375" y="462"/>
                    <a:pt x="371" y="464"/>
                  </a:cubicBezTo>
                  <a:cubicBezTo>
                    <a:pt x="371" y="464"/>
                    <a:pt x="371" y="464"/>
                    <a:pt x="371" y="465"/>
                  </a:cubicBezTo>
                  <a:cubicBezTo>
                    <a:pt x="371" y="465"/>
                    <a:pt x="370" y="465"/>
                    <a:pt x="370" y="465"/>
                  </a:cubicBezTo>
                  <a:cubicBezTo>
                    <a:pt x="370" y="465"/>
                    <a:pt x="369" y="465"/>
                    <a:pt x="369" y="465"/>
                  </a:cubicBezTo>
                  <a:cubicBezTo>
                    <a:pt x="369" y="466"/>
                    <a:pt x="369" y="468"/>
                    <a:pt x="368" y="468"/>
                  </a:cubicBezTo>
                  <a:cubicBezTo>
                    <a:pt x="366" y="468"/>
                    <a:pt x="365" y="468"/>
                    <a:pt x="364" y="468"/>
                  </a:cubicBezTo>
                  <a:cubicBezTo>
                    <a:pt x="336" y="484"/>
                    <a:pt x="309" y="503"/>
                    <a:pt x="285" y="526"/>
                  </a:cubicBezTo>
                  <a:cubicBezTo>
                    <a:pt x="296" y="526"/>
                    <a:pt x="296" y="526"/>
                    <a:pt x="296" y="526"/>
                  </a:cubicBezTo>
                  <a:cubicBezTo>
                    <a:pt x="303" y="519"/>
                    <a:pt x="311" y="512"/>
                    <a:pt x="319" y="506"/>
                  </a:cubicBezTo>
                  <a:cubicBezTo>
                    <a:pt x="319" y="505"/>
                    <a:pt x="319" y="505"/>
                    <a:pt x="319" y="505"/>
                  </a:cubicBezTo>
                  <a:cubicBezTo>
                    <a:pt x="319" y="505"/>
                    <a:pt x="318" y="505"/>
                    <a:pt x="317" y="506"/>
                  </a:cubicBezTo>
                  <a:cubicBezTo>
                    <a:pt x="316" y="504"/>
                    <a:pt x="314" y="502"/>
                    <a:pt x="317" y="500"/>
                  </a:cubicBezTo>
                  <a:cubicBezTo>
                    <a:pt x="318" y="500"/>
                    <a:pt x="320" y="500"/>
                    <a:pt x="321" y="501"/>
                  </a:cubicBezTo>
                  <a:cubicBezTo>
                    <a:pt x="321" y="501"/>
                    <a:pt x="321" y="501"/>
                    <a:pt x="321" y="502"/>
                  </a:cubicBezTo>
                  <a:cubicBezTo>
                    <a:pt x="322" y="501"/>
                    <a:pt x="323" y="502"/>
                    <a:pt x="324" y="502"/>
                  </a:cubicBezTo>
                  <a:cubicBezTo>
                    <a:pt x="226" y="545"/>
                    <a:pt x="226" y="545"/>
                    <a:pt x="226" y="545"/>
                  </a:cubicBezTo>
                  <a:cubicBezTo>
                    <a:pt x="222" y="551"/>
                    <a:pt x="217" y="557"/>
                    <a:pt x="212" y="563"/>
                  </a:cubicBezTo>
                  <a:cubicBezTo>
                    <a:pt x="213" y="563"/>
                    <a:pt x="213" y="563"/>
                    <a:pt x="213" y="563"/>
                  </a:cubicBezTo>
                  <a:cubicBezTo>
                    <a:pt x="213" y="563"/>
                    <a:pt x="213" y="563"/>
                    <a:pt x="213" y="563"/>
                  </a:cubicBezTo>
                  <a:cubicBezTo>
                    <a:pt x="221" y="563"/>
                    <a:pt x="221" y="563"/>
                    <a:pt x="221" y="563"/>
                  </a:cubicBezTo>
                  <a:cubicBezTo>
                    <a:pt x="226" y="557"/>
                    <a:pt x="231" y="551"/>
                    <a:pt x="236" y="545"/>
                  </a:cubicBezTo>
                  <a:cubicBezTo>
                    <a:pt x="282" y="536"/>
                    <a:pt x="285" y="536"/>
                    <a:pt x="286" y="536"/>
                  </a:cubicBezTo>
                  <a:cubicBezTo>
                    <a:pt x="286" y="536"/>
                    <a:pt x="286" y="536"/>
                    <a:pt x="287" y="536"/>
                  </a:cubicBezTo>
                  <a:cubicBezTo>
                    <a:pt x="287" y="533"/>
                    <a:pt x="286" y="530"/>
                    <a:pt x="284" y="528"/>
                  </a:cubicBezTo>
                  <a:cubicBezTo>
                    <a:pt x="283" y="529"/>
                    <a:pt x="282" y="530"/>
                    <a:pt x="281" y="530"/>
                  </a:cubicBezTo>
                  <a:cubicBezTo>
                    <a:pt x="280" y="532"/>
                    <a:pt x="278" y="533"/>
                    <a:pt x="281" y="536"/>
                  </a:cubicBezTo>
                  <a:cubicBezTo>
                    <a:pt x="963" y="603"/>
                    <a:pt x="963" y="603"/>
                    <a:pt x="963" y="603"/>
                  </a:cubicBezTo>
                  <a:cubicBezTo>
                    <a:pt x="963" y="602"/>
                    <a:pt x="963" y="602"/>
                    <a:pt x="963" y="602"/>
                  </a:cubicBezTo>
                  <a:cubicBezTo>
                    <a:pt x="963" y="602"/>
                    <a:pt x="963" y="602"/>
                    <a:pt x="963" y="603"/>
                  </a:cubicBezTo>
                  <a:cubicBezTo>
                    <a:pt x="78" y="754"/>
                    <a:pt x="79" y="754"/>
                    <a:pt x="79" y="754"/>
                  </a:cubicBezTo>
                  <a:cubicBezTo>
                    <a:pt x="83" y="744"/>
                    <a:pt x="86" y="733"/>
                    <a:pt x="90" y="723"/>
                  </a:cubicBezTo>
                  <a:cubicBezTo>
                    <a:pt x="89" y="722"/>
                    <a:pt x="87" y="721"/>
                    <a:pt x="85" y="723"/>
                  </a:cubicBezTo>
                  <a:cubicBezTo>
                    <a:pt x="85" y="723"/>
                    <a:pt x="85" y="724"/>
                    <a:pt x="85" y="725"/>
                  </a:cubicBezTo>
                  <a:cubicBezTo>
                    <a:pt x="82" y="725"/>
                    <a:pt x="82" y="725"/>
                    <a:pt x="82" y="725"/>
                  </a:cubicBezTo>
                  <a:cubicBezTo>
                    <a:pt x="76" y="742"/>
                    <a:pt x="70" y="760"/>
                    <a:pt x="65" y="778"/>
                  </a:cubicBezTo>
                  <a:cubicBezTo>
                    <a:pt x="68" y="778"/>
                    <a:pt x="68" y="778"/>
                    <a:pt x="68" y="778"/>
                  </a:cubicBezTo>
                  <a:cubicBezTo>
                    <a:pt x="68" y="778"/>
                    <a:pt x="68" y="778"/>
                    <a:pt x="67" y="779"/>
                  </a:cubicBezTo>
                  <a:cubicBezTo>
                    <a:pt x="68" y="780"/>
                    <a:pt x="69" y="781"/>
                    <a:pt x="70" y="783"/>
                  </a:cubicBezTo>
                  <a:cubicBezTo>
                    <a:pt x="70" y="783"/>
                    <a:pt x="70" y="784"/>
                    <a:pt x="70" y="784"/>
                  </a:cubicBezTo>
                  <a:cubicBezTo>
                    <a:pt x="72" y="776"/>
                    <a:pt x="75" y="768"/>
                    <a:pt x="77" y="760"/>
                  </a:cubicBezTo>
                  <a:cubicBezTo>
                    <a:pt x="74" y="761"/>
                    <a:pt x="74" y="761"/>
                    <a:pt x="74" y="761"/>
                  </a:cubicBezTo>
                  <a:cubicBezTo>
                    <a:pt x="75" y="758"/>
                    <a:pt x="77" y="757"/>
                    <a:pt x="78" y="754"/>
                  </a:cubicBezTo>
                  <a:cubicBezTo>
                    <a:pt x="971" y="599"/>
                    <a:pt x="971" y="599"/>
                    <a:pt x="971" y="599"/>
                  </a:cubicBezTo>
                  <a:cubicBezTo>
                    <a:pt x="972" y="599"/>
                    <a:pt x="973" y="598"/>
                    <a:pt x="974" y="598"/>
                  </a:cubicBezTo>
                  <a:cubicBezTo>
                    <a:pt x="970" y="597"/>
                    <a:pt x="966" y="596"/>
                    <a:pt x="962" y="595"/>
                  </a:cubicBezTo>
                  <a:cubicBezTo>
                    <a:pt x="964" y="597"/>
                    <a:pt x="965" y="598"/>
                    <a:pt x="967" y="600"/>
                  </a:cubicBezTo>
                  <a:cubicBezTo>
                    <a:pt x="968" y="599"/>
                    <a:pt x="970" y="599"/>
                    <a:pt x="971" y="600"/>
                  </a:cubicBezTo>
                  <a:cubicBezTo>
                    <a:pt x="977" y="603"/>
                    <a:pt x="977" y="603"/>
                    <a:pt x="977" y="602"/>
                  </a:cubicBezTo>
                  <a:cubicBezTo>
                    <a:pt x="976" y="603"/>
                    <a:pt x="974" y="604"/>
                    <a:pt x="973" y="604"/>
                  </a:cubicBezTo>
                  <a:cubicBezTo>
                    <a:pt x="973" y="604"/>
                    <a:pt x="973" y="604"/>
                    <a:pt x="973" y="604"/>
                  </a:cubicBezTo>
                  <a:cubicBezTo>
                    <a:pt x="972" y="604"/>
                    <a:pt x="972" y="604"/>
                    <a:pt x="972" y="604"/>
                  </a:cubicBezTo>
                  <a:cubicBezTo>
                    <a:pt x="972" y="604"/>
                    <a:pt x="972" y="604"/>
                    <a:pt x="973" y="605"/>
                  </a:cubicBezTo>
                  <a:cubicBezTo>
                    <a:pt x="975" y="605"/>
                    <a:pt x="977" y="606"/>
                    <a:pt x="980" y="606"/>
                  </a:cubicBezTo>
                  <a:cubicBezTo>
                    <a:pt x="980" y="605"/>
                    <a:pt x="980" y="605"/>
                    <a:pt x="981" y="604"/>
                  </a:cubicBezTo>
                  <a:cubicBezTo>
                    <a:pt x="979" y="604"/>
                    <a:pt x="978" y="604"/>
                    <a:pt x="977" y="603"/>
                  </a:cubicBezTo>
                  <a:cubicBezTo>
                    <a:pt x="1012" y="604"/>
                    <a:pt x="1012" y="605"/>
                    <a:pt x="1012" y="606"/>
                  </a:cubicBezTo>
                  <a:cubicBezTo>
                    <a:pt x="1008" y="607"/>
                    <a:pt x="1009" y="608"/>
                    <a:pt x="1010" y="610"/>
                  </a:cubicBezTo>
                  <a:cubicBezTo>
                    <a:pt x="1006" y="610"/>
                    <a:pt x="1006" y="610"/>
                    <a:pt x="1006" y="610"/>
                  </a:cubicBezTo>
                  <a:cubicBezTo>
                    <a:pt x="1013" y="610"/>
                    <a:pt x="1020" y="611"/>
                    <a:pt x="1027" y="611"/>
                  </a:cubicBezTo>
                  <a:cubicBezTo>
                    <a:pt x="1028" y="611"/>
                    <a:pt x="1029" y="611"/>
                    <a:pt x="1030" y="610"/>
                  </a:cubicBezTo>
                  <a:cubicBezTo>
                    <a:pt x="1024" y="610"/>
                    <a:pt x="1024" y="610"/>
                    <a:pt x="1024" y="610"/>
                  </a:cubicBezTo>
                  <a:cubicBezTo>
                    <a:pt x="1024" y="608"/>
                    <a:pt x="1024" y="606"/>
                    <a:pt x="1025" y="604"/>
                  </a:cubicBezTo>
                  <a:cubicBezTo>
                    <a:pt x="1020" y="604"/>
                    <a:pt x="1016" y="604"/>
                    <a:pt x="1012" y="604"/>
                  </a:cubicBezTo>
                  <a:cubicBezTo>
                    <a:pt x="934" y="529"/>
                    <a:pt x="934" y="530"/>
                    <a:pt x="934" y="531"/>
                  </a:cubicBezTo>
                  <a:cubicBezTo>
                    <a:pt x="935" y="531"/>
                    <a:pt x="936" y="530"/>
                    <a:pt x="937" y="530"/>
                  </a:cubicBezTo>
                  <a:cubicBezTo>
                    <a:pt x="936" y="529"/>
                    <a:pt x="935" y="529"/>
                    <a:pt x="934" y="529"/>
                  </a:cubicBezTo>
                  <a:cubicBezTo>
                    <a:pt x="1043" y="673"/>
                    <a:pt x="1043" y="672"/>
                    <a:pt x="1042" y="672"/>
                  </a:cubicBezTo>
                  <a:cubicBezTo>
                    <a:pt x="1042" y="672"/>
                    <a:pt x="1041" y="672"/>
                    <a:pt x="1041" y="672"/>
                  </a:cubicBezTo>
                  <a:cubicBezTo>
                    <a:pt x="1041" y="673"/>
                    <a:pt x="1041" y="674"/>
                    <a:pt x="1040" y="675"/>
                  </a:cubicBezTo>
                  <a:cubicBezTo>
                    <a:pt x="1036" y="675"/>
                    <a:pt x="1034" y="674"/>
                    <a:pt x="1035" y="671"/>
                  </a:cubicBezTo>
                  <a:cubicBezTo>
                    <a:pt x="1033" y="670"/>
                    <a:pt x="1031" y="670"/>
                    <a:pt x="1029" y="670"/>
                  </a:cubicBezTo>
                  <a:cubicBezTo>
                    <a:pt x="1031" y="673"/>
                    <a:pt x="1033" y="675"/>
                    <a:pt x="1035" y="678"/>
                  </a:cubicBezTo>
                  <a:cubicBezTo>
                    <a:pt x="1038" y="678"/>
                    <a:pt x="1041" y="679"/>
                    <a:pt x="1045" y="679"/>
                  </a:cubicBezTo>
                  <a:cubicBezTo>
                    <a:pt x="1045" y="678"/>
                    <a:pt x="1045" y="678"/>
                    <a:pt x="1045" y="677"/>
                  </a:cubicBezTo>
                  <a:cubicBezTo>
                    <a:pt x="1050" y="677"/>
                    <a:pt x="1053" y="679"/>
                    <a:pt x="1055" y="680"/>
                  </a:cubicBezTo>
                  <a:cubicBezTo>
                    <a:pt x="1056" y="680"/>
                    <a:pt x="1056" y="680"/>
                    <a:pt x="1057" y="680"/>
                  </a:cubicBezTo>
                  <a:cubicBezTo>
                    <a:pt x="1059" y="681"/>
                    <a:pt x="1060" y="679"/>
                    <a:pt x="1060" y="677"/>
                  </a:cubicBezTo>
                  <a:cubicBezTo>
                    <a:pt x="1060" y="677"/>
                    <a:pt x="1060" y="677"/>
                    <a:pt x="1060" y="677"/>
                  </a:cubicBezTo>
                  <a:cubicBezTo>
                    <a:pt x="1059" y="676"/>
                    <a:pt x="1059" y="675"/>
                    <a:pt x="1060" y="675"/>
                  </a:cubicBezTo>
                  <a:cubicBezTo>
                    <a:pt x="1059" y="674"/>
                    <a:pt x="1059" y="674"/>
                    <a:pt x="1058" y="674"/>
                  </a:cubicBezTo>
                  <a:cubicBezTo>
                    <a:pt x="1054" y="673"/>
                    <a:pt x="1051" y="673"/>
                    <a:pt x="1047" y="673"/>
                  </a:cubicBezTo>
                  <a:cubicBezTo>
                    <a:pt x="1046" y="673"/>
                    <a:pt x="1044" y="673"/>
                    <a:pt x="1043" y="673"/>
                  </a:cubicBezTo>
                  <a:cubicBezTo>
                    <a:pt x="997" y="608"/>
                    <a:pt x="997" y="608"/>
                    <a:pt x="998" y="607"/>
                  </a:cubicBezTo>
                  <a:cubicBezTo>
                    <a:pt x="997" y="605"/>
                    <a:pt x="996" y="603"/>
                    <a:pt x="995" y="602"/>
                  </a:cubicBezTo>
                  <a:cubicBezTo>
                    <a:pt x="994" y="601"/>
                    <a:pt x="993" y="601"/>
                    <a:pt x="992" y="601"/>
                  </a:cubicBezTo>
                  <a:cubicBezTo>
                    <a:pt x="994" y="603"/>
                    <a:pt x="995" y="605"/>
                    <a:pt x="994" y="608"/>
                  </a:cubicBezTo>
                  <a:cubicBezTo>
                    <a:pt x="995" y="608"/>
                    <a:pt x="995" y="608"/>
                    <a:pt x="996" y="609"/>
                  </a:cubicBezTo>
                  <a:cubicBezTo>
                    <a:pt x="1027" y="675"/>
                    <a:pt x="1026" y="675"/>
                    <a:pt x="1026" y="674"/>
                  </a:cubicBezTo>
                  <a:cubicBezTo>
                    <a:pt x="1026" y="675"/>
                    <a:pt x="1026" y="675"/>
                    <a:pt x="1026" y="676"/>
                  </a:cubicBezTo>
                  <a:cubicBezTo>
                    <a:pt x="1026" y="676"/>
                    <a:pt x="1027" y="676"/>
                    <a:pt x="1027" y="676"/>
                  </a:cubicBezTo>
                  <a:cubicBezTo>
                    <a:pt x="928" y="528"/>
                    <a:pt x="929" y="528"/>
                    <a:pt x="930" y="528"/>
                  </a:cubicBezTo>
                  <a:cubicBezTo>
                    <a:pt x="930" y="528"/>
                    <a:pt x="930" y="528"/>
                    <a:pt x="930" y="528"/>
                  </a:cubicBezTo>
                  <a:cubicBezTo>
                    <a:pt x="930" y="528"/>
                    <a:pt x="931" y="528"/>
                    <a:pt x="931" y="528"/>
                  </a:cubicBezTo>
                  <a:cubicBezTo>
                    <a:pt x="930" y="528"/>
                    <a:pt x="929" y="527"/>
                    <a:pt x="927" y="527"/>
                  </a:cubicBezTo>
                  <a:cubicBezTo>
                    <a:pt x="927" y="527"/>
                    <a:pt x="927" y="528"/>
                    <a:pt x="927" y="528"/>
                  </a:cubicBezTo>
                  <a:cubicBezTo>
                    <a:pt x="934" y="588"/>
                    <a:pt x="918" y="582"/>
                    <a:pt x="902" y="575"/>
                  </a:cubicBezTo>
                  <a:cubicBezTo>
                    <a:pt x="886" y="575"/>
                    <a:pt x="886" y="575"/>
                    <a:pt x="886" y="575"/>
                  </a:cubicBezTo>
                  <a:cubicBezTo>
                    <a:pt x="891" y="577"/>
                    <a:pt x="895" y="579"/>
                    <a:pt x="899" y="581"/>
                  </a:cubicBezTo>
                  <a:cubicBezTo>
                    <a:pt x="913" y="587"/>
                    <a:pt x="926" y="592"/>
                    <a:pt x="940" y="596"/>
                  </a:cubicBezTo>
                  <a:cubicBezTo>
                    <a:pt x="941" y="596"/>
                    <a:pt x="942" y="596"/>
                    <a:pt x="943" y="596"/>
                  </a:cubicBezTo>
                  <a:cubicBezTo>
                    <a:pt x="944" y="596"/>
                    <a:pt x="944" y="597"/>
                    <a:pt x="944" y="598"/>
                  </a:cubicBezTo>
                  <a:cubicBezTo>
                    <a:pt x="947" y="599"/>
                    <a:pt x="951" y="600"/>
                    <a:pt x="954" y="600"/>
                  </a:cubicBezTo>
                  <a:cubicBezTo>
                    <a:pt x="956" y="600"/>
                    <a:pt x="958" y="599"/>
                    <a:pt x="960" y="600"/>
                  </a:cubicBezTo>
                  <a:cubicBezTo>
                    <a:pt x="959" y="598"/>
                    <a:pt x="957" y="596"/>
                    <a:pt x="955" y="595"/>
                  </a:cubicBezTo>
                  <a:cubicBezTo>
                    <a:pt x="954" y="596"/>
                    <a:pt x="953" y="598"/>
                    <a:pt x="949" y="598"/>
                  </a:cubicBezTo>
                  <a:cubicBezTo>
                    <a:pt x="949" y="597"/>
                    <a:pt x="948" y="595"/>
                    <a:pt x="949" y="593"/>
                  </a:cubicBezTo>
                  <a:cubicBezTo>
                    <a:pt x="949" y="592"/>
                    <a:pt x="950" y="592"/>
                    <a:pt x="950" y="592"/>
                  </a:cubicBezTo>
                  <a:cubicBezTo>
                    <a:pt x="947" y="566"/>
                    <a:pt x="950" y="567"/>
                    <a:pt x="953" y="568"/>
                  </a:cubicBezTo>
                  <a:cubicBezTo>
                    <a:pt x="954" y="567"/>
                    <a:pt x="956" y="566"/>
                    <a:pt x="957" y="567"/>
                  </a:cubicBezTo>
                  <a:cubicBezTo>
                    <a:pt x="959" y="566"/>
                    <a:pt x="961" y="566"/>
                    <a:pt x="963" y="566"/>
                  </a:cubicBezTo>
                  <a:cubicBezTo>
                    <a:pt x="964" y="566"/>
                    <a:pt x="964" y="565"/>
                    <a:pt x="964" y="564"/>
                  </a:cubicBezTo>
                  <a:cubicBezTo>
                    <a:pt x="958" y="562"/>
                    <a:pt x="952" y="561"/>
                    <a:pt x="946" y="559"/>
                  </a:cubicBezTo>
                  <a:cubicBezTo>
                    <a:pt x="946" y="561"/>
                    <a:pt x="948" y="561"/>
                    <a:pt x="948" y="564"/>
                  </a:cubicBezTo>
                  <a:cubicBezTo>
                    <a:pt x="947" y="565"/>
                    <a:pt x="946" y="565"/>
                    <a:pt x="945" y="565"/>
                  </a:cubicBezTo>
                  <a:cubicBezTo>
                    <a:pt x="976" y="657"/>
                    <a:pt x="953" y="648"/>
                    <a:pt x="931" y="639"/>
                  </a:cubicBezTo>
                  <a:cubicBezTo>
                    <a:pt x="930" y="641"/>
                    <a:pt x="929" y="643"/>
                    <a:pt x="927" y="644"/>
                  </a:cubicBezTo>
                  <a:cubicBezTo>
                    <a:pt x="952" y="655"/>
                    <a:pt x="976" y="664"/>
                    <a:pt x="1002" y="671"/>
                  </a:cubicBezTo>
                  <a:cubicBezTo>
                    <a:pt x="1001" y="668"/>
                    <a:pt x="1000" y="666"/>
                    <a:pt x="999" y="663"/>
                  </a:cubicBezTo>
                  <a:cubicBezTo>
                    <a:pt x="909" y="474"/>
                    <a:pt x="927" y="480"/>
                    <a:pt x="946" y="485"/>
                  </a:cubicBezTo>
                  <a:cubicBezTo>
                    <a:pt x="948" y="485"/>
                    <a:pt x="948" y="485"/>
                    <a:pt x="948" y="485"/>
                  </a:cubicBezTo>
                  <a:cubicBezTo>
                    <a:pt x="951" y="484"/>
                    <a:pt x="951" y="479"/>
                    <a:pt x="947" y="479"/>
                  </a:cubicBezTo>
                  <a:cubicBezTo>
                    <a:pt x="935" y="475"/>
                    <a:pt x="923" y="472"/>
                    <a:pt x="912" y="468"/>
                  </a:cubicBezTo>
                  <a:cubicBezTo>
                    <a:pt x="872" y="647"/>
                    <a:pt x="872" y="647"/>
                    <a:pt x="872" y="647"/>
                  </a:cubicBezTo>
                  <a:cubicBezTo>
                    <a:pt x="884" y="653"/>
                    <a:pt x="897" y="659"/>
                    <a:pt x="910" y="665"/>
                  </a:cubicBezTo>
                  <a:cubicBezTo>
                    <a:pt x="910" y="664"/>
                    <a:pt x="910" y="664"/>
                    <a:pt x="910" y="664"/>
                  </a:cubicBezTo>
                  <a:cubicBezTo>
                    <a:pt x="922" y="663"/>
                    <a:pt x="922" y="663"/>
                    <a:pt x="922" y="663"/>
                  </a:cubicBezTo>
                  <a:cubicBezTo>
                    <a:pt x="910" y="658"/>
                    <a:pt x="898" y="652"/>
                    <a:pt x="886" y="646"/>
                  </a:cubicBezTo>
                  <a:cubicBezTo>
                    <a:pt x="959" y="542"/>
                    <a:pt x="973" y="545"/>
                    <a:pt x="986" y="547"/>
                  </a:cubicBezTo>
                  <a:cubicBezTo>
                    <a:pt x="990" y="547"/>
                    <a:pt x="991" y="541"/>
                    <a:pt x="987" y="540"/>
                  </a:cubicBezTo>
                  <a:cubicBezTo>
                    <a:pt x="984" y="540"/>
                    <a:pt x="981" y="539"/>
                    <a:pt x="979" y="539"/>
                  </a:cubicBezTo>
                  <a:cubicBezTo>
                    <a:pt x="932" y="535"/>
                    <a:pt x="932" y="535"/>
                    <a:pt x="932" y="535"/>
                  </a:cubicBezTo>
                  <a:cubicBezTo>
                    <a:pt x="932" y="535"/>
                    <a:pt x="932" y="535"/>
                    <a:pt x="932" y="535"/>
                  </a:cubicBezTo>
                  <a:cubicBezTo>
                    <a:pt x="932" y="535"/>
                    <a:pt x="932" y="535"/>
                    <a:pt x="933" y="535"/>
                  </a:cubicBezTo>
                  <a:cubicBezTo>
                    <a:pt x="933" y="535"/>
                    <a:pt x="933" y="535"/>
                    <a:pt x="933" y="535"/>
                  </a:cubicBezTo>
                  <a:cubicBezTo>
                    <a:pt x="147" y="675"/>
                    <a:pt x="145" y="674"/>
                    <a:pt x="142" y="673"/>
                  </a:cubicBezTo>
                  <a:cubicBezTo>
                    <a:pt x="140" y="675"/>
                    <a:pt x="139" y="678"/>
                    <a:pt x="138" y="680"/>
                  </a:cubicBezTo>
                  <a:cubicBezTo>
                    <a:pt x="140" y="681"/>
                    <a:pt x="141" y="682"/>
                    <a:pt x="144" y="679"/>
                  </a:cubicBezTo>
                  <a:cubicBezTo>
                    <a:pt x="144" y="680"/>
                    <a:pt x="145" y="681"/>
                    <a:pt x="146" y="682"/>
                  </a:cubicBezTo>
                  <a:cubicBezTo>
                    <a:pt x="146" y="681"/>
                    <a:pt x="147" y="680"/>
                    <a:pt x="148" y="678"/>
                  </a:cubicBezTo>
                  <a:cubicBezTo>
                    <a:pt x="156" y="538"/>
                    <a:pt x="156" y="538"/>
                    <a:pt x="156" y="538"/>
                  </a:cubicBezTo>
                  <a:cubicBezTo>
                    <a:pt x="156" y="538"/>
                    <a:pt x="157" y="537"/>
                    <a:pt x="157" y="537"/>
                  </a:cubicBezTo>
                  <a:cubicBezTo>
                    <a:pt x="156" y="537"/>
                    <a:pt x="156" y="537"/>
                    <a:pt x="156" y="537"/>
                  </a:cubicBezTo>
                  <a:cubicBezTo>
                    <a:pt x="65" y="805"/>
                    <a:pt x="66" y="801"/>
                    <a:pt x="67" y="796"/>
                  </a:cubicBezTo>
                  <a:cubicBezTo>
                    <a:pt x="61" y="796"/>
                    <a:pt x="61" y="796"/>
                    <a:pt x="61" y="796"/>
                  </a:cubicBezTo>
                  <a:cubicBezTo>
                    <a:pt x="61" y="796"/>
                    <a:pt x="61" y="795"/>
                    <a:pt x="61" y="795"/>
                  </a:cubicBezTo>
                  <a:cubicBezTo>
                    <a:pt x="61" y="795"/>
                    <a:pt x="61" y="795"/>
                    <a:pt x="60" y="794"/>
                  </a:cubicBezTo>
                  <a:cubicBezTo>
                    <a:pt x="59" y="799"/>
                    <a:pt x="58" y="804"/>
                    <a:pt x="57" y="809"/>
                  </a:cubicBezTo>
                  <a:cubicBezTo>
                    <a:pt x="56" y="813"/>
                    <a:pt x="63" y="814"/>
                    <a:pt x="64" y="810"/>
                  </a:cubicBezTo>
                  <a:cubicBezTo>
                    <a:pt x="104" y="687"/>
                    <a:pt x="104" y="687"/>
                    <a:pt x="104" y="687"/>
                  </a:cubicBezTo>
                  <a:cubicBezTo>
                    <a:pt x="104" y="687"/>
                    <a:pt x="105" y="686"/>
                    <a:pt x="105" y="686"/>
                  </a:cubicBezTo>
                  <a:cubicBezTo>
                    <a:pt x="105" y="686"/>
                    <a:pt x="104" y="686"/>
                    <a:pt x="104" y="686"/>
                  </a:cubicBezTo>
                  <a:cubicBezTo>
                    <a:pt x="121" y="644"/>
                    <a:pt x="120" y="643"/>
                    <a:pt x="119" y="642"/>
                  </a:cubicBezTo>
                  <a:cubicBezTo>
                    <a:pt x="117" y="645"/>
                    <a:pt x="116" y="648"/>
                    <a:pt x="115" y="650"/>
                  </a:cubicBezTo>
                  <a:cubicBezTo>
                    <a:pt x="116" y="650"/>
                    <a:pt x="118" y="651"/>
                    <a:pt x="119" y="651"/>
                  </a:cubicBezTo>
                  <a:cubicBezTo>
                    <a:pt x="118" y="648"/>
                    <a:pt x="118" y="646"/>
                    <a:pt x="122" y="645"/>
                  </a:cubicBezTo>
                  <a:cubicBezTo>
                    <a:pt x="129" y="565"/>
                    <a:pt x="130" y="565"/>
                    <a:pt x="130" y="565"/>
                  </a:cubicBezTo>
                  <a:cubicBezTo>
                    <a:pt x="130" y="565"/>
                    <a:pt x="130" y="564"/>
                    <a:pt x="129" y="563"/>
                  </a:cubicBezTo>
                  <a:cubicBezTo>
                    <a:pt x="137" y="563"/>
                    <a:pt x="137" y="563"/>
                    <a:pt x="137" y="563"/>
                  </a:cubicBezTo>
                  <a:cubicBezTo>
                    <a:pt x="142" y="557"/>
                    <a:pt x="146" y="552"/>
                    <a:pt x="150" y="546"/>
                  </a:cubicBezTo>
                  <a:cubicBezTo>
                    <a:pt x="145" y="546"/>
                    <a:pt x="145" y="546"/>
                    <a:pt x="145" y="546"/>
                  </a:cubicBezTo>
                  <a:cubicBezTo>
                    <a:pt x="145" y="546"/>
                    <a:pt x="145" y="545"/>
                    <a:pt x="145" y="545"/>
                  </a:cubicBezTo>
                  <a:cubicBezTo>
                    <a:pt x="144" y="545"/>
                    <a:pt x="143" y="546"/>
                    <a:pt x="143" y="546"/>
                  </a:cubicBezTo>
                  <a:cubicBezTo>
                    <a:pt x="141" y="546"/>
                    <a:pt x="141" y="546"/>
                    <a:pt x="141" y="546"/>
                  </a:cubicBezTo>
                  <a:cubicBezTo>
                    <a:pt x="137" y="552"/>
                    <a:pt x="133" y="559"/>
                    <a:pt x="128" y="565"/>
                  </a:cubicBezTo>
                  <a:cubicBezTo>
                    <a:pt x="128" y="565"/>
                    <a:pt x="128" y="565"/>
                    <a:pt x="128" y="565"/>
                  </a:cubicBezTo>
                  <a:cubicBezTo>
                    <a:pt x="230" y="494"/>
                    <a:pt x="230" y="494"/>
                    <a:pt x="230" y="493"/>
                  </a:cubicBezTo>
                  <a:cubicBezTo>
                    <a:pt x="230" y="494"/>
                    <a:pt x="230" y="494"/>
                    <a:pt x="230" y="494"/>
                  </a:cubicBezTo>
                  <a:cubicBezTo>
                    <a:pt x="230" y="494"/>
                    <a:pt x="230" y="494"/>
                    <a:pt x="230" y="494"/>
                  </a:cubicBezTo>
                  <a:cubicBezTo>
                    <a:pt x="205" y="521"/>
                    <a:pt x="210" y="515"/>
                    <a:pt x="215" y="509"/>
                  </a:cubicBezTo>
                  <a:cubicBezTo>
                    <a:pt x="215" y="508"/>
                    <a:pt x="215" y="508"/>
                    <a:pt x="215" y="508"/>
                  </a:cubicBezTo>
                  <a:cubicBezTo>
                    <a:pt x="214" y="507"/>
                    <a:pt x="213" y="508"/>
                    <a:pt x="213" y="509"/>
                  </a:cubicBezTo>
                  <a:cubicBezTo>
                    <a:pt x="211" y="509"/>
                    <a:pt x="211" y="508"/>
                    <a:pt x="209" y="508"/>
                  </a:cubicBezTo>
                  <a:cubicBezTo>
                    <a:pt x="209" y="509"/>
                    <a:pt x="209" y="509"/>
                    <a:pt x="209" y="510"/>
                  </a:cubicBezTo>
                  <a:cubicBezTo>
                    <a:pt x="205" y="510"/>
                    <a:pt x="205" y="510"/>
                    <a:pt x="205" y="510"/>
                  </a:cubicBezTo>
                  <a:cubicBezTo>
                    <a:pt x="200" y="515"/>
                    <a:pt x="196" y="521"/>
                    <a:pt x="191" y="527"/>
                  </a:cubicBezTo>
                  <a:cubicBezTo>
                    <a:pt x="193" y="530"/>
                    <a:pt x="193" y="531"/>
                    <a:pt x="193" y="532"/>
                  </a:cubicBezTo>
                  <a:cubicBezTo>
                    <a:pt x="191" y="532"/>
                    <a:pt x="190" y="532"/>
                    <a:pt x="188" y="532"/>
                  </a:cubicBezTo>
                  <a:cubicBezTo>
                    <a:pt x="188" y="532"/>
                    <a:pt x="188" y="531"/>
                    <a:pt x="188" y="531"/>
                  </a:cubicBezTo>
                  <a:cubicBezTo>
                    <a:pt x="186" y="534"/>
                    <a:pt x="184" y="536"/>
                    <a:pt x="182" y="538"/>
                  </a:cubicBezTo>
                  <a:cubicBezTo>
                    <a:pt x="185" y="540"/>
                    <a:pt x="182" y="543"/>
                    <a:pt x="187" y="543"/>
                  </a:cubicBezTo>
                  <a:cubicBezTo>
                    <a:pt x="190" y="539"/>
                    <a:pt x="193" y="536"/>
                    <a:pt x="196" y="532"/>
                  </a:cubicBezTo>
                  <a:cubicBezTo>
                    <a:pt x="195" y="531"/>
                    <a:pt x="194" y="531"/>
                    <a:pt x="193" y="529"/>
                  </a:cubicBezTo>
                  <a:cubicBezTo>
                    <a:pt x="270" y="501"/>
                    <a:pt x="271" y="501"/>
                    <a:pt x="271" y="501"/>
                  </a:cubicBezTo>
                  <a:cubicBezTo>
                    <a:pt x="271" y="501"/>
                    <a:pt x="271" y="501"/>
                    <a:pt x="271" y="500"/>
                  </a:cubicBezTo>
                  <a:cubicBezTo>
                    <a:pt x="271" y="501"/>
                    <a:pt x="270" y="501"/>
                    <a:pt x="270" y="501"/>
                  </a:cubicBezTo>
                  <a:cubicBezTo>
                    <a:pt x="75" y="600"/>
                    <a:pt x="75" y="600"/>
                    <a:pt x="75" y="600"/>
                  </a:cubicBezTo>
                  <a:cubicBezTo>
                    <a:pt x="80" y="590"/>
                    <a:pt x="86" y="581"/>
                    <a:pt x="92" y="573"/>
                  </a:cubicBezTo>
                  <a:cubicBezTo>
                    <a:pt x="90" y="572"/>
                    <a:pt x="89" y="571"/>
                    <a:pt x="86" y="571"/>
                  </a:cubicBezTo>
                  <a:cubicBezTo>
                    <a:pt x="86" y="571"/>
                    <a:pt x="86" y="572"/>
                    <a:pt x="86" y="572"/>
                  </a:cubicBezTo>
                  <a:cubicBezTo>
                    <a:pt x="86" y="573"/>
                    <a:pt x="88" y="573"/>
                    <a:pt x="88" y="575"/>
                  </a:cubicBezTo>
                  <a:cubicBezTo>
                    <a:pt x="85" y="576"/>
                    <a:pt x="85" y="579"/>
                    <a:pt x="85" y="582"/>
                  </a:cubicBezTo>
                  <a:cubicBezTo>
                    <a:pt x="79" y="582"/>
                    <a:pt x="79" y="582"/>
                    <a:pt x="79" y="582"/>
                  </a:cubicBezTo>
                  <a:cubicBezTo>
                    <a:pt x="76" y="587"/>
                    <a:pt x="74" y="592"/>
                    <a:pt x="71" y="596"/>
                  </a:cubicBezTo>
                  <a:cubicBezTo>
                    <a:pt x="70" y="597"/>
                    <a:pt x="70" y="599"/>
                    <a:pt x="69" y="600"/>
                  </a:cubicBezTo>
                  <a:cubicBezTo>
                    <a:pt x="68" y="601"/>
                    <a:pt x="68" y="601"/>
                    <a:pt x="68" y="601"/>
                  </a:cubicBezTo>
                  <a:cubicBezTo>
                    <a:pt x="68" y="601"/>
                    <a:pt x="68" y="601"/>
                    <a:pt x="68" y="601"/>
                  </a:cubicBezTo>
                  <a:cubicBezTo>
                    <a:pt x="68" y="601"/>
                    <a:pt x="68" y="601"/>
                    <a:pt x="68" y="601"/>
                  </a:cubicBezTo>
                  <a:cubicBezTo>
                    <a:pt x="83" y="648"/>
                    <a:pt x="86" y="649"/>
                    <a:pt x="88" y="648"/>
                  </a:cubicBezTo>
                  <a:cubicBezTo>
                    <a:pt x="88" y="648"/>
                    <a:pt x="88" y="647"/>
                    <a:pt x="89" y="646"/>
                  </a:cubicBezTo>
                  <a:cubicBezTo>
                    <a:pt x="87" y="646"/>
                    <a:pt x="85" y="645"/>
                    <a:pt x="82" y="646"/>
                  </a:cubicBezTo>
                  <a:cubicBezTo>
                    <a:pt x="82" y="640"/>
                    <a:pt x="87" y="641"/>
                    <a:pt x="89" y="638"/>
                  </a:cubicBezTo>
                  <a:cubicBezTo>
                    <a:pt x="88" y="637"/>
                    <a:pt x="88" y="637"/>
                    <a:pt x="87" y="637"/>
                  </a:cubicBezTo>
                  <a:cubicBezTo>
                    <a:pt x="87" y="637"/>
                    <a:pt x="86" y="637"/>
                    <a:pt x="85" y="637"/>
                  </a:cubicBezTo>
                  <a:cubicBezTo>
                    <a:pt x="85" y="637"/>
                    <a:pt x="85" y="636"/>
                    <a:pt x="85" y="636"/>
                  </a:cubicBezTo>
                  <a:cubicBezTo>
                    <a:pt x="83" y="640"/>
                    <a:pt x="82" y="644"/>
                    <a:pt x="80" y="648"/>
                  </a:cubicBezTo>
                  <a:cubicBezTo>
                    <a:pt x="81" y="649"/>
                    <a:pt x="81" y="651"/>
                    <a:pt x="84" y="652"/>
                  </a:cubicBezTo>
                  <a:cubicBezTo>
                    <a:pt x="136" y="565"/>
                    <a:pt x="136" y="565"/>
                    <a:pt x="136" y="565"/>
                  </a:cubicBezTo>
                  <a:cubicBezTo>
                    <a:pt x="134" y="565"/>
                    <a:pt x="133" y="566"/>
                    <a:pt x="132" y="567"/>
                  </a:cubicBezTo>
                  <a:cubicBezTo>
                    <a:pt x="133" y="568"/>
                    <a:pt x="133" y="569"/>
                    <a:pt x="133" y="570"/>
                  </a:cubicBezTo>
                  <a:cubicBezTo>
                    <a:pt x="134" y="568"/>
                    <a:pt x="135" y="566"/>
                    <a:pt x="137" y="565"/>
                  </a:cubicBezTo>
                  <a:cubicBezTo>
                    <a:pt x="103" y="604"/>
                    <a:pt x="101" y="608"/>
                    <a:pt x="99" y="612"/>
                  </a:cubicBezTo>
                  <a:cubicBezTo>
                    <a:pt x="103" y="612"/>
                    <a:pt x="103" y="613"/>
                    <a:pt x="104" y="610"/>
                  </a:cubicBezTo>
                  <a:cubicBezTo>
                    <a:pt x="106" y="610"/>
                    <a:pt x="107" y="611"/>
                    <a:pt x="107" y="612"/>
                  </a:cubicBezTo>
                  <a:cubicBezTo>
                    <a:pt x="108" y="610"/>
                    <a:pt x="109" y="609"/>
                    <a:pt x="109" y="608"/>
                  </a:cubicBezTo>
                  <a:cubicBezTo>
                    <a:pt x="108" y="605"/>
                    <a:pt x="107" y="603"/>
                    <a:pt x="106" y="600"/>
                  </a:cubicBezTo>
                  <a:cubicBezTo>
                    <a:pt x="71" y="607"/>
                    <a:pt x="71" y="606"/>
                    <a:pt x="72" y="606"/>
                  </a:cubicBezTo>
                  <a:cubicBezTo>
                    <a:pt x="71" y="606"/>
                    <a:pt x="70" y="606"/>
                    <a:pt x="70" y="607"/>
                  </a:cubicBezTo>
                  <a:cubicBezTo>
                    <a:pt x="70" y="607"/>
                    <a:pt x="71" y="607"/>
                    <a:pt x="71" y="607"/>
                  </a:cubicBezTo>
                  <a:cubicBezTo>
                    <a:pt x="794" y="852"/>
                    <a:pt x="795" y="849"/>
                    <a:pt x="797" y="849"/>
                  </a:cubicBezTo>
                  <a:cubicBezTo>
                    <a:pt x="796" y="848"/>
                    <a:pt x="796" y="847"/>
                    <a:pt x="795" y="847"/>
                  </a:cubicBezTo>
                  <a:cubicBezTo>
                    <a:pt x="791" y="846"/>
                    <a:pt x="787" y="845"/>
                    <a:pt x="783" y="844"/>
                  </a:cubicBezTo>
                  <a:cubicBezTo>
                    <a:pt x="784" y="846"/>
                    <a:pt x="786" y="848"/>
                    <a:pt x="785" y="851"/>
                  </a:cubicBezTo>
                  <a:cubicBezTo>
                    <a:pt x="788" y="852"/>
                    <a:pt x="791" y="853"/>
                    <a:pt x="795" y="853"/>
                  </a:cubicBezTo>
                  <a:cubicBezTo>
                    <a:pt x="127" y="575"/>
                    <a:pt x="128" y="575"/>
                    <a:pt x="129" y="575"/>
                  </a:cubicBezTo>
                  <a:cubicBezTo>
                    <a:pt x="130" y="574"/>
                    <a:pt x="131" y="574"/>
                    <a:pt x="131" y="573"/>
                  </a:cubicBezTo>
                  <a:cubicBezTo>
                    <a:pt x="128" y="573"/>
                    <a:pt x="125" y="572"/>
                    <a:pt x="124" y="573"/>
                  </a:cubicBezTo>
                  <a:cubicBezTo>
                    <a:pt x="125" y="573"/>
                    <a:pt x="124" y="576"/>
                    <a:pt x="126" y="576"/>
                  </a:cubicBezTo>
                  <a:cubicBezTo>
                    <a:pt x="185" y="494"/>
                    <a:pt x="185" y="493"/>
                    <a:pt x="184" y="492"/>
                  </a:cubicBezTo>
                  <a:cubicBezTo>
                    <a:pt x="183" y="493"/>
                    <a:pt x="183" y="494"/>
                    <a:pt x="182" y="494"/>
                  </a:cubicBezTo>
                  <a:cubicBezTo>
                    <a:pt x="183" y="495"/>
                    <a:pt x="184" y="496"/>
                    <a:pt x="185" y="495"/>
                  </a:cubicBezTo>
                  <a:cubicBezTo>
                    <a:pt x="145" y="492"/>
                    <a:pt x="145" y="493"/>
                    <a:pt x="145" y="493"/>
                  </a:cubicBezTo>
                  <a:cubicBezTo>
                    <a:pt x="148" y="494"/>
                    <a:pt x="149" y="493"/>
                    <a:pt x="151" y="493"/>
                  </a:cubicBezTo>
                  <a:cubicBezTo>
                    <a:pt x="151" y="493"/>
                    <a:pt x="151" y="493"/>
                    <a:pt x="151" y="493"/>
                  </a:cubicBezTo>
                  <a:cubicBezTo>
                    <a:pt x="157" y="486"/>
                    <a:pt x="164" y="479"/>
                    <a:pt x="170" y="473"/>
                  </a:cubicBezTo>
                  <a:cubicBezTo>
                    <a:pt x="168" y="474"/>
                    <a:pt x="165" y="473"/>
                    <a:pt x="164" y="474"/>
                  </a:cubicBezTo>
                  <a:cubicBezTo>
                    <a:pt x="163" y="474"/>
                    <a:pt x="163" y="474"/>
                    <a:pt x="163" y="474"/>
                  </a:cubicBezTo>
                  <a:cubicBezTo>
                    <a:pt x="162" y="474"/>
                    <a:pt x="162" y="473"/>
                    <a:pt x="161" y="473"/>
                  </a:cubicBezTo>
                  <a:cubicBezTo>
                    <a:pt x="155" y="479"/>
                    <a:pt x="149" y="485"/>
                    <a:pt x="144" y="492"/>
                  </a:cubicBezTo>
                  <a:cubicBezTo>
                    <a:pt x="253" y="527"/>
                    <a:pt x="253" y="527"/>
                    <a:pt x="253" y="527"/>
                  </a:cubicBezTo>
                  <a:cubicBezTo>
                    <a:pt x="259" y="521"/>
                    <a:pt x="265" y="515"/>
                    <a:pt x="271" y="509"/>
                  </a:cubicBezTo>
                  <a:cubicBezTo>
                    <a:pt x="261" y="509"/>
                    <a:pt x="261" y="509"/>
                    <a:pt x="261" y="509"/>
                  </a:cubicBezTo>
                  <a:cubicBezTo>
                    <a:pt x="255" y="515"/>
                    <a:pt x="249" y="521"/>
                    <a:pt x="243" y="527"/>
                  </a:cubicBezTo>
                  <a:cubicBezTo>
                    <a:pt x="161" y="575"/>
                    <a:pt x="163" y="575"/>
                    <a:pt x="165" y="576"/>
                  </a:cubicBezTo>
                  <a:cubicBezTo>
                    <a:pt x="166" y="574"/>
                    <a:pt x="167" y="572"/>
                    <a:pt x="168" y="570"/>
                  </a:cubicBezTo>
                  <a:cubicBezTo>
                    <a:pt x="166" y="569"/>
                    <a:pt x="164" y="567"/>
                    <a:pt x="163" y="565"/>
                  </a:cubicBezTo>
                  <a:cubicBezTo>
                    <a:pt x="162" y="567"/>
                    <a:pt x="161" y="569"/>
                    <a:pt x="160" y="571"/>
                  </a:cubicBezTo>
                  <a:cubicBezTo>
                    <a:pt x="160" y="572"/>
                    <a:pt x="159" y="573"/>
                    <a:pt x="159" y="575"/>
                  </a:cubicBezTo>
                  <a:cubicBezTo>
                    <a:pt x="167" y="467"/>
                    <a:pt x="167" y="467"/>
                    <a:pt x="167" y="466"/>
                  </a:cubicBezTo>
                  <a:cubicBezTo>
                    <a:pt x="167" y="467"/>
                    <a:pt x="167" y="467"/>
                    <a:pt x="167" y="467"/>
                  </a:cubicBezTo>
                  <a:cubicBezTo>
                    <a:pt x="167" y="467"/>
                    <a:pt x="167" y="467"/>
                    <a:pt x="167" y="467"/>
                  </a:cubicBezTo>
                  <a:cubicBezTo>
                    <a:pt x="62" y="788"/>
                    <a:pt x="62" y="788"/>
                    <a:pt x="62" y="788"/>
                  </a:cubicBezTo>
                  <a:cubicBezTo>
                    <a:pt x="62" y="788"/>
                    <a:pt x="62" y="788"/>
                    <a:pt x="62" y="788"/>
                  </a:cubicBezTo>
                  <a:cubicBezTo>
                    <a:pt x="62" y="788"/>
                    <a:pt x="62" y="788"/>
                    <a:pt x="62" y="788"/>
                  </a:cubicBezTo>
                  <a:cubicBezTo>
                    <a:pt x="162" y="531"/>
                    <a:pt x="162" y="530"/>
                    <a:pt x="162" y="530"/>
                  </a:cubicBezTo>
                  <a:cubicBezTo>
                    <a:pt x="161" y="530"/>
                    <a:pt x="161" y="530"/>
                    <a:pt x="160" y="529"/>
                  </a:cubicBezTo>
                  <a:cubicBezTo>
                    <a:pt x="160" y="530"/>
                    <a:pt x="161" y="530"/>
                    <a:pt x="161" y="531"/>
                  </a:cubicBezTo>
                  <a:cubicBezTo>
                    <a:pt x="12" y="533"/>
                    <a:pt x="10" y="533"/>
                    <a:pt x="9" y="530"/>
                  </a:cubicBezTo>
                  <a:cubicBezTo>
                    <a:pt x="9" y="530"/>
                    <a:pt x="9" y="531"/>
                    <a:pt x="9" y="531"/>
                  </a:cubicBezTo>
                  <a:cubicBezTo>
                    <a:pt x="8" y="532"/>
                    <a:pt x="8" y="533"/>
                    <a:pt x="8" y="534"/>
                  </a:cubicBezTo>
                  <a:cubicBezTo>
                    <a:pt x="9" y="533"/>
                    <a:pt x="10" y="535"/>
                    <a:pt x="13" y="535"/>
                  </a:cubicBezTo>
                  <a:cubicBezTo>
                    <a:pt x="37" y="677"/>
                    <a:pt x="38" y="675"/>
                    <a:pt x="39" y="673"/>
                  </a:cubicBezTo>
                  <a:cubicBezTo>
                    <a:pt x="39" y="673"/>
                    <a:pt x="39" y="672"/>
                    <a:pt x="39" y="671"/>
                  </a:cubicBezTo>
                  <a:cubicBezTo>
                    <a:pt x="40" y="671"/>
                    <a:pt x="40" y="671"/>
                    <a:pt x="40" y="671"/>
                  </a:cubicBezTo>
                  <a:cubicBezTo>
                    <a:pt x="42" y="665"/>
                    <a:pt x="45" y="660"/>
                    <a:pt x="48" y="654"/>
                  </a:cubicBezTo>
                  <a:cubicBezTo>
                    <a:pt x="47" y="654"/>
                    <a:pt x="47" y="654"/>
                    <a:pt x="47" y="654"/>
                  </a:cubicBezTo>
                  <a:cubicBezTo>
                    <a:pt x="47" y="650"/>
                    <a:pt x="46" y="646"/>
                    <a:pt x="46" y="642"/>
                  </a:cubicBezTo>
                  <a:cubicBezTo>
                    <a:pt x="46" y="642"/>
                    <a:pt x="46" y="642"/>
                    <a:pt x="46" y="642"/>
                  </a:cubicBezTo>
                  <a:cubicBezTo>
                    <a:pt x="45" y="645"/>
                    <a:pt x="44" y="647"/>
                    <a:pt x="43" y="649"/>
                  </a:cubicBezTo>
                  <a:cubicBezTo>
                    <a:pt x="43" y="650"/>
                    <a:pt x="42" y="651"/>
                    <a:pt x="42" y="651"/>
                  </a:cubicBezTo>
                  <a:cubicBezTo>
                    <a:pt x="42" y="651"/>
                    <a:pt x="42" y="651"/>
                    <a:pt x="42" y="651"/>
                  </a:cubicBezTo>
                  <a:cubicBezTo>
                    <a:pt x="39" y="658"/>
                    <a:pt x="36" y="664"/>
                    <a:pt x="33" y="671"/>
                  </a:cubicBezTo>
                  <a:cubicBezTo>
                    <a:pt x="37" y="671"/>
                    <a:pt x="37" y="671"/>
                    <a:pt x="37" y="671"/>
                  </a:cubicBezTo>
                  <a:cubicBezTo>
                    <a:pt x="37" y="674"/>
                    <a:pt x="37" y="676"/>
                    <a:pt x="37" y="679"/>
                  </a:cubicBezTo>
                  <a:cubicBezTo>
                    <a:pt x="93" y="564"/>
                    <a:pt x="92" y="564"/>
                    <a:pt x="92" y="565"/>
                  </a:cubicBezTo>
                  <a:cubicBezTo>
                    <a:pt x="94" y="565"/>
                    <a:pt x="95" y="566"/>
                    <a:pt x="95" y="566"/>
                  </a:cubicBezTo>
                  <a:cubicBezTo>
                    <a:pt x="100" y="560"/>
                    <a:pt x="104" y="553"/>
                    <a:pt x="109" y="546"/>
                  </a:cubicBezTo>
                  <a:cubicBezTo>
                    <a:pt x="102" y="546"/>
                    <a:pt x="102" y="546"/>
                    <a:pt x="102" y="546"/>
                  </a:cubicBezTo>
                  <a:cubicBezTo>
                    <a:pt x="98" y="552"/>
                    <a:pt x="95" y="558"/>
                    <a:pt x="91" y="564"/>
                  </a:cubicBezTo>
                  <a:cubicBezTo>
                    <a:pt x="137" y="508"/>
                    <a:pt x="138" y="508"/>
                    <a:pt x="138" y="508"/>
                  </a:cubicBezTo>
                  <a:cubicBezTo>
                    <a:pt x="139" y="507"/>
                    <a:pt x="141" y="505"/>
                    <a:pt x="142" y="503"/>
                  </a:cubicBezTo>
                  <a:cubicBezTo>
                    <a:pt x="142" y="501"/>
                    <a:pt x="142" y="500"/>
                    <a:pt x="143" y="498"/>
                  </a:cubicBezTo>
                  <a:cubicBezTo>
                    <a:pt x="135" y="498"/>
                    <a:pt x="141" y="506"/>
                    <a:pt x="137" y="508"/>
                  </a:cubicBezTo>
                  <a:cubicBezTo>
                    <a:pt x="28" y="626"/>
                    <a:pt x="30" y="622"/>
                    <a:pt x="33" y="618"/>
                  </a:cubicBezTo>
                  <a:cubicBezTo>
                    <a:pt x="27" y="618"/>
                    <a:pt x="27" y="618"/>
                    <a:pt x="27" y="618"/>
                  </a:cubicBezTo>
                  <a:cubicBezTo>
                    <a:pt x="26" y="618"/>
                    <a:pt x="26" y="617"/>
                    <a:pt x="25" y="617"/>
                  </a:cubicBezTo>
                  <a:cubicBezTo>
                    <a:pt x="24" y="621"/>
                    <a:pt x="22" y="624"/>
                    <a:pt x="20" y="628"/>
                  </a:cubicBezTo>
                  <a:cubicBezTo>
                    <a:pt x="18" y="632"/>
                    <a:pt x="24" y="634"/>
                    <a:pt x="26" y="630"/>
                  </a:cubicBezTo>
                  <a:cubicBezTo>
                    <a:pt x="51" y="646"/>
                    <a:pt x="51" y="646"/>
                    <a:pt x="52" y="645"/>
                  </a:cubicBezTo>
                  <a:cubicBezTo>
                    <a:pt x="51" y="644"/>
                    <a:pt x="51" y="644"/>
                    <a:pt x="52" y="643"/>
                  </a:cubicBezTo>
                  <a:cubicBezTo>
                    <a:pt x="52" y="643"/>
                    <a:pt x="52" y="643"/>
                    <a:pt x="53" y="643"/>
                  </a:cubicBezTo>
                  <a:cubicBezTo>
                    <a:pt x="54" y="641"/>
                    <a:pt x="54" y="639"/>
                    <a:pt x="55" y="638"/>
                  </a:cubicBezTo>
                  <a:cubicBezTo>
                    <a:pt x="55" y="638"/>
                    <a:pt x="54" y="637"/>
                    <a:pt x="54" y="637"/>
                  </a:cubicBezTo>
                  <a:cubicBezTo>
                    <a:pt x="54" y="637"/>
                    <a:pt x="55" y="636"/>
                    <a:pt x="55" y="635"/>
                  </a:cubicBezTo>
                  <a:cubicBezTo>
                    <a:pt x="56" y="635"/>
                    <a:pt x="56" y="635"/>
                    <a:pt x="56" y="635"/>
                  </a:cubicBezTo>
                  <a:cubicBezTo>
                    <a:pt x="60" y="628"/>
                    <a:pt x="63" y="621"/>
                    <a:pt x="67" y="615"/>
                  </a:cubicBezTo>
                  <a:cubicBezTo>
                    <a:pt x="66" y="612"/>
                    <a:pt x="66" y="609"/>
                    <a:pt x="65" y="607"/>
                  </a:cubicBezTo>
                  <a:cubicBezTo>
                    <a:pt x="64" y="608"/>
                    <a:pt x="64" y="609"/>
                    <a:pt x="63" y="611"/>
                  </a:cubicBezTo>
                  <a:cubicBezTo>
                    <a:pt x="62" y="613"/>
                    <a:pt x="61" y="616"/>
                    <a:pt x="63" y="618"/>
                  </a:cubicBezTo>
                  <a:cubicBezTo>
                    <a:pt x="59" y="618"/>
                    <a:pt x="59" y="618"/>
                    <a:pt x="59" y="618"/>
                  </a:cubicBezTo>
                  <a:cubicBezTo>
                    <a:pt x="55" y="625"/>
                    <a:pt x="51" y="632"/>
                    <a:pt x="47" y="640"/>
                  </a:cubicBezTo>
                  <a:cubicBezTo>
                    <a:pt x="49" y="642"/>
                    <a:pt x="50" y="644"/>
                    <a:pt x="51" y="647"/>
                  </a:cubicBezTo>
                  <a:cubicBezTo>
                    <a:pt x="117" y="742"/>
                    <a:pt x="117" y="742"/>
                    <a:pt x="117" y="742"/>
                  </a:cubicBezTo>
                  <a:cubicBezTo>
                    <a:pt x="120" y="735"/>
                    <a:pt x="124" y="728"/>
                    <a:pt x="127" y="721"/>
                  </a:cubicBezTo>
                  <a:cubicBezTo>
                    <a:pt x="124" y="721"/>
                    <a:pt x="122" y="722"/>
                    <a:pt x="121" y="723"/>
                  </a:cubicBezTo>
                  <a:cubicBezTo>
                    <a:pt x="121" y="723"/>
                    <a:pt x="121" y="724"/>
                    <a:pt x="121" y="724"/>
                  </a:cubicBezTo>
                  <a:cubicBezTo>
                    <a:pt x="117" y="724"/>
                    <a:pt x="117" y="724"/>
                    <a:pt x="117" y="724"/>
                  </a:cubicBezTo>
                  <a:cubicBezTo>
                    <a:pt x="114" y="730"/>
                    <a:pt x="112" y="736"/>
                    <a:pt x="109" y="742"/>
                  </a:cubicBezTo>
                  <a:cubicBezTo>
                    <a:pt x="127" y="640"/>
                    <a:pt x="128" y="639"/>
                    <a:pt x="129" y="638"/>
                  </a:cubicBezTo>
                  <a:cubicBezTo>
                    <a:pt x="126" y="638"/>
                    <a:pt x="124" y="638"/>
                    <a:pt x="122" y="637"/>
                  </a:cubicBezTo>
                  <a:cubicBezTo>
                    <a:pt x="122" y="636"/>
                    <a:pt x="122" y="636"/>
                    <a:pt x="122" y="636"/>
                  </a:cubicBezTo>
                  <a:cubicBezTo>
                    <a:pt x="122" y="636"/>
                    <a:pt x="122" y="636"/>
                    <a:pt x="121" y="637"/>
                  </a:cubicBezTo>
                  <a:cubicBezTo>
                    <a:pt x="124" y="638"/>
                    <a:pt x="124" y="642"/>
                    <a:pt x="124" y="643"/>
                  </a:cubicBezTo>
                  <a:cubicBezTo>
                    <a:pt x="124" y="642"/>
                    <a:pt x="125" y="641"/>
                    <a:pt x="127" y="641"/>
                  </a:cubicBezTo>
                  <a:cubicBezTo>
                    <a:pt x="92" y="717"/>
                    <a:pt x="92" y="717"/>
                    <a:pt x="92" y="718"/>
                  </a:cubicBezTo>
                  <a:cubicBezTo>
                    <a:pt x="92" y="718"/>
                    <a:pt x="92" y="718"/>
                    <a:pt x="92" y="718"/>
                  </a:cubicBezTo>
                  <a:cubicBezTo>
                    <a:pt x="92" y="717"/>
                    <a:pt x="92" y="717"/>
                    <a:pt x="92" y="717"/>
                  </a:cubicBezTo>
                  <a:cubicBezTo>
                    <a:pt x="416" y="501"/>
                    <a:pt x="417" y="501"/>
                    <a:pt x="417" y="502"/>
                  </a:cubicBezTo>
                  <a:cubicBezTo>
                    <a:pt x="417" y="501"/>
                    <a:pt x="417" y="501"/>
                    <a:pt x="417" y="500"/>
                  </a:cubicBezTo>
                  <a:cubicBezTo>
                    <a:pt x="417" y="500"/>
                    <a:pt x="416" y="501"/>
                    <a:pt x="415" y="501"/>
                  </a:cubicBezTo>
                  <a:cubicBezTo>
                    <a:pt x="795" y="622"/>
                    <a:pt x="783" y="615"/>
                    <a:pt x="771" y="608"/>
                  </a:cubicBezTo>
                  <a:cubicBezTo>
                    <a:pt x="770" y="609"/>
                    <a:pt x="770" y="610"/>
                    <a:pt x="769" y="612"/>
                  </a:cubicBezTo>
                  <a:cubicBezTo>
                    <a:pt x="769" y="612"/>
                    <a:pt x="769" y="612"/>
                    <a:pt x="769" y="612"/>
                  </a:cubicBezTo>
                  <a:cubicBezTo>
                    <a:pt x="769" y="612"/>
                    <a:pt x="770" y="612"/>
                    <a:pt x="770" y="612"/>
                  </a:cubicBezTo>
                  <a:cubicBezTo>
                    <a:pt x="764" y="612"/>
                    <a:pt x="764" y="612"/>
                    <a:pt x="764" y="612"/>
                  </a:cubicBezTo>
                  <a:cubicBezTo>
                    <a:pt x="764" y="612"/>
                    <a:pt x="764" y="612"/>
                    <a:pt x="764" y="612"/>
                  </a:cubicBezTo>
                  <a:cubicBezTo>
                    <a:pt x="764" y="612"/>
                    <a:pt x="764" y="612"/>
                    <a:pt x="764" y="612"/>
                  </a:cubicBezTo>
                  <a:cubicBezTo>
                    <a:pt x="763" y="612"/>
                    <a:pt x="763" y="612"/>
                    <a:pt x="763" y="612"/>
                  </a:cubicBezTo>
                  <a:cubicBezTo>
                    <a:pt x="773" y="617"/>
                    <a:pt x="784" y="623"/>
                    <a:pt x="794" y="629"/>
                  </a:cubicBezTo>
                  <a:cubicBezTo>
                    <a:pt x="884" y="601"/>
                    <a:pt x="884" y="601"/>
                    <a:pt x="884" y="601"/>
                  </a:cubicBezTo>
                  <a:cubicBezTo>
                    <a:pt x="885" y="600"/>
                    <a:pt x="886" y="599"/>
                    <a:pt x="887" y="598"/>
                  </a:cubicBezTo>
                  <a:cubicBezTo>
                    <a:pt x="886" y="597"/>
                    <a:pt x="885" y="597"/>
                    <a:pt x="884" y="596"/>
                  </a:cubicBezTo>
                  <a:cubicBezTo>
                    <a:pt x="884" y="597"/>
                    <a:pt x="884" y="598"/>
                    <a:pt x="884" y="599"/>
                  </a:cubicBezTo>
                  <a:cubicBezTo>
                    <a:pt x="882" y="600"/>
                    <a:pt x="880" y="600"/>
                    <a:pt x="879" y="599"/>
                  </a:cubicBezTo>
                  <a:cubicBezTo>
                    <a:pt x="880" y="597"/>
                    <a:pt x="880" y="595"/>
                    <a:pt x="881" y="594"/>
                  </a:cubicBezTo>
                  <a:cubicBezTo>
                    <a:pt x="881" y="593"/>
                    <a:pt x="880" y="593"/>
                    <a:pt x="880" y="593"/>
                  </a:cubicBezTo>
                  <a:cubicBezTo>
                    <a:pt x="881" y="593"/>
                    <a:pt x="881" y="593"/>
                    <a:pt x="881" y="593"/>
                  </a:cubicBezTo>
                  <a:cubicBezTo>
                    <a:pt x="869" y="587"/>
                    <a:pt x="857" y="581"/>
                    <a:pt x="846" y="576"/>
                  </a:cubicBezTo>
                  <a:cubicBezTo>
                    <a:pt x="838" y="576"/>
                    <a:pt x="838" y="576"/>
                    <a:pt x="838" y="576"/>
                  </a:cubicBezTo>
                  <a:cubicBezTo>
                    <a:pt x="838" y="574"/>
                    <a:pt x="837" y="574"/>
                    <a:pt x="836" y="573"/>
                  </a:cubicBezTo>
                  <a:cubicBezTo>
                    <a:pt x="836" y="573"/>
                    <a:pt x="836" y="574"/>
                    <a:pt x="836" y="574"/>
                  </a:cubicBezTo>
                  <a:cubicBezTo>
                    <a:pt x="834" y="574"/>
                    <a:pt x="833" y="574"/>
                    <a:pt x="833" y="573"/>
                  </a:cubicBezTo>
                  <a:cubicBezTo>
                    <a:pt x="833" y="574"/>
                    <a:pt x="833" y="574"/>
                    <a:pt x="833" y="575"/>
                  </a:cubicBezTo>
                  <a:cubicBezTo>
                    <a:pt x="833" y="575"/>
                    <a:pt x="833" y="575"/>
                    <a:pt x="834" y="575"/>
                  </a:cubicBezTo>
                  <a:cubicBezTo>
                    <a:pt x="834" y="575"/>
                    <a:pt x="834" y="575"/>
                    <a:pt x="834" y="576"/>
                  </a:cubicBezTo>
                  <a:cubicBezTo>
                    <a:pt x="830" y="576"/>
                    <a:pt x="830" y="576"/>
                    <a:pt x="830" y="576"/>
                  </a:cubicBezTo>
                  <a:cubicBezTo>
                    <a:pt x="844" y="582"/>
                    <a:pt x="858" y="589"/>
                    <a:pt x="872" y="595"/>
                  </a:cubicBezTo>
                  <a:cubicBezTo>
                    <a:pt x="872" y="595"/>
                    <a:pt x="872" y="594"/>
                    <a:pt x="872" y="593"/>
                  </a:cubicBezTo>
                  <a:cubicBezTo>
                    <a:pt x="877" y="592"/>
                    <a:pt x="878" y="595"/>
                    <a:pt x="877" y="598"/>
                  </a:cubicBezTo>
                  <a:cubicBezTo>
                    <a:pt x="879" y="599"/>
                    <a:pt x="881" y="600"/>
                    <a:pt x="883" y="601"/>
                  </a:cubicBezTo>
                  <a:cubicBezTo>
                    <a:pt x="806" y="530"/>
                    <a:pt x="806" y="530"/>
                    <a:pt x="806" y="530"/>
                  </a:cubicBezTo>
                  <a:cubicBezTo>
                    <a:pt x="806" y="530"/>
                    <a:pt x="806" y="530"/>
                    <a:pt x="806" y="530"/>
                  </a:cubicBezTo>
                  <a:cubicBezTo>
                    <a:pt x="797" y="527"/>
                    <a:pt x="789" y="523"/>
                    <a:pt x="781" y="520"/>
                  </a:cubicBezTo>
                  <a:cubicBezTo>
                    <a:pt x="761" y="514"/>
                    <a:pt x="742" y="508"/>
                    <a:pt x="722" y="503"/>
                  </a:cubicBezTo>
                  <a:cubicBezTo>
                    <a:pt x="722" y="504"/>
                    <a:pt x="722" y="505"/>
                    <a:pt x="722" y="505"/>
                  </a:cubicBezTo>
                  <a:cubicBezTo>
                    <a:pt x="716" y="505"/>
                    <a:pt x="716" y="505"/>
                    <a:pt x="716" y="505"/>
                  </a:cubicBezTo>
                  <a:cubicBezTo>
                    <a:pt x="715" y="505"/>
                    <a:pt x="714" y="503"/>
                    <a:pt x="715" y="502"/>
                  </a:cubicBezTo>
                  <a:cubicBezTo>
                    <a:pt x="715" y="502"/>
                    <a:pt x="715" y="502"/>
                    <a:pt x="715" y="502"/>
                  </a:cubicBezTo>
                  <a:cubicBezTo>
                    <a:pt x="704" y="499"/>
                    <a:pt x="694" y="497"/>
                    <a:pt x="683" y="496"/>
                  </a:cubicBezTo>
                  <a:cubicBezTo>
                    <a:pt x="683" y="497"/>
                    <a:pt x="682" y="498"/>
                    <a:pt x="680" y="499"/>
                  </a:cubicBezTo>
                  <a:cubicBezTo>
                    <a:pt x="680" y="497"/>
                    <a:pt x="680" y="496"/>
                    <a:pt x="679" y="495"/>
                  </a:cubicBezTo>
                  <a:cubicBezTo>
                    <a:pt x="675" y="495"/>
                    <a:pt x="671" y="494"/>
                    <a:pt x="667" y="494"/>
                  </a:cubicBezTo>
                  <a:cubicBezTo>
                    <a:pt x="666" y="496"/>
                    <a:pt x="664" y="498"/>
                    <a:pt x="663" y="499"/>
                  </a:cubicBezTo>
                  <a:cubicBezTo>
                    <a:pt x="665" y="499"/>
                    <a:pt x="666" y="500"/>
                    <a:pt x="666" y="501"/>
                  </a:cubicBezTo>
                  <a:cubicBezTo>
                    <a:pt x="703" y="505"/>
                    <a:pt x="740" y="514"/>
                    <a:pt x="775" y="526"/>
                  </a:cubicBezTo>
                  <a:cubicBezTo>
                    <a:pt x="775" y="525"/>
                    <a:pt x="775" y="525"/>
                    <a:pt x="775" y="525"/>
                  </a:cubicBezTo>
                  <a:cubicBezTo>
                    <a:pt x="779" y="524"/>
                    <a:pt x="779" y="526"/>
                    <a:pt x="783" y="526"/>
                  </a:cubicBezTo>
                  <a:cubicBezTo>
                    <a:pt x="783" y="526"/>
                    <a:pt x="783" y="527"/>
                    <a:pt x="782" y="528"/>
                  </a:cubicBezTo>
                  <a:cubicBezTo>
                    <a:pt x="782" y="528"/>
                    <a:pt x="782" y="528"/>
                    <a:pt x="782" y="528"/>
                  </a:cubicBezTo>
                  <a:cubicBezTo>
                    <a:pt x="783" y="528"/>
                    <a:pt x="783" y="528"/>
                    <a:pt x="783" y="528"/>
                  </a:cubicBezTo>
                  <a:cubicBezTo>
                    <a:pt x="784" y="525"/>
                    <a:pt x="786" y="525"/>
                    <a:pt x="789" y="526"/>
                  </a:cubicBezTo>
                  <a:cubicBezTo>
                    <a:pt x="789" y="528"/>
                    <a:pt x="789" y="529"/>
                    <a:pt x="789" y="530"/>
                  </a:cubicBezTo>
                  <a:cubicBezTo>
                    <a:pt x="809" y="538"/>
                    <a:pt x="829" y="547"/>
                    <a:pt x="849" y="557"/>
                  </a:cubicBezTo>
                  <a:cubicBezTo>
                    <a:pt x="864" y="557"/>
                    <a:pt x="864" y="557"/>
                    <a:pt x="864" y="557"/>
                  </a:cubicBezTo>
                  <a:cubicBezTo>
                    <a:pt x="845" y="548"/>
                    <a:pt x="826" y="538"/>
                    <a:pt x="806" y="530"/>
                  </a:cubicBezTo>
                  <a:cubicBezTo>
                    <a:pt x="646" y="494"/>
                    <a:pt x="646" y="497"/>
                    <a:pt x="646" y="499"/>
                  </a:cubicBezTo>
                  <a:cubicBezTo>
                    <a:pt x="648" y="499"/>
                    <a:pt x="649" y="499"/>
                    <a:pt x="650" y="499"/>
                  </a:cubicBezTo>
                  <a:cubicBezTo>
                    <a:pt x="651" y="498"/>
                    <a:pt x="654" y="499"/>
                    <a:pt x="655" y="498"/>
                  </a:cubicBezTo>
                  <a:cubicBezTo>
                    <a:pt x="653" y="496"/>
                    <a:pt x="652" y="494"/>
                    <a:pt x="651" y="492"/>
                  </a:cubicBezTo>
                  <a:cubicBezTo>
                    <a:pt x="650" y="492"/>
                    <a:pt x="648" y="492"/>
                    <a:pt x="647" y="492"/>
                  </a:cubicBezTo>
                  <a:cubicBezTo>
                    <a:pt x="632" y="492"/>
                    <a:pt x="632" y="495"/>
                    <a:pt x="632" y="497"/>
                  </a:cubicBezTo>
                  <a:cubicBezTo>
                    <a:pt x="634" y="497"/>
                    <a:pt x="635" y="498"/>
                    <a:pt x="635" y="498"/>
                  </a:cubicBezTo>
                  <a:cubicBezTo>
                    <a:pt x="636" y="498"/>
                    <a:pt x="637" y="498"/>
                    <a:pt x="638" y="498"/>
                  </a:cubicBezTo>
                  <a:cubicBezTo>
                    <a:pt x="638" y="496"/>
                    <a:pt x="638" y="493"/>
                    <a:pt x="639" y="492"/>
                  </a:cubicBezTo>
                  <a:cubicBezTo>
                    <a:pt x="639" y="493"/>
                    <a:pt x="646" y="494"/>
                    <a:pt x="646" y="492"/>
                  </a:cubicBezTo>
                  <a:cubicBezTo>
                    <a:pt x="646" y="492"/>
                    <a:pt x="646" y="492"/>
                    <a:pt x="645" y="491"/>
                  </a:cubicBezTo>
                  <a:cubicBezTo>
                    <a:pt x="641" y="491"/>
                    <a:pt x="637" y="491"/>
                    <a:pt x="632" y="491"/>
                  </a:cubicBezTo>
                  <a:cubicBezTo>
                    <a:pt x="563" y="605"/>
                    <a:pt x="563" y="605"/>
                    <a:pt x="563" y="605"/>
                  </a:cubicBezTo>
                  <a:cubicBezTo>
                    <a:pt x="563" y="605"/>
                    <a:pt x="563" y="605"/>
                    <a:pt x="563" y="605"/>
                  </a:cubicBezTo>
                  <a:cubicBezTo>
                    <a:pt x="564" y="605"/>
                    <a:pt x="564" y="605"/>
                    <a:pt x="565" y="605"/>
                  </a:cubicBezTo>
                  <a:cubicBezTo>
                    <a:pt x="565" y="605"/>
                    <a:pt x="565" y="605"/>
                    <a:pt x="565" y="605"/>
                  </a:cubicBezTo>
                  <a:cubicBezTo>
                    <a:pt x="565" y="604"/>
                    <a:pt x="566" y="604"/>
                    <a:pt x="566" y="605"/>
                  </a:cubicBezTo>
                  <a:cubicBezTo>
                    <a:pt x="568" y="604"/>
                    <a:pt x="570" y="604"/>
                    <a:pt x="571" y="603"/>
                  </a:cubicBezTo>
                  <a:cubicBezTo>
                    <a:pt x="569" y="602"/>
                    <a:pt x="566" y="600"/>
                    <a:pt x="566" y="598"/>
                  </a:cubicBezTo>
                  <a:cubicBezTo>
                    <a:pt x="559" y="600"/>
                    <a:pt x="551" y="602"/>
                    <a:pt x="544" y="605"/>
                  </a:cubicBezTo>
                  <a:cubicBezTo>
                    <a:pt x="545" y="605"/>
                    <a:pt x="546" y="606"/>
                    <a:pt x="547" y="607"/>
                  </a:cubicBezTo>
                  <a:cubicBezTo>
                    <a:pt x="550" y="607"/>
                    <a:pt x="553" y="607"/>
                    <a:pt x="556" y="607"/>
                  </a:cubicBezTo>
                  <a:cubicBezTo>
                    <a:pt x="558" y="607"/>
                    <a:pt x="560" y="606"/>
                    <a:pt x="562" y="605"/>
                  </a:cubicBezTo>
                  <a:cubicBezTo>
                    <a:pt x="557" y="605"/>
                    <a:pt x="555" y="601"/>
                    <a:pt x="559" y="602"/>
                  </a:cubicBezTo>
                  <a:cubicBezTo>
                    <a:pt x="559" y="603"/>
                    <a:pt x="559" y="605"/>
                    <a:pt x="558" y="606"/>
                  </a:cubicBezTo>
                  <a:cubicBezTo>
                    <a:pt x="556" y="606"/>
                    <a:pt x="553" y="606"/>
                    <a:pt x="553" y="604"/>
                  </a:cubicBezTo>
                  <a:cubicBezTo>
                    <a:pt x="230" y="601"/>
                    <a:pt x="230" y="600"/>
                    <a:pt x="229" y="598"/>
                  </a:cubicBezTo>
                  <a:cubicBezTo>
                    <a:pt x="235" y="598"/>
                    <a:pt x="235" y="598"/>
                    <a:pt x="235" y="598"/>
                  </a:cubicBezTo>
                  <a:cubicBezTo>
                    <a:pt x="240" y="591"/>
                    <a:pt x="245" y="584"/>
                    <a:pt x="250" y="577"/>
                  </a:cubicBezTo>
                  <a:cubicBezTo>
                    <a:pt x="249" y="574"/>
                    <a:pt x="248" y="570"/>
                    <a:pt x="245" y="572"/>
                  </a:cubicBezTo>
                  <a:cubicBezTo>
                    <a:pt x="246" y="574"/>
                    <a:pt x="248" y="575"/>
                    <a:pt x="248" y="578"/>
                  </a:cubicBezTo>
                  <a:cubicBezTo>
                    <a:pt x="246" y="580"/>
                    <a:pt x="242" y="579"/>
                    <a:pt x="239" y="579"/>
                  </a:cubicBezTo>
                  <a:cubicBezTo>
                    <a:pt x="239" y="579"/>
                    <a:pt x="239" y="579"/>
                    <a:pt x="239" y="579"/>
                  </a:cubicBezTo>
                  <a:cubicBezTo>
                    <a:pt x="234" y="586"/>
                    <a:pt x="228" y="593"/>
                    <a:pt x="223" y="601"/>
                  </a:cubicBezTo>
                  <a:cubicBezTo>
                    <a:pt x="223" y="601"/>
                    <a:pt x="223" y="601"/>
                    <a:pt x="223" y="601"/>
                  </a:cubicBezTo>
                  <a:cubicBezTo>
                    <a:pt x="227" y="601"/>
                    <a:pt x="229" y="602"/>
                    <a:pt x="230" y="603"/>
                  </a:cubicBezTo>
                  <a:cubicBezTo>
                    <a:pt x="733" y="633"/>
                    <a:pt x="735" y="632"/>
                    <a:pt x="736" y="630"/>
                  </a:cubicBezTo>
                  <a:cubicBezTo>
                    <a:pt x="738" y="630"/>
                    <a:pt x="739" y="631"/>
                    <a:pt x="741" y="631"/>
                  </a:cubicBezTo>
                  <a:cubicBezTo>
                    <a:pt x="724" y="622"/>
                    <a:pt x="706" y="616"/>
                    <a:pt x="687" y="613"/>
                  </a:cubicBezTo>
                  <a:cubicBezTo>
                    <a:pt x="684" y="613"/>
                    <a:pt x="684" y="613"/>
                    <a:pt x="684" y="613"/>
                  </a:cubicBezTo>
                  <a:cubicBezTo>
                    <a:pt x="683" y="612"/>
                    <a:pt x="683" y="612"/>
                    <a:pt x="683" y="612"/>
                  </a:cubicBezTo>
                  <a:cubicBezTo>
                    <a:pt x="683" y="612"/>
                    <a:pt x="682" y="612"/>
                    <a:pt x="682" y="613"/>
                  </a:cubicBezTo>
                  <a:cubicBezTo>
                    <a:pt x="679" y="613"/>
                    <a:pt x="679" y="613"/>
                    <a:pt x="679" y="613"/>
                  </a:cubicBezTo>
                  <a:cubicBezTo>
                    <a:pt x="679" y="612"/>
                    <a:pt x="679" y="612"/>
                    <a:pt x="679" y="611"/>
                  </a:cubicBezTo>
                  <a:cubicBezTo>
                    <a:pt x="664" y="609"/>
                    <a:pt x="648" y="609"/>
                    <a:pt x="633" y="611"/>
                  </a:cubicBezTo>
                  <a:cubicBezTo>
                    <a:pt x="634" y="612"/>
                    <a:pt x="635" y="612"/>
                    <a:pt x="635" y="613"/>
                  </a:cubicBezTo>
                  <a:cubicBezTo>
                    <a:pt x="632" y="613"/>
                    <a:pt x="632" y="613"/>
                    <a:pt x="632" y="613"/>
                  </a:cubicBezTo>
                  <a:cubicBezTo>
                    <a:pt x="631" y="612"/>
                    <a:pt x="631" y="612"/>
                    <a:pt x="630" y="611"/>
                  </a:cubicBezTo>
                  <a:cubicBezTo>
                    <a:pt x="627" y="612"/>
                    <a:pt x="624" y="612"/>
                    <a:pt x="621" y="612"/>
                  </a:cubicBezTo>
                  <a:cubicBezTo>
                    <a:pt x="621" y="613"/>
                    <a:pt x="621" y="613"/>
                    <a:pt x="621" y="613"/>
                  </a:cubicBezTo>
                  <a:cubicBezTo>
                    <a:pt x="623" y="613"/>
                    <a:pt x="624" y="612"/>
                    <a:pt x="626" y="612"/>
                  </a:cubicBezTo>
                  <a:cubicBezTo>
                    <a:pt x="626" y="612"/>
                    <a:pt x="627" y="613"/>
                    <a:pt x="627" y="613"/>
                  </a:cubicBezTo>
                  <a:cubicBezTo>
                    <a:pt x="616" y="613"/>
                    <a:pt x="616" y="613"/>
                    <a:pt x="616" y="613"/>
                  </a:cubicBezTo>
                  <a:cubicBezTo>
                    <a:pt x="589" y="618"/>
                    <a:pt x="563" y="628"/>
                    <a:pt x="538" y="641"/>
                  </a:cubicBezTo>
                  <a:cubicBezTo>
                    <a:pt x="539" y="641"/>
                    <a:pt x="539" y="642"/>
                    <a:pt x="540" y="642"/>
                  </a:cubicBezTo>
                  <a:cubicBezTo>
                    <a:pt x="540" y="642"/>
                    <a:pt x="540" y="642"/>
                    <a:pt x="540" y="642"/>
                  </a:cubicBezTo>
                  <a:cubicBezTo>
                    <a:pt x="544" y="641"/>
                    <a:pt x="546" y="641"/>
                    <a:pt x="547" y="644"/>
                  </a:cubicBezTo>
                  <a:cubicBezTo>
                    <a:pt x="553" y="641"/>
                    <a:pt x="559" y="638"/>
                    <a:pt x="564" y="636"/>
                  </a:cubicBezTo>
                  <a:cubicBezTo>
                    <a:pt x="563" y="634"/>
                    <a:pt x="561" y="633"/>
                    <a:pt x="560" y="631"/>
                  </a:cubicBezTo>
                  <a:cubicBezTo>
                    <a:pt x="571" y="631"/>
                    <a:pt x="571" y="631"/>
                    <a:pt x="571" y="631"/>
                  </a:cubicBezTo>
                  <a:cubicBezTo>
                    <a:pt x="571" y="631"/>
                    <a:pt x="572" y="632"/>
                    <a:pt x="572" y="632"/>
                  </a:cubicBezTo>
                  <a:cubicBezTo>
                    <a:pt x="623" y="612"/>
                    <a:pt x="682" y="609"/>
                    <a:pt x="731" y="634"/>
                  </a:cubicBezTo>
                  <a:cubicBezTo>
                    <a:pt x="654" y="612"/>
                    <a:pt x="654" y="612"/>
                    <a:pt x="655" y="611"/>
                  </a:cubicBezTo>
                  <a:cubicBezTo>
                    <a:pt x="658" y="611"/>
                    <a:pt x="661" y="612"/>
                    <a:pt x="663" y="613"/>
                  </a:cubicBezTo>
                  <a:cubicBezTo>
                    <a:pt x="437" y="471"/>
                    <a:pt x="436" y="469"/>
                    <a:pt x="434" y="468"/>
                  </a:cubicBezTo>
                  <a:cubicBezTo>
                    <a:pt x="416" y="474"/>
                    <a:pt x="399" y="482"/>
                    <a:pt x="382" y="491"/>
                  </a:cubicBezTo>
                  <a:cubicBezTo>
                    <a:pt x="382" y="492"/>
                    <a:pt x="381" y="493"/>
                    <a:pt x="379" y="493"/>
                  </a:cubicBezTo>
                  <a:cubicBezTo>
                    <a:pt x="379" y="493"/>
                    <a:pt x="379" y="492"/>
                    <a:pt x="379" y="492"/>
                  </a:cubicBezTo>
                  <a:cubicBezTo>
                    <a:pt x="371" y="496"/>
                    <a:pt x="364" y="501"/>
                    <a:pt x="356" y="505"/>
                  </a:cubicBezTo>
                  <a:cubicBezTo>
                    <a:pt x="344" y="513"/>
                    <a:pt x="332" y="522"/>
                    <a:pt x="321" y="531"/>
                  </a:cubicBezTo>
                  <a:cubicBezTo>
                    <a:pt x="324" y="530"/>
                    <a:pt x="325" y="533"/>
                    <a:pt x="328" y="534"/>
                  </a:cubicBezTo>
                  <a:cubicBezTo>
                    <a:pt x="329" y="533"/>
                    <a:pt x="330" y="532"/>
                    <a:pt x="331" y="532"/>
                  </a:cubicBezTo>
                  <a:cubicBezTo>
                    <a:pt x="331" y="532"/>
                    <a:pt x="331" y="531"/>
                    <a:pt x="331" y="531"/>
                  </a:cubicBezTo>
                  <a:cubicBezTo>
                    <a:pt x="331" y="531"/>
                    <a:pt x="332" y="531"/>
                    <a:pt x="332" y="531"/>
                  </a:cubicBezTo>
                  <a:cubicBezTo>
                    <a:pt x="346" y="520"/>
                    <a:pt x="361" y="510"/>
                    <a:pt x="377" y="501"/>
                  </a:cubicBezTo>
                  <a:cubicBezTo>
                    <a:pt x="377" y="500"/>
                    <a:pt x="377" y="500"/>
                    <a:pt x="377" y="500"/>
                  </a:cubicBezTo>
                  <a:cubicBezTo>
                    <a:pt x="377" y="499"/>
                    <a:pt x="377" y="498"/>
                    <a:pt x="377" y="497"/>
                  </a:cubicBezTo>
                  <a:cubicBezTo>
                    <a:pt x="379" y="497"/>
                    <a:pt x="382" y="497"/>
                    <a:pt x="384" y="497"/>
                  </a:cubicBezTo>
                  <a:cubicBezTo>
                    <a:pt x="391" y="493"/>
                    <a:pt x="399" y="489"/>
                    <a:pt x="406" y="486"/>
                  </a:cubicBezTo>
                  <a:cubicBezTo>
                    <a:pt x="417" y="480"/>
                    <a:pt x="428" y="476"/>
                    <a:pt x="440" y="472"/>
                  </a:cubicBezTo>
                  <a:cubicBezTo>
                    <a:pt x="364" y="508"/>
                    <a:pt x="363" y="508"/>
                    <a:pt x="361" y="507"/>
                  </a:cubicBezTo>
                  <a:cubicBezTo>
                    <a:pt x="360" y="503"/>
                    <a:pt x="367" y="504"/>
                    <a:pt x="366" y="507"/>
                  </a:cubicBezTo>
                  <a:cubicBezTo>
                    <a:pt x="656" y="500"/>
                    <a:pt x="656" y="500"/>
                    <a:pt x="656" y="500"/>
                  </a:cubicBezTo>
                  <a:cubicBezTo>
                    <a:pt x="656" y="500"/>
                    <a:pt x="656" y="500"/>
                    <a:pt x="655" y="500"/>
                  </a:cubicBezTo>
                  <a:cubicBezTo>
                    <a:pt x="655" y="500"/>
                    <a:pt x="655" y="500"/>
                    <a:pt x="655" y="500"/>
                  </a:cubicBezTo>
                  <a:cubicBezTo>
                    <a:pt x="259" y="603"/>
                    <a:pt x="258" y="602"/>
                    <a:pt x="257" y="600"/>
                  </a:cubicBezTo>
                  <a:cubicBezTo>
                    <a:pt x="256" y="602"/>
                    <a:pt x="254" y="604"/>
                    <a:pt x="253" y="605"/>
                  </a:cubicBezTo>
                  <a:cubicBezTo>
                    <a:pt x="256" y="606"/>
                    <a:pt x="257" y="607"/>
                    <a:pt x="259" y="604"/>
                  </a:cubicBezTo>
                  <a:cubicBezTo>
                    <a:pt x="1003" y="952"/>
                    <a:pt x="1004" y="952"/>
                    <a:pt x="1004" y="951"/>
                  </a:cubicBezTo>
                  <a:cubicBezTo>
                    <a:pt x="1004" y="951"/>
                    <a:pt x="1004" y="951"/>
                    <a:pt x="1003" y="951"/>
                  </a:cubicBezTo>
                  <a:cubicBezTo>
                    <a:pt x="1003" y="951"/>
                    <a:pt x="1003" y="951"/>
                    <a:pt x="1003" y="952"/>
                  </a:cubicBezTo>
                  <a:cubicBezTo>
                    <a:pt x="313" y="538"/>
                    <a:pt x="313" y="539"/>
                    <a:pt x="313" y="540"/>
                  </a:cubicBezTo>
                  <a:cubicBezTo>
                    <a:pt x="315" y="542"/>
                    <a:pt x="316" y="538"/>
                    <a:pt x="321" y="539"/>
                  </a:cubicBezTo>
                  <a:cubicBezTo>
                    <a:pt x="321" y="539"/>
                    <a:pt x="321" y="540"/>
                    <a:pt x="321" y="540"/>
                  </a:cubicBezTo>
                  <a:cubicBezTo>
                    <a:pt x="322" y="539"/>
                    <a:pt x="323" y="539"/>
                    <a:pt x="323" y="538"/>
                  </a:cubicBezTo>
                  <a:cubicBezTo>
                    <a:pt x="323" y="536"/>
                    <a:pt x="323" y="533"/>
                    <a:pt x="321" y="531"/>
                  </a:cubicBezTo>
                  <a:cubicBezTo>
                    <a:pt x="318" y="533"/>
                    <a:pt x="315" y="536"/>
                    <a:pt x="313" y="538"/>
                  </a:cubicBezTo>
                  <a:cubicBezTo>
                    <a:pt x="841" y="500"/>
                    <a:pt x="843" y="499"/>
                    <a:pt x="844" y="498"/>
                  </a:cubicBezTo>
                  <a:cubicBezTo>
                    <a:pt x="829" y="493"/>
                    <a:pt x="814" y="488"/>
                    <a:pt x="799" y="483"/>
                  </a:cubicBezTo>
                  <a:cubicBezTo>
                    <a:pt x="782" y="478"/>
                    <a:pt x="765" y="473"/>
                    <a:pt x="747" y="468"/>
                  </a:cubicBezTo>
                  <a:cubicBezTo>
                    <a:pt x="746" y="468"/>
                    <a:pt x="744" y="468"/>
                    <a:pt x="742" y="468"/>
                  </a:cubicBezTo>
                  <a:cubicBezTo>
                    <a:pt x="742" y="468"/>
                    <a:pt x="742" y="467"/>
                    <a:pt x="742" y="467"/>
                  </a:cubicBezTo>
                  <a:cubicBezTo>
                    <a:pt x="733" y="465"/>
                    <a:pt x="723" y="463"/>
                    <a:pt x="713" y="461"/>
                  </a:cubicBezTo>
                  <a:cubicBezTo>
                    <a:pt x="713" y="461"/>
                    <a:pt x="713" y="461"/>
                    <a:pt x="713" y="461"/>
                  </a:cubicBezTo>
                  <a:cubicBezTo>
                    <a:pt x="711" y="461"/>
                    <a:pt x="711" y="462"/>
                    <a:pt x="709" y="462"/>
                  </a:cubicBezTo>
                  <a:cubicBezTo>
                    <a:pt x="707" y="461"/>
                    <a:pt x="706" y="460"/>
                    <a:pt x="705" y="459"/>
                  </a:cubicBezTo>
                  <a:cubicBezTo>
                    <a:pt x="660" y="450"/>
                    <a:pt x="614" y="445"/>
                    <a:pt x="568" y="446"/>
                  </a:cubicBezTo>
                  <a:cubicBezTo>
                    <a:pt x="541" y="446"/>
                    <a:pt x="515" y="448"/>
                    <a:pt x="489" y="453"/>
                  </a:cubicBezTo>
                  <a:cubicBezTo>
                    <a:pt x="493" y="453"/>
                    <a:pt x="493" y="453"/>
                    <a:pt x="493" y="453"/>
                  </a:cubicBezTo>
                  <a:cubicBezTo>
                    <a:pt x="493" y="455"/>
                    <a:pt x="493" y="456"/>
                    <a:pt x="491" y="457"/>
                  </a:cubicBezTo>
                  <a:cubicBezTo>
                    <a:pt x="489" y="456"/>
                    <a:pt x="487" y="455"/>
                    <a:pt x="485" y="454"/>
                  </a:cubicBezTo>
                  <a:cubicBezTo>
                    <a:pt x="475" y="456"/>
                    <a:pt x="465" y="459"/>
                    <a:pt x="454" y="462"/>
                  </a:cubicBezTo>
                  <a:cubicBezTo>
                    <a:pt x="457" y="462"/>
                    <a:pt x="459" y="464"/>
                    <a:pt x="462" y="465"/>
                  </a:cubicBezTo>
                  <a:cubicBezTo>
                    <a:pt x="463" y="465"/>
                    <a:pt x="464" y="465"/>
                    <a:pt x="465" y="465"/>
                  </a:cubicBezTo>
                  <a:cubicBezTo>
                    <a:pt x="466" y="464"/>
                    <a:pt x="467" y="463"/>
                    <a:pt x="468" y="463"/>
                  </a:cubicBezTo>
                  <a:cubicBezTo>
                    <a:pt x="467" y="463"/>
                    <a:pt x="467" y="463"/>
                    <a:pt x="467" y="462"/>
                  </a:cubicBezTo>
                  <a:cubicBezTo>
                    <a:pt x="466" y="460"/>
                    <a:pt x="469" y="461"/>
                    <a:pt x="469" y="459"/>
                  </a:cubicBezTo>
                  <a:cubicBezTo>
                    <a:pt x="473" y="461"/>
                    <a:pt x="472" y="458"/>
                    <a:pt x="475" y="457"/>
                  </a:cubicBezTo>
                  <a:cubicBezTo>
                    <a:pt x="478" y="459"/>
                    <a:pt x="477" y="461"/>
                    <a:pt x="475" y="462"/>
                  </a:cubicBezTo>
                  <a:cubicBezTo>
                    <a:pt x="477" y="462"/>
                    <a:pt x="480" y="461"/>
                    <a:pt x="482" y="461"/>
                  </a:cubicBezTo>
                  <a:cubicBezTo>
                    <a:pt x="482" y="461"/>
                    <a:pt x="482" y="460"/>
                    <a:pt x="482" y="460"/>
                  </a:cubicBezTo>
                  <a:cubicBezTo>
                    <a:pt x="482" y="460"/>
                    <a:pt x="483" y="460"/>
                    <a:pt x="484" y="460"/>
                  </a:cubicBezTo>
                  <a:cubicBezTo>
                    <a:pt x="484" y="460"/>
                    <a:pt x="484" y="460"/>
                    <a:pt x="484" y="460"/>
                  </a:cubicBezTo>
                  <a:cubicBezTo>
                    <a:pt x="485" y="460"/>
                    <a:pt x="486" y="459"/>
                    <a:pt x="488" y="459"/>
                  </a:cubicBezTo>
                  <a:cubicBezTo>
                    <a:pt x="494" y="458"/>
                    <a:pt x="499" y="457"/>
                    <a:pt x="505" y="457"/>
                  </a:cubicBezTo>
                  <a:cubicBezTo>
                    <a:pt x="505" y="455"/>
                    <a:pt x="504" y="454"/>
                    <a:pt x="504" y="453"/>
                  </a:cubicBezTo>
                  <a:cubicBezTo>
                    <a:pt x="509" y="453"/>
                    <a:pt x="509" y="453"/>
                    <a:pt x="509" y="453"/>
                  </a:cubicBezTo>
                  <a:cubicBezTo>
                    <a:pt x="510" y="454"/>
                    <a:pt x="510" y="455"/>
                    <a:pt x="510" y="456"/>
                  </a:cubicBezTo>
                  <a:cubicBezTo>
                    <a:pt x="516" y="455"/>
                    <a:pt x="521" y="455"/>
                    <a:pt x="526" y="454"/>
                  </a:cubicBezTo>
                  <a:cubicBezTo>
                    <a:pt x="526" y="454"/>
                    <a:pt x="526" y="454"/>
                    <a:pt x="527" y="454"/>
                  </a:cubicBezTo>
                  <a:cubicBezTo>
                    <a:pt x="527" y="454"/>
                    <a:pt x="528" y="454"/>
                    <a:pt x="529" y="454"/>
                  </a:cubicBezTo>
                  <a:cubicBezTo>
                    <a:pt x="529" y="454"/>
                    <a:pt x="530" y="454"/>
                    <a:pt x="531" y="454"/>
                  </a:cubicBezTo>
                  <a:cubicBezTo>
                    <a:pt x="530" y="453"/>
                    <a:pt x="530" y="453"/>
                    <a:pt x="529" y="453"/>
                  </a:cubicBezTo>
                  <a:cubicBezTo>
                    <a:pt x="539" y="453"/>
                    <a:pt x="539" y="453"/>
                    <a:pt x="539" y="453"/>
                  </a:cubicBezTo>
                  <a:cubicBezTo>
                    <a:pt x="539" y="453"/>
                    <a:pt x="539" y="453"/>
                    <a:pt x="539" y="453"/>
                  </a:cubicBezTo>
                  <a:cubicBezTo>
                    <a:pt x="558" y="452"/>
                    <a:pt x="577" y="452"/>
                    <a:pt x="596" y="452"/>
                  </a:cubicBezTo>
                  <a:cubicBezTo>
                    <a:pt x="596" y="452"/>
                    <a:pt x="596" y="452"/>
                    <a:pt x="596" y="452"/>
                  </a:cubicBezTo>
                  <a:cubicBezTo>
                    <a:pt x="611" y="452"/>
                    <a:pt x="611" y="452"/>
                    <a:pt x="611" y="452"/>
                  </a:cubicBezTo>
                  <a:cubicBezTo>
                    <a:pt x="611" y="453"/>
                    <a:pt x="611" y="453"/>
                    <a:pt x="611" y="453"/>
                  </a:cubicBezTo>
                  <a:cubicBezTo>
                    <a:pt x="614" y="453"/>
                    <a:pt x="617" y="454"/>
                    <a:pt x="620" y="454"/>
                  </a:cubicBezTo>
                  <a:cubicBezTo>
                    <a:pt x="620" y="453"/>
                    <a:pt x="620" y="453"/>
                    <a:pt x="620" y="452"/>
                  </a:cubicBezTo>
                  <a:cubicBezTo>
                    <a:pt x="622" y="452"/>
                    <a:pt x="622" y="452"/>
                    <a:pt x="622" y="452"/>
                  </a:cubicBezTo>
                  <a:cubicBezTo>
                    <a:pt x="622" y="452"/>
                    <a:pt x="622" y="452"/>
                    <a:pt x="622" y="452"/>
                  </a:cubicBezTo>
                  <a:cubicBezTo>
                    <a:pt x="625" y="452"/>
                    <a:pt x="624" y="455"/>
                    <a:pt x="628" y="454"/>
                  </a:cubicBezTo>
                  <a:cubicBezTo>
                    <a:pt x="628" y="453"/>
                    <a:pt x="628" y="453"/>
                    <a:pt x="628" y="452"/>
                  </a:cubicBezTo>
                  <a:cubicBezTo>
                    <a:pt x="635" y="452"/>
                    <a:pt x="635" y="452"/>
                    <a:pt x="635" y="452"/>
                  </a:cubicBezTo>
                  <a:cubicBezTo>
                    <a:pt x="634" y="452"/>
                    <a:pt x="634" y="452"/>
                    <a:pt x="634" y="453"/>
                  </a:cubicBezTo>
                  <a:cubicBezTo>
                    <a:pt x="636" y="454"/>
                    <a:pt x="636" y="455"/>
                    <a:pt x="635" y="455"/>
                  </a:cubicBezTo>
                  <a:cubicBezTo>
                    <a:pt x="641" y="456"/>
                    <a:pt x="646" y="457"/>
                    <a:pt x="651" y="457"/>
                  </a:cubicBezTo>
                  <a:cubicBezTo>
                    <a:pt x="652" y="457"/>
                    <a:pt x="652" y="457"/>
                    <a:pt x="653" y="457"/>
                  </a:cubicBezTo>
                  <a:cubicBezTo>
                    <a:pt x="653" y="457"/>
                    <a:pt x="653" y="457"/>
                    <a:pt x="653" y="457"/>
                  </a:cubicBezTo>
                  <a:cubicBezTo>
                    <a:pt x="670" y="460"/>
                    <a:pt x="687" y="462"/>
                    <a:pt x="704" y="466"/>
                  </a:cubicBezTo>
                  <a:cubicBezTo>
                    <a:pt x="704" y="465"/>
                    <a:pt x="704" y="465"/>
                    <a:pt x="704" y="465"/>
                  </a:cubicBezTo>
                  <a:cubicBezTo>
                    <a:pt x="704" y="465"/>
                    <a:pt x="704" y="466"/>
                    <a:pt x="705" y="466"/>
                  </a:cubicBezTo>
                  <a:cubicBezTo>
                    <a:pt x="713" y="467"/>
                    <a:pt x="721" y="469"/>
                    <a:pt x="729" y="471"/>
                  </a:cubicBezTo>
                  <a:cubicBezTo>
                    <a:pt x="749" y="475"/>
                    <a:pt x="768" y="481"/>
                    <a:pt x="787" y="486"/>
                  </a:cubicBezTo>
                  <a:cubicBezTo>
                    <a:pt x="793" y="486"/>
                    <a:pt x="793" y="486"/>
                    <a:pt x="793" y="486"/>
                  </a:cubicBezTo>
                  <a:cubicBezTo>
                    <a:pt x="792" y="487"/>
                    <a:pt x="791" y="487"/>
                    <a:pt x="791" y="488"/>
                  </a:cubicBezTo>
                  <a:cubicBezTo>
                    <a:pt x="795" y="489"/>
                    <a:pt x="800" y="491"/>
                    <a:pt x="804" y="492"/>
                  </a:cubicBezTo>
                  <a:cubicBezTo>
                    <a:pt x="804" y="492"/>
                    <a:pt x="804" y="491"/>
                    <a:pt x="803" y="491"/>
                  </a:cubicBezTo>
                  <a:cubicBezTo>
                    <a:pt x="801" y="489"/>
                    <a:pt x="798" y="488"/>
                    <a:pt x="796" y="486"/>
                  </a:cubicBezTo>
                  <a:cubicBezTo>
                    <a:pt x="806" y="486"/>
                    <a:pt x="806" y="486"/>
                    <a:pt x="806" y="486"/>
                  </a:cubicBezTo>
                  <a:cubicBezTo>
                    <a:pt x="806" y="487"/>
                    <a:pt x="807" y="487"/>
                    <a:pt x="807" y="487"/>
                  </a:cubicBezTo>
                  <a:cubicBezTo>
                    <a:pt x="808" y="487"/>
                    <a:pt x="808" y="487"/>
                    <a:pt x="809" y="487"/>
                  </a:cubicBezTo>
                  <a:cubicBezTo>
                    <a:pt x="809" y="487"/>
                    <a:pt x="809" y="488"/>
                    <a:pt x="809" y="489"/>
                  </a:cubicBezTo>
                  <a:cubicBezTo>
                    <a:pt x="811" y="490"/>
                    <a:pt x="813" y="491"/>
                    <a:pt x="814" y="493"/>
                  </a:cubicBezTo>
                  <a:cubicBezTo>
                    <a:pt x="819" y="493"/>
                    <a:pt x="825" y="492"/>
                    <a:pt x="829" y="493"/>
                  </a:cubicBezTo>
                  <a:cubicBezTo>
                    <a:pt x="830" y="497"/>
                    <a:pt x="827" y="496"/>
                    <a:pt x="827" y="499"/>
                  </a:cubicBezTo>
                  <a:cubicBezTo>
                    <a:pt x="828" y="500"/>
                    <a:pt x="828" y="500"/>
                    <a:pt x="828" y="500"/>
                  </a:cubicBezTo>
                  <a:cubicBezTo>
                    <a:pt x="830" y="501"/>
                    <a:pt x="831" y="501"/>
                    <a:pt x="833" y="502"/>
                  </a:cubicBezTo>
                  <a:cubicBezTo>
                    <a:pt x="833" y="500"/>
                    <a:pt x="830" y="498"/>
                    <a:pt x="832" y="497"/>
                  </a:cubicBezTo>
                  <a:cubicBezTo>
                    <a:pt x="836" y="496"/>
                    <a:pt x="833" y="499"/>
                    <a:pt x="833" y="501"/>
                  </a:cubicBezTo>
                  <a:cubicBezTo>
                    <a:pt x="840" y="501"/>
                    <a:pt x="840" y="501"/>
                    <a:pt x="840" y="501"/>
                  </a:cubicBezTo>
                  <a:cubicBezTo>
                    <a:pt x="840" y="501"/>
                    <a:pt x="840" y="501"/>
                    <a:pt x="840" y="502"/>
                  </a:cubicBezTo>
                  <a:cubicBezTo>
                    <a:pt x="498" y="455"/>
                    <a:pt x="497" y="454"/>
                    <a:pt x="495" y="453"/>
                  </a:cubicBezTo>
                  <a:cubicBezTo>
                    <a:pt x="501" y="453"/>
                    <a:pt x="501" y="453"/>
                    <a:pt x="501" y="453"/>
                  </a:cubicBezTo>
                  <a:cubicBezTo>
                    <a:pt x="501" y="454"/>
                    <a:pt x="501" y="454"/>
                    <a:pt x="501" y="455"/>
                  </a:cubicBezTo>
                  <a:cubicBezTo>
                    <a:pt x="728" y="469"/>
                    <a:pt x="729" y="469"/>
                    <a:pt x="729" y="469"/>
                  </a:cubicBezTo>
                  <a:cubicBezTo>
                    <a:pt x="731" y="469"/>
                    <a:pt x="731" y="467"/>
                    <a:pt x="734" y="468"/>
                  </a:cubicBezTo>
                  <a:cubicBezTo>
                    <a:pt x="734" y="469"/>
                    <a:pt x="735" y="469"/>
                    <a:pt x="735" y="470"/>
                  </a:cubicBezTo>
                  <a:cubicBezTo>
                    <a:pt x="524" y="599"/>
                    <a:pt x="523" y="600"/>
                    <a:pt x="521" y="600"/>
                  </a:cubicBezTo>
                  <a:cubicBezTo>
                    <a:pt x="521" y="601"/>
                    <a:pt x="522" y="601"/>
                    <a:pt x="523" y="601"/>
                  </a:cubicBezTo>
                  <a:cubicBezTo>
                    <a:pt x="525" y="602"/>
                    <a:pt x="528" y="603"/>
                    <a:pt x="531" y="603"/>
                  </a:cubicBezTo>
                  <a:cubicBezTo>
                    <a:pt x="531" y="602"/>
                    <a:pt x="531" y="602"/>
                    <a:pt x="531" y="601"/>
                  </a:cubicBezTo>
                  <a:cubicBezTo>
                    <a:pt x="530" y="600"/>
                    <a:pt x="529" y="600"/>
                    <a:pt x="529" y="598"/>
                  </a:cubicBezTo>
                  <a:cubicBezTo>
                    <a:pt x="528" y="598"/>
                    <a:pt x="527" y="598"/>
                    <a:pt x="526" y="598"/>
                  </a:cubicBezTo>
                  <a:cubicBezTo>
                    <a:pt x="577" y="468"/>
                    <a:pt x="577" y="469"/>
                    <a:pt x="577" y="471"/>
                  </a:cubicBezTo>
                  <a:cubicBezTo>
                    <a:pt x="577" y="471"/>
                    <a:pt x="579" y="471"/>
                    <a:pt x="580" y="471"/>
                  </a:cubicBezTo>
                  <a:cubicBezTo>
                    <a:pt x="580" y="470"/>
                    <a:pt x="580" y="470"/>
                    <a:pt x="580" y="470"/>
                  </a:cubicBezTo>
                  <a:cubicBezTo>
                    <a:pt x="580" y="469"/>
                    <a:pt x="579" y="468"/>
                    <a:pt x="579" y="467"/>
                  </a:cubicBezTo>
                  <a:cubicBezTo>
                    <a:pt x="578" y="467"/>
                    <a:pt x="578" y="467"/>
                    <a:pt x="577" y="467"/>
                  </a:cubicBezTo>
                  <a:cubicBezTo>
                    <a:pt x="767" y="629"/>
                    <a:pt x="767" y="629"/>
                    <a:pt x="767" y="629"/>
                  </a:cubicBezTo>
                  <a:cubicBezTo>
                    <a:pt x="764" y="628"/>
                    <a:pt x="761" y="626"/>
                    <a:pt x="758" y="624"/>
                  </a:cubicBezTo>
                  <a:cubicBezTo>
                    <a:pt x="750" y="620"/>
                    <a:pt x="743" y="616"/>
                    <a:pt x="735" y="612"/>
                  </a:cubicBezTo>
                  <a:cubicBezTo>
                    <a:pt x="731" y="612"/>
                    <a:pt x="731" y="612"/>
                    <a:pt x="731" y="612"/>
                  </a:cubicBezTo>
                  <a:cubicBezTo>
                    <a:pt x="731" y="612"/>
                    <a:pt x="731" y="612"/>
                    <a:pt x="731" y="612"/>
                  </a:cubicBezTo>
                  <a:cubicBezTo>
                    <a:pt x="731" y="612"/>
                    <a:pt x="731" y="611"/>
                    <a:pt x="731" y="610"/>
                  </a:cubicBezTo>
                  <a:cubicBezTo>
                    <a:pt x="728" y="609"/>
                    <a:pt x="724" y="607"/>
                    <a:pt x="721" y="605"/>
                  </a:cubicBezTo>
                  <a:cubicBezTo>
                    <a:pt x="721" y="605"/>
                    <a:pt x="721" y="605"/>
                    <a:pt x="721" y="606"/>
                  </a:cubicBezTo>
                  <a:cubicBezTo>
                    <a:pt x="719" y="606"/>
                    <a:pt x="719" y="605"/>
                    <a:pt x="718" y="605"/>
                  </a:cubicBezTo>
                  <a:cubicBezTo>
                    <a:pt x="717" y="605"/>
                    <a:pt x="716" y="606"/>
                    <a:pt x="713" y="605"/>
                  </a:cubicBezTo>
                  <a:cubicBezTo>
                    <a:pt x="714" y="602"/>
                    <a:pt x="711" y="602"/>
                    <a:pt x="710" y="600"/>
                  </a:cubicBezTo>
                  <a:cubicBezTo>
                    <a:pt x="708" y="599"/>
                    <a:pt x="705" y="598"/>
                    <a:pt x="702" y="596"/>
                  </a:cubicBezTo>
                  <a:cubicBezTo>
                    <a:pt x="706" y="598"/>
                    <a:pt x="707" y="603"/>
                    <a:pt x="705" y="607"/>
                  </a:cubicBezTo>
                  <a:cubicBezTo>
                    <a:pt x="708" y="608"/>
                    <a:pt x="712" y="609"/>
                    <a:pt x="715" y="610"/>
                  </a:cubicBezTo>
                  <a:cubicBezTo>
                    <a:pt x="715" y="610"/>
                    <a:pt x="715" y="610"/>
                    <a:pt x="716" y="610"/>
                  </a:cubicBezTo>
                  <a:cubicBezTo>
                    <a:pt x="725" y="615"/>
                    <a:pt x="734" y="619"/>
                    <a:pt x="743" y="624"/>
                  </a:cubicBezTo>
                  <a:cubicBezTo>
                    <a:pt x="749" y="627"/>
                    <a:pt x="754" y="630"/>
                    <a:pt x="759" y="633"/>
                  </a:cubicBezTo>
                  <a:cubicBezTo>
                    <a:pt x="759" y="631"/>
                    <a:pt x="759" y="630"/>
                    <a:pt x="759" y="629"/>
                  </a:cubicBezTo>
                  <a:cubicBezTo>
                    <a:pt x="712" y="1050"/>
                    <a:pt x="728" y="1056"/>
                    <a:pt x="744" y="1060"/>
                  </a:cubicBezTo>
                  <a:cubicBezTo>
                    <a:pt x="744" y="1059"/>
                    <a:pt x="743" y="1058"/>
                    <a:pt x="743" y="1057"/>
                  </a:cubicBezTo>
                  <a:cubicBezTo>
                    <a:pt x="748" y="1057"/>
                    <a:pt x="748" y="1057"/>
                    <a:pt x="748" y="1057"/>
                  </a:cubicBezTo>
                  <a:cubicBezTo>
                    <a:pt x="750" y="1059"/>
                    <a:pt x="751" y="1062"/>
                    <a:pt x="754" y="1062"/>
                  </a:cubicBezTo>
                  <a:cubicBezTo>
                    <a:pt x="757" y="1060"/>
                    <a:pt x="753" y="1057"/>
                    <a:pt x="750" y="1057"/>
                  </a:cubicBezTo>
                  <a:cubicBezTo>
                    <a:pt x="750" y="1057"/>
                    <a:pt x="750" y="1057"/>
                    <a:pt x="750" y="1057"/>
                  </a:cubicBezTo>
                  <a:cubicBezTo>
                    <a:pt x="757" y="1057"/>
                    <a:pt x="757" y="1057"/>
                    <a:pt x="757" y="1057"/>
                  </a:cubicBezTo>
                  <a:cubicBezTo>
                    <a:pt x="736" y="1052"/>
                    <a:pt x="716" y="1045"/>
                    <a:pt x="697" y="1037"/>
                  </a:cubicBezTo>
                  <a:cubicBezTo>
                    <a:pt x="696" y="1037"/>
                    <a:pt x="694" y="1037"/>
                    <a:pt x="693" y="1037"/>
                  </a:cubicBezTo>
                  <a:cubicBezTo>
                    <a:pt x="693" y="1037"/>
                    <a:pt x="693" y="1036"/>
                    <a:pt x="693" y="1036"/>
                  </a:cubicBezTo>
                  <a:cubicBezTo>
                    <a:pt x="692" y="1036"/>
                    <a:pt x="692" y="1035"/>
                    <a:pt x="692" y="1035"/>
                  </a:cubicBezTo>
                  <a:cubicBezTo>
                    <a:pt x="692" y="1036"/>
                    <a:pt x="692" y="1037"/>
                    <a:pt x="692" y="1037"/>
                  </a:cubicBezTo>
                  <a:cubicBezTo>
                    <a:pt x="690" y="1037"/>
                    <a:pt x="689" y="1037"/>
                    <a:pt x="689" y="1037"/>
                  </a:cubicBezTo>
                  <a:cubicBezTo>
                    <a:pt x="688" y="1037"/>
                    <a:pt x="688" y="1037"/>
                    <a:pt x="687" y="1036"/>
                  </a:cubicBezTo>
                  <a:cubicBezTo>
                    <a:pt x="687" y="1036"/>
                    <a:pt x="688" y="1036"/>
                    <a:pt x="688" y="1036"/>
                  </a:cubicBezTo>
                  <a:cubicBezTo>
                    <a:pt x="687" y="1035"/>
                    <a:pt x="687" y="1035"/>
                    <a:pt x="687" y="1035"/>
                  </a:cubicBezTo>
                  <a:cubicBezTo>
                    <a:pt x="685" y="1036"/>
                    <a:pt x="682" y="1037"/>
                    <a:pt x="679" y="1037"/>
                  </a:cubicBezTo>
                  <a:cubicBezTo>
                    <a:pt x="685" y="1040"/>
                    <a:pt x="691" y="1042"/>
                    <a:pt x="697" y="1045"/>
                  </a:cubicBezTo>
                  <a:cubicBezTo>
                    <a:pt x="997" y="993"/>
                    <a:pt x="997" y="994"/>
                    <a:pt x="997" y="994"/>
                  </a:cubicBezTo>
                  <a:cubicBezTo>
                    <a:pt x="997" y="994"/>
                    <a:pt x="995" y="995"/>
                    <a:pt x="994" y="995"/>
                  </a:cubicBezTo>
                  <a:cubicBezTo>
                    <a:pt x="994" y="995"/>
                    <a:pt x="994" y="995"/>
                    <a:pt x="994" y="995"/>
                  </a:cubicBezTo>
                  <a:cubicBezTo>
                    <a:pt x="995" y="996"/>
                    <a:pt x="999" y="995"/>
                    <a:pt x="998" y="999"/>
                  </a:cubicBezTo>
                  <a:cubicBezTo>
                    <a:pt x="1000" y="999"/>
                    <a:pt x="1000" y="998"/>
                    <a:pt x="1001" y="997"/>
                  </a:cubicBezTo>
                  <a:cubicBezTo>
                    <a:pt x="1000" y="996"/>
                    <a:pt x="1000" y="995"/>
                    <a:pt x="1000" y="995"/>
                  </a:cubicBezTo>
                  <a:cubicBezTo>
                    <a:pt x="1000" y="995"/>
                    <a:pt x="999" y="995"/>
                    <a:pt x="998" y="995"/>
                  </a:cubicBezTo>
                  <a:cubicBezTo>
                    <a:pt x="998" y="994"/>
                    <a:pt x="998" y="994"/>
                    <a:pt x="997" y="993"/>
                  </a:cubicBezTo>
                  <a:cubicBezTo>
                    <a:pt x="974" y="1006"/>
                    <a:pt x="961" y="1013"/>
                    <a:pt x="948" y="1020"/>
                  </a:cubicBezTo>
                  <a:cubicBezTo>
                    <a:pt x="963" y="1020"/>
                    <a:pt x="963" y="1020"/>
                    <a:pt x="963" y="1020"/>
                  </a:cubicBezTo>
                  <a:cubicBezTo>
                    <a:pt x="974" y="1014"/>
                    <a:pt x="985" y="1008"/>
                    <a:pt x="995" y="1002"/>
                  </a:cubicBezTo>
                  <a:cubicBezTo>
                    <a:pt x="989" y="1002"/>
                    <a:pt x="989" y="1002"/>
                    <a:pt x="989" y="1002"/>
                  </a:cubicBezTo>
                  <a:cubicBezTo>
                    <a:pt x="989" y="1002"/>
                    <a:pt x="989" y="1001"/>
                    <a:pt x="989" y="1001"/>
                  </a:cubicBezTo>
                  <a:cubicBezTo>
                    <a:pt x="988" y="1000"/>
                    <a:pt x="987" y="1000"/>
                    <a:pt x="986" y="999"/>
                  </a:cubicBezTo>
                  <a:cubicBezTo>
                    <a:pt x="639" y="1041"/>
                    <a:pt x="639" y="1041"/>
                    <a:pt x="639" y="1041"/>
                  </a:cubicBezTo>
                  <a:cubicBezTo>
                    <a:pt x="639" y="1040"/>
                    <a:pt x="639" y="1040"/>
                    <a:pt x="638" y="1039"/>
                  </a:cubicBezTo>
                  <a:cubicBezTo>
                    <a:pt x="635" y="1037"/>
                    <a:pt x="632" y="1036"/>
                    <a:pt x="628" y="1034"/>
                  </a:cubicBezTo>
                  <a:cubicBezTo>
                    <a:pt x="624" y="1032"/>
                    <a:pt x="620" y="1030"/>
                    <a:pt x="616" y="1028"/>
                  </a:cubicBezTo>
                  <a:cubicBezTo>
                    <a:pt x="615" y="1029"/>
                    <a:pt x="615" y="1030"/>
                    <a:pt x="615" y="1030"/>
                  </a:cubicBezTo>
                  <a:cubicBezTo>
                    <a:pt x="616" y="1031"/>
                    <a:pt x="616" y="1032"/>
                    <a:pt x="617" y="1033"/>
                  </a:cubicBezTo>
                  <a:cubicBezTo>
                    <a:pt x="616" y="1032"/>
                    <a:pt x="615" y="1032"/>
                    <a:pt x="614" y="1032"/>
                  </a:cubicBezTo>
                  <a:cubicBezTo>
                    <a:pt x="614" y="1033"/>
                    <a:pt x="613" y="1033"/>
                    <a:pt x="612" y="1034"/>
                  </a:cubicBezTo>
                  <a:cubicBezTo>
                    <a:pt x="613" y="1034"/>
                    <a:pt x="614" y="1035"/>
                    <a:pt x="615" y="1035"/>
                  </a:cubicBezTo>
                  <a:cubicBezTo>
                    <a:pt x="616" y="1036"/>
                    <a:pt x="618" y="1037"/>
                    <a:pt x="619" y="1037"/>
                  </a:cubicBezTo>
                  <a:cubicBezTo>
                    <a:pt x="621" y="1037"/>
                    <a:pt x="622" y="1037"/>
                    <a:pt x="624" y="1037"/>
                  </a:cubicBezTo>
                  <a:cubicBezTo>
                    <a:pt x="625" y="1038"/>
                    <a:pt x="625" y="1039"/>
                    <a:pt x="625" y="1040"/>
                  </a:cubicBezTo>
                  <a:cubicBezTo>
                    <a:pt x="638" y="1047"/>
                    <a:pt x="651" y="1053"/>
                    <a:pt x="664" y="1058"/>
                  </a:cubicBezTo>
                  <a:cubicBezTo>
                    <a:pt x="681" y="1058"/>
                    <a:pt x="681" y="1058"/>
                    <a:pt x="681" y="1058"/>
                  </a:cubicBezTo>
                  <a:cubicBezTo>
                    <a:pt x="668" y="1052"/>
                    <a:pt x="655" y="1047"/>
                    <a:pt x="642" y="1041"/>
                  </a:cubicBezTo>
                  <a:cubicBezTo>
                    <a:pt x="618" y="1031"/>
                    <a:pt x="623" y="1033"/>
                    <a:pt x="624" y="1034"/>
                  </a:cubicBezTo>
                  <a:cubicBezTo>
                    <a:pt x="623" y="1037"/>
                    <a:pt x="619" y="1035"/>
                    <a:pt x="617" y="1034"/>
                  </a:cubicBezTo>
                  <a:cubicBezTo>
                    <a:pt x="1014" y="989"/>
                    <a:pt x="1012" y="987"/>
                    <a:pt x="1010" y="985"/>
                  </a:cubicBezTo>
                  <a:cubicBezTo>
                    <a:pt x="1009" y="986"/>
                    <a:pt x="1008" y="987"/>
                    <a:pt x="1006" y="988"/>
                  </a:cubicBezTo>
                  <a:cubicBezTo>
                    <a:pt x="1007" y="988"/>
                    <a:pt x="1008" y="988"/>
                    <a:pt x="1009" y="989"/>
                  </a:cubicBezTo>
                  <a:cubicBezTo>
                    <a:pt x="1009" y="990"/>
                    <a:pt x="1009" y="992"/>
                    <a:pt x="1010" y="994"/>
                  </a:cubicBezTo>
                  <a:cubicBezTo>
                    <a:pt x="1012" y="992"/>
                    <a:pt x="1015" y="991"/>
                    <a:pt x="1018" y="989"/>
                  </a:cubicBezTo>
                  <a:cubicBezTo>
                    <a:pt x="894" y="990"/>
                    <a:pt x="894" y="990"/>
                    <a:pt x="894" y="990"/>
                  </a:cubicBezTo>
                  <a:cubicBezTo>
                    <a:pt x="898" y="989"/>
                    <a:pt x="900" y="991"/>
                    <a:pt x="899" y="995"/>
                  </a:cubicBezTo>
                  <a:cubicBezTo>
                    <a:pt x="900" y="995"/>
                    <a:pt x="901" y="995"/>
                    <a:pt x="902" y="995"/>
                  </a:cubicBezTo>
                  <a:cubicBezTo>
                    <a:pt x="905" y="994"/>
                    <a:pt x="908" y="993"/>
                    <a:pt x="912" y="992"/>
                  </a:cubicBezTo>
                  <a:cubicBezTo>
                    <a:pt x="912" y="991"/>
                    <a:pt x="912" y="991"/>
                    <a:pt x="912" y="991"/>
                  </a:cubicBezTo>
                  <a:cubicBezTo>
                    <a:pt x="911" y="989"/>
                    <a:pt x="911" y="986"/>
                    <a:pt x="911" y="985"/>
                  </a:cubicBezTo>
                  <a:cubicBezTo>
                    <a:pt x="931" y="984"/>
                    <a:pt x="931" y="984"/>
                    <a:pt x="931" y="984"/>
                  </a:cubicBezTo>
                  <a:cubicBezTo>
                    <a:pt x="931" y="984"/>
                    <a:pt x="931" y="985"/>
                    <a:pt x="931" y="985"/>
                  </a:cubicBezTo>
                  <a:cubicBezTo>
                    <a:pt x="945" y="979"/>
                    <a:pt x="959" y="973"/>
                    <a:pt x="973" y="967"/>
                  </a:cubicBezTo>
                  <a:cubicBezTo>
                    <a:pt x="971" y="967"/>
                    <a:pt x="971" y="967"/>
                    <a:pt x="971" y="967"/>
                  </a:cubicBezTo>
                  <a:cubicBezTo>
                    <a:pt x="971" y="967"/>
                    <a:pt x="971" y="966"/>
                    <a:pt x="971" y="966"/>
                  </a:cubicBezTo>
                  <a:cubicBezTo>
                    <a:pt x="970" y="966"/>
                    <a:pt x="968" y="966"/>
                    <a:pt x="967" y="967"/>
                  </a:cubicBezTo>
                  <a:cubicBezTo>
                    <a:pt x="959" y="967"/>
                    <a:pt x="959" y="967"/>
                    <a:pt x="959" y="967"/>
                  </a:cubicBezTo>
                  <a:cubicBezTo>
                    <a:pt x="960" y="966"/>
                    <a:pt x="961" y="966"/>
                    <a:pt x="962" y="966"/>
                  </a:cubicBezTo>
                  <a:cubicBezTo>
                    <a:pt x="961" y="965"/>
                    <a:pt x="961" y="964"/>
                    <a:pt x="962" y="963"/>
                  </a:cubicBezTo>
                  <a:cubicBezTo>
                    <a:pt x="960" y="964"/>
                    <a:pt x="959" y="965"/>
                    <a:pt x="957" y="965"/>
                  </a:cubicBezTo>
                  <a:cubicBezTo>
                    <a:pt x="958" y="966"/>
                    <a:pt x="958" y="966"/>
                    <a:pt x="959" y="967"/>
                  </a:cubicBezTo>
                  <a:cubicBezTo>
                    <a:pt x="954" y="967"/>
                    <a:pt x="954" y="967"/>
                    <a:pt x="954" y="967"/>
                  </a:cubicBezTo>
                  <a:cubicBezTo>
                    <a:pt x="934" y="975"/>
                    <a:pt x="914" y="983"/>
                    <a:pt x="894" y="989"/>
                  </a:cubicBezTo>
                  <a:cubicBezTo>
                    <a:pt x="604" y="1061"/>
                    <a:pt x="602" y="1062"/>
                    <a:pt x="601" y="1064"/>
                  </a:cubicBezTo>
                  <a:cubicBezTo>
                    <a:pt x="602" y="1064"/>
                    <a:pt x="602" y="1064"/>
                    <a:pt x="603" y="1065"/>
                  </a:cubicBezTo>
                  <a:cubicBezTo>
                    <a:pt x="604" y="1063"/>
                    <a:pt x="606" y="1062"/>
                    <a:pt x="609" y="1062"/>
                  </a:cubicBezTo>
                  <a:cubicBezTo>
                    <a:pt x="608" y="1062"/>
                    <a:pt x="608" y="1062"/>
                    <a:pt x="608" y="1062"/>
                  </a:cubicBezTo>
                  <a:cubicBezTo>
                    <a:pt x="608" y="1061"/>
                    <a:pt x="609" y="1061"/>
                    <a:pt x="609" y="1061"/>
                  </a:cubicBezTo>
                  <a:cubicBezTo>
                    <a:pt x="608" y="1060"/>
                    <a:pt x="607" y="1060"/>
                    <a:pt x="606" y="1059"/>
                  </a:cubicBezTo>
                  <a:cubicBezTo>
                    <a:pt x="953" y="989"/>
                    <a:pt x="951" y="990"/>
                    <a:pt x="949" y="991"/>
                  </a:cubicBezTo>
                  <a:cubicBezTo>
                    <a:pt x="950" y="991"/>
                    <a:pt x="951" y="991"/>
                    <a:pt x="952" y="991"/>
                  </a:cubicBezTo>
                  <a:cubicBezTo>
                    <a:pt x="952" y="992"/>
                    <a:pt x="953" y="993"/>
                    <a:pt x="953" y="995"/>
                  </a:cubicBezTo>
                  <a:cubicBezTo>
                    <a:pt x="955" y="994"/>
                    <a:pt x="958" y="994"/>
                    <a:pt x="961" y="994"/>
                  </a:cubicBezTo>
                  <a:cubicBezTo>
                    <a:pt x="961" y="994"/>
                    <a:pt x="961" y="994"/>
                    <a:pt x="961" y="994"/>
                  </a:cubicBezTo>
                  <a:cubicBezTo>
                    <a:pt x="961" y="992"/>
                    <a:pt x="961" y="990"/>
                    <a:pt x="962" y="989"/>
                  </a:cubicBezTo>
                  <a:cubicBezTo>
                    <a:pt x="960" y="989"/>
                    <a:pt x="958" y="989"/>
                    <a:pt x="956" y="989"/>
                  </a:cubicBezTo>
                  <a:cubicBezTo>
                    <a:pt x="956" y="989"/>
                    <a:pt x="956" y="989"/>
                    <a:pt x="956" y="988"/>
                  </a:cubicBezTo>
                  <a:cubicBezTo>
                    <a:pt x="516" y="602"/>
                    <a:pt x="516" y="602"/>
                    <a:pt x="515" y="602"/>
                  </a:cubicBezTo>
                  <a:cubicBezTo>
                    <a:pt x="515" y="602"/>
                    <a:pt x="515" y="602"/>
                    <a:pt x="515" y="602"/>
                  </a:cubicBezTo>
                  <a:cubicBezTo>
                    <a:pt x="515" y="603"/>
                    <a:pt x="515" y="604"/>
                    <a:pt x="515" y="606"/>
                  </a:cubicBezTo>
                  <a:cubicBezTo>
                    <a:pt x="514" y="606"/>
                    <a:pt x="514" y="606"/>
                    <a:pt x="513" y="606"/>
                  </a:cubicBezTo>
                  <a:cubicBezTo>
                    <a:pt x="513" y="606"/>
                    <a:pt x="513" y="606"/>
                    <a:pt x="513" y="606"/>
                  </a:cubicBezTo>
                  <a:cubicBezTo>
                    <a:pt x="512" y="606"/>
                    <a:pt x="512" y="606"/>
                    <a:pt x="512" y="605"/>
                  </a:cubicBezTo>
                  <a:cubicBezTo>
                    <a:pt x="511" y="605"/>
                    <a:pt x="510" y="605"/>
                    <a:pt x="510" y="606"/>
                  </a:cubicBezTo>
                  <a:cubicBezTo>
                    <a:pt x="510" y="608"/>
                    <a:pt x="512" y="609"/>
                    <a:pt x="512" y="610"/>
                  </a:cubicBezTo>
                  <a:cubicBezTo>
                    <a:pt x="513" y="610"/>
                    <a:pt x="513" y="610"/>
                    <a:pt x="514" y="610"/>
                  </a:cubicBezTo>
                  <a:cubicBezTo>
                    <a:pt x="515" y="609"/>
                    <a:pt x="516" y="609"/>
                    <a:pt x="517" y="609"/>
                  </a:cubicBezTo>
                  <a:cubicBezTo>
                    <a:pt x="516" y="609"/>
                    <a:pt x="515" y="609"/>
                    <a:pt x="515" y="609"/>
                  </a:cubicBezTo>
                  <a:cubicBezTo>
                    <a:pt x="516" y="607"/>
                    <a:pt x="516" y="605"/>
                    <a:pt x="517" y="603"/>
                  </a:cubicBezTo>
                  <a:cubicBezTo>
                    <a:pt x="396" y="715"/>
                    <a:pt x="398" y="715"/>
                    <a:pt x="401" y="715"/>
                  </a:cubicBezTo>
                  <a:cubicBezTo>
                    <a:pt x="402" y="715"/>
                    <a:pt x="402" y="715"/>
                    <a:pt x="402" y="714"/>
                  </a:cubicBezTo>
                  <a:cubicBezTo>
                    <a:pt x="400" y="714"/>
                    <a:pt x="399" y="714"/>
                    <a:pt x="397" y="714"/>
                  </a:cubicBezTo>
                  <a:cubicBezTo>
                    <a:pt x="396" y="714"/>
                    <a:pt x="396" y="713"/>
                    <a:pt x="395" y="712"/>
                  </a:cubicBezTo>
                  <a:cubicBezTo>
                    <a:pt x="395" y="713"/>
                    <a:pt x="395" y="714"/>
                    <a:pt x="394" y="714"/>
                  </a:cubicBezTo>
                  <a:cubicBezTo>
                    <a:pt x="528" y="1042"/>
                    <a:pt x="528" y="1042"/>
                    <a:pt x="528" y="1042"/>
                  </a:cubicBezTo>
                  <a:cubicBezTo>
                    <a:pt x="528" y="1041"/>
                    <a:pt x="528" y="1040"/>
                    <a:pt x="529" y="1039"/>
                  </a:cubicBezTo>
                  <a:cubicBezTo>
                    <a:pt x="528" y="1038"/>
                    <a:pt x="528" y="1038"/>
                    <a:pt x="528" y="1036"/>
                  </a:cubicBezTo>
                  <a:cubicBezTo>
                    <a:pt x="528" y="1036"/>
                    <a:pt x="528" y="1036"/>
                    <a:pt x="528" y="1036"/>
                  </a:cubicBezTo>
                  <a:cubicBezTo>
                    <a:pt x="527" y="1035"/>
                    <a:pt x="526" y="1034"/>
                    <a:pt x="525" y="1033"/>
                  </a:cubicBezTo>
                  <a:cubicBezTo>
                    <a:pt x="525" y="1033"/>
                    <a:pt x="524" y="1034"/>
                    <a:pt x="524" y="1035"/>
                  </a:cubicBezTo>
                  <a:cubicBezTo>
                    <a:pt x="524" y="1035"/>
                    <a:pt x="524" y="1035"/>
                    <a:pt x="524" y="1035"/>
                  </a:cubicBezTo>
                  <a:cubicBezTo>
                    <a:pt x="524" y="1035"/>
                    <a:pt x="524" y="1036"/>
                    <a:pt x="524" y="1036"/>
                  </a:cubicBezTo>
                  <a:cubicBezTo>
                    <a:pt x="524" y="1036"/>
                    <a:pt x="524" y="1036"/>
                    <a:pt x="523" y="1036"/>
                  </a:cubicBezTo>
                  <a:cubicBezTo>
                    <a:pt x="523" y="1036"/>
                    <a:pt x="523" y="1037"/>
                    <a:pt x="523" y="1037"/>
                  </a:cubicBezTo>
                  <a:cubicBezTo>
                    <a:pt x="522" y="1037"/>
                    <a:pt x="521" y="1036"/>
                    <a:pt x="521" y="1036"/>
                  </a:cubicBezTo>
                  <a:cubicBezTo>
                    <a:pt x="519" y="1035"/>
                    <a:pt x="518" y="1035"/>
                    <a:pt x="517" y="1034"/>
                  </a:cubicBezTo>
                  <a:cubicBezTo>
                    <a:pt x="525" y="1043"/>
                    <a:pt x="534" y="1051"/>
                    <a:pt x="543" y="1059"/>
                  </a:cubicBezTo>
                  <a:cubicBezTo>
                    <a:pt x="554" y="1059"/>
                    <a:pt x="554" y="1059"/>
                    <a:pt x="554" y="1059"/>
                  </a:cubicBezTo>
                  <a:cubicBezTo>
                    <a:pt x="547" y="1054"/>
                    <a:pt x="540" y="1048"/>
                    <a:pt x="534" y="1042"/>
                  </a:cubicBezTo>
                  <a:cubicBezTo>
                    <a:pt x="441" y="671"/>
                    <a:pt x="441" y="671"/>
                    <a:pt x="440" y="672"/>
                  </a:cubicBezTo>
                  <a:cubicBezTo>
                    <a:pt x="438" y="674"/>
                    <a:pt x="437" y="676"/>
                    <a:pt x="435" y="677"/>
                  </a:cubicBezTo>
                  <a:cubicBezTo>
                    <a:pt x="437" y="679"/>
                    <a:pt x="438" y="681"/>
                    <a:pt x="439" y="683"/>
                  </a:cubicBezTo>
                  <a:cubicBezTo>
                    <a:pt x="442" y="679"/>
                    <a:pt x="446" y="675"/>
                    <a:pt x="450" y="671"/>
                  </a:cubicBezTo>
                  <a:cubicBezTo>
                    <a:pt x="450" y="670"/>
                    <a:pt x="450" y="669"/>
                    <a:pt x="450" y="668"/>
                  </a:cubicBezTo>
                  <a:cubicBezTo>
                    <a:pt x="453" y="668"/>
                    <a:pt x="453" y="668"/>
                    <a:pt x="453" y="668"/>
                  </a:cubicBezTo>
                  <a:cubicBezTo>
                    <a:pt x="460" y="661"/>
                    <a:pt x="467" y="655"/>
                    <a:pt x="474" y="649"/>
                  </a:cubicBezTo>
                  <a:cubicBezTo>
                    <a:pt x="474" y="645"/>
                    <a:pt x="476" y="641"/>
                    <a:pt x="479" y="638"/>
                  </a:cubicBezTo>
                  <a:cubicBezTo>
                    <a:pt x="479" y="638"/>
                    <a:pt x="479" y="638"/>
                    <a:pt x="479" y="638"/>
                  </a:cubicBezTo>
                  <a:cubicBezTo>
                    <a:pt x="475" y="641"/>
                    <a:pt x="472" y="643"/>
                    <a:pt x="468" y="646"/>
                  </a:cubicBezTo>
                  <a:cubicBezTo>
                    <a:pt x="468" y="648"/>
                    <a:pt x="467" y="649"/>
                    <a:pt x="466" y="650"/>
                  </a:cubicBezTo>
                  <a:cubicBezTo>
                    <a:pt x="463" y="650"/>
                    <a:pt x="463" y="650"/>
                    <a:pt x="463" y="650"/>
                  </a:cubicBezTo>
                  <a:cubicBezTo>
                    <a:pt x="463" y="650"/>
                    <a:pt x="463" y="650"/>
                    <a:pt x="463" y="650"/>
                  </a:cubicBezTo>
                  <a:cubicBezTo>
                    <a:pt x="456" y="656"/>
                    <a:pt x="450" y="661"/>
                    <a:pt x="444" y="668"/>
                  </a:cubicBezTo>
                  <a:cubicBezTo>
                    <a:pt x="448" y="668"/>
                    <a:pt x="448" y="668"/>
                    <a:pt x="448" y="668"/>
                  </a:cubicBezTo>
                  <a:cubicBezTo>
                    <a:pt x="448" y="668"/>
                    <a:pt x="448" y="669"/>
                    <a:pt x="449" y="671"/>
                  </a:cubicBezTo>
                  <a:cubicBezTo>
                    <a:pt x="446" y="672"/>
                    <a:pt x="444" y="671"/>
                    <a:pt x="442" y="670"/>
                  </a:cubicBezTo>
                  <a:cubicBezTo>
                    <a:pt x="403" y="747"/>
                    <a:pt x="404" y="745"/>
                    <a:pt x="405" y="743"/>
                  </a:cubicBezTo>
                  <a:cubicBezTo>
                    <a:pt x="402" y="742"/>
                    <a:pt x="400" y="742"/>
                    <a:pt x="399" y="743"/>
                  </a:cubicBezTo>
                  <a:cubicBezTo>
                    <a:pt x="400" y="746"/>
                    <a:pt x="400" y="748"/>
                    <a:pt x="402" y="750"/>
                  </a:cubicBezTo>
                  <a:cubicBezTo>
                    <a:pt x="477" y="1032"/>
                    <a:pt x="477" y="1032"/>
                    <a:pt x="477" y="1032"/>
                  </a:cubicBezTo>
                  <a:cubicBezTo>
                    <a:pt x="476" y="1031"/>
                    <a:pt x="476" y="1031"/>
                    <a:pt x="476" y="1031"/>
                  </a:cubicBezTo>
                  <a:cubicBezTo>
                    <a:pt x="476" y="1032"/>
                    <a:pt x="477" y="1032"/>
                    <a:pt x="477" y="1033"/>
                  </a:cubicBezTo>
                  <a:cubicBezTo>
                    <a:pt x="437" y="717"/>
                    <a:pt x="436" y="717"/>
                    <a:pt x="435" y="717"/>
                  </a:cubicBezTo>
                  <a:cubicBezTo>
                    <a:pt x="434" y="717"/>
                    <a:pt x="433" y="718"/>
                    <a:pt x="432" y="718"/>
                  </a:cubicBezTo>
                  <a:cubicBezTo>
                    <a:pt x="432" y="718"/>
                    <a:pt x="431" y="719"/>
                    <a:pt x="431" y="719"/>
                  </a:cubicBezTo>
                  <a:cubicBezTo>
                    <a:pt x="432" y="720"/>
                    <a:pt x="432" y="721"/>
                    <a:pt x="432" y="722"/>
                  </a:cubicBezTo>
                  <a:cubicBezTo>
                    <a:pt x="430" y="722"/>
                    <a:pt x="430" y="722"/>
                    <a:pt x="430" y="722"/>
                  </a:cubicBezTo>
                  <a:cubicBezTo>
                    <a:pt x="421" y="739"/>
                    <a:pt x="414" y="758"/>
                    <a:pt x="410" y="777"/>
                  </a:cubicBezTo>
                  <a:cubicBezTo>
                    <a:pt x="408" y="789"/>
                    <a:pt x="406" y="801"/>
                    <a:pt x="405" y="813"/>
                  </a:cubicBezTo>
                  <a:cubicBezTo>
                    <a:pt x="405" y="813"/>
                    <a:pt x="406" y="813"/>
                    <a:pt x="406" y="813"/>
                  </a:cubicBezTo>
                  <a:cubicBezTo>
                    <a:pt x="409" y="813"/>
                    <a:pt x="406" y="818"/>
                    <a:pt x="410" y="817"/>
                  </a:cubicBezTo>
                  <a:cubicBezTo>
                    <a:pt x="410" y="819"/>
                    <a:pt x="408" y="819"/>
                    <a:pt x="408" y="822"/>
                  </a:cubicBezTo>
                  <a:cubicBezTo>
                    <a:pt x="407" y="822"/>
                    <a:pt x="406" y="822"/>
                    <a:pt x="405" y="822"/>
                  </a:cubicBezTo>
                  <a:cubicBezTo>
                    <a:pt x="405" y="822"/>
                    <a:pt x="405" y="823"/>
                    <a:pt x="405" y="823"/>
                  </a:cubicBezTo>
                  <a:cubicBezTo>
                    <a:pt x="405" y="823"/>
                    <a:pt x="406" y="823"/>
                    <a:pt x="406" y="823"/>
                  </a:cubicBezTo>
                  <a:cubicBezTo>
                    <a:pt x="406" y="826"/>
                    <a:pt x="408" y="826"/>
                    <a:pt x="407" y="829"/>
                  </a:cubicBezTo>
                  <a:cubicBezTo>
                    <a:pt x="406" y="829"/>
                    <a:pt x="406" y="829"/>
                    <a:pt x="405" y="829"/>
                  </a:cubicBezTo>
                  <a:cubicBezTo>
                    <a:pt x="405" y="829"/>
                    <a:pt x="405" y="829"/>
                    <a:pt x="405" y="829"/>
                  </a:cubicBezTo>
                  <a:cubicBezTo>
                    <a:pt x="404" y="839"/>
                    <a:pt x="405" y="849"/>
                    <a:pt x="405" y="859"/>
                  </a:cubicBezTo>
                  <a:cubicBezTo>
                    <a:pt x="406" y="858"/>
                    <a:pt x="407" y="855"/>
                    <a:pt x="406" y="852"/>
                  </a:cubicBezTo>
                  <a:cubicBezTo>
                    <a:pt x="407" y="850"/>
                    <a:pt x="409" y="851"/>
                    <a:pt x="411" y="851"/>
                  </a:cubicBezTo>
                  <a:cubicBezTo>
                    <a:pt x="411" y="851"/>
                    <a:pt x="411" y="850"/>
                    <a:pt x="411" y="850"/>
                  </a:cubicBezTo>
                  <a:cubicBezTo>
                    <a:pt x="411" y="850"/>
                    <a:pt x="411" y="850"/>
                    <a:pt x="411" y="850"/>
                  </a:cubicBezTo>
                  <a:cubicBezTo>
                    <a:pt x="410" y="849"/>
                    <a:pt x="410" y="848"/>
                    <a:pt x="410" y="846"/>
                  </a:cubicBezTo>
                  <a:cubicBezTo>
                    <a:pt x="411" y="846"/>
                    <a:pt x="411" y="846"/>
                    <a:pt x="411" y="846"/>
                  </a:cubicBezTo>
                  <a:cubicBezTo>
                    <a:pt x="411" y="840"/>
                    <a:pt x="411" y="835"/>
                    <a:pt x="411" y="829"/>
                  </a:cubicBezTo>
                  <a:cubicBezTo>
                    <a:pt x="410" y="829"/>
                    <a:pt x="410" y="829"/>
                    <a:pt x="410" y="829"/>
                  </a:cubicBezTo>
                  <a:cubicBezTo>
                    <a:pt x="409" y="828"/>
                    <a:pt x="408" y="827"/>
                    <a:pt x="408" y="826"/>
                  </a:cubicBezTo>
                  <a:cubicBezTo>
                    <a:pt x="408" y="824"/>
                    <a:pt x="409" y="822"/>
                    <a:pt x="412" y="821"/>
                  </a:cubicBezTo>
                  <a:cubicBezTo>
                    <a:pt x="413" y="798"/>
                    <a:pt x="417" y="776"/>
                    <a:pt x="424" y="754"/>
                  </a:cubicBezTo>
                  <a:cubicBezTo>
                    <a:pt x="423" y="755"/>
                    <a:pt x="423" y="755"/>
                    <a:pt x="421" y="755"/>
                  </a:cubicBezTo>
                  <a:cubicBezTo>
                    <a:pt x="421" y="755"/>
                    <a:pt x="421" y="755"/>
                    <a:pt x="421" y="754"/>
                  </a:cubicBezTo>
                  <a:cubicBezTo>
                    <a:pt x="421" y="754"/>
                    <a:pt x="421" y="754"/>
                    <a:pt x="421" y="754"/>
                  </a:cubicBezTo>
                  <a:cubicBezTo>
                    <a:pt x="420" y="753"/>
                    <a:pt x="421" y="749"/>
                    <a:pt x="423" y="748"/>
                  </a:cubicBezTo>
                  <a:cubicBezTo>
                    <a:pt x="424" y="748"/>
                    <a:pt x="425" y="749"/>
                    <a:pt x="426" y="749"/>
                  </a:cubicBezTo>
                  <a:cubicBezTo>
                    <a:pt x="430" y="737"/>
                    <a:pt x="435" y="726"/>
                    <a:pt x="441" y="715"/>
                  </a:cubicBezTo>
                  <a:cubicBezTo>
                    <a:pt x="441" y="716"/>
                    <a:pt x="440" y="716"/>
                    <a:pt x="439" y="716"/>
                  </a:cubicBezTo>
                  <a:cubicBezTo>
                    <a:pt x="438" y="717"/>
                    <a:pt x="438" y="717"/>
                    <a:pt x="438" y="718"/>
                  </a:cubicBezTo>
                  <a:cubicBezTo>
                    <a:pt x="403" y="921"/>
                    <a:pt x="400" y="911"/>
                    <a:pt x="398" y="900"/>
                  </a:cubicBezTo>
                  <a:cubicBezTo>
                    <a:pt x="396" y="900"/>
                    <a:pt x="396" y="900"/>
                    <a:pt x="396" y="900"/>
                  </a:cubicBezTo>
                  <a:cubicBezTo>
                    <a:pt x="396" y="900"/>
                    <a:pt x="397" y="900"/>
                    <a:pt x="397" y="900"/>
                  </a:cubicBezTo>
                  <a:cubicBezTo>
                    <a:pt x="395" y="899"/>
                    <a:pt x="394" y="899"/>
                    <a:pt x="393" y="897"/>
                  </a:cubicBezTo>
                  <a:cubicBezTo>
                    <a:pt x="393" y="898"/>
                    <a:pt x="393" y="898"/>
                    <a:pt x="393" y="898"/>
                  </a:cubicBezTo>
                  <a:cubicBezTo>
                    <a:pt x="392" y="899"/>
                    <a:pt x="392" y="899"/>
                    <a:pt x="391" y="899"/>
                  </a:cubicBezTo>
                  <a:cubicBezTo>
                    <a:pt x="392" y="905"/>
                    <a:pt x="394" y="911"/>
                    <a:pt x="396" y="918"/>
                  </a:cubicBezTo>
                  <a:cubicBezTo>
                    <a:pt x="401" y="918"/>
                    <a:pt x="401" y="918"/>
                    <a:pt x="401" y="918"/>
                  </a:cubicBezTo>
                  <a:cubicBezTo>
                    <a:pt x="401" y="918"/>
                    <a:pt x="401" y="918"/>
                    <a:pt x="401" y="919"/>
                  </a:cubicBezTo>
                  <a:cubicBezTo>
                    <a:pt x="399" y="920"/>
                    <a:pt x="398" y="920"/>
                    <a:pt x="396" y="919"/>
                  </a:cubicBezTo>
                  <a:cubicBezTo>
                    <a:pt x="397" y="923"/>
                    <a:pt x="398" y="926"/>
                    <a:pt x="399" y="929"/>
                  </a:cubicBezTo>
                  <a:cubicBezTo>
                    <a:pt x="401" y="929"/>
                    <a:pt x="402" y="930"/>
                    <a:pt x="402" y="931"/>
                  </a:cubicBezTo>
                  <a:cubicBezTo>
                    <a:pt x="402" y="933"/>
                    <a:pt x="402" y="933"/>
                    <a:pt x="400" y="933"/>
                  </a:cubicBezTo>
                  <a:cubicBezTo>
                    <a:pt x="404" y="944"/>
                    <a:pt x="408" y="954"/>
                    <a:pt x="412" y="964"/>
                  </a:cubicBezTo>
                  <a:cubicBezTo>
                    <a:pt x="415" y="965"/>
                    <a:pt x="417" y="965"/>
                    <a:pt x="418" y="964"/>
                  </a:cubicBezTo>
                  <a:cubicBezTo>
                    <a:pt x="413" y="964"/>
                    <a:pt x="414" y="961"/>
                    <a:pt x="411" y="961"/>
                  </a:cubicBezTo>
                  <a:cubicBezTo>
                    <a:pt x="412" y="958"/>
                    <a:pt x="411" y="955"/>
                    <a:pt x="412" y="953"/>
                  </a:cubicBezTo>
                  <a:cubicBezTo>
                    <a:pt x="414" y="953"/>
                    <a:pt x="414" y="953"/>
                    <a:pt x="414" y="953"/>
                  </a:cubicBezTo>
                  <a:cubicBezTo>
                    <a:pt x="412" y="947"/>
                    <a:pt x="410" y="942"/>
                    <a:pt x="408" y="936"/>
                  </a:cubicBezTo>
                  <a:cubicBezTo>
                    <a:pt x="406" y="936"/>
                    <a:pt x="406" y="936"/>
                    <a:pt x="406" y="936"/>
                  </a:cubicBezTo>
                  <a:cubicBezTo>
                    <a:pt x="405" y="935"/>
                    <a:pt x="404" y="934"/>
                    <a:pt x="404" y="933"/>
                  </a:cubicBezTo>
                  <a:cubicBezTo>
                    <a:pt x="404" y="932"/>
                    <a:pt x="405" y="931"/>
                    <a:pt x="406" y="931"/>
                  </a:cubicBezTo>
                  <a:cubicBezTo>
                    <a:pt x="864" y="560"/>
                    <a:pt x="862" y="560"/>
                    <a:pt x="859" y="560"/>
                  </a:cubicBezTo>
                  <a:cubicBezTo>
                    <a:pt x="859" y="561"/>
                    <a:pt x="859" y="562"/>
                    <a:pt x="860" y="562"/>
                  </a:cubicBezTo>
                  <a:cubicBezTo>
                    <a:pt x="861" y="563"/>
                    <a:pt x="862" y="563"/>
                    <a:pt x="863" y="564"/>
                  </a:cubicBezTo>
                  <a:cubicBezTo>
                    <a:pt x="865" y="564"/>
                    <a:pt x="866" y="565"/>
                    <a:pt x="867" y="566"/>
                  </a:cubicBezTo>
                  <a:cubicBezTo>
                    <a:pt x="870" y="568"/>
                    <a:pt x="874" y="569"/>
                    <a:pt x="877" y="571"/>
                  </a:cubicBezTo>
                  <a:cubicBezTo>
                    <a:pt x="878" y="571"/>
                    <a:pt x="879" y="571"/>
                    <a:pt x="879" y="571"/>
                  </a:cubicBezTo>
                  <a:cubicBezTo>
                    <a:pt x="880" y="571"/>
                    <a:pt x="880" y="572"/>
                    <a:pt x="880" y="572"/>
                  </a:cubicBezTo>
                  <a:cubicBezTo>
                    <a:pt x="881" y="572"/>
                    <a:pt x="881" y="573"/>
                    <a:pt x="881" y="573"/>
                  </a:cubicBezTo>
                  <a:cubicBezTo>
                    <a:pt x="882" y="571"/>
                    <a:pt x="883" y="571"/>
                    <a:pt x="885" y="571"/>
                  </a:cubicBezTo>
                  <a:cubicBezTo>
                    <a:pt x="886" y="571"/>
                    <a:pt x="887" y="572"/>
                    <a:pt x="887" y="574"/>
                  </a:cubicBezTo>
                  <a:cubicBezTo>
                    <a:pt x="888" y="573"/>
                    <a:pt x="889" y="573"/>
                    <a:pt x="890" y="571"/>
                  </a:cubicBezTo>
                  <a:cubicBezTo>
                    <a:pt x="892" y="571"/>
                    <a:pt x="893" y="572"/>
                    <a:pt x="894" y="572"/>
                  </a:cubicBezTo>
                  <a:cubicBezTo>
                    <a:pt x="894" y="572"/>
                    <a:pt x="895" y="572"/>
                    <a:pt x="895" y="572"/>
                  </a:cubicBezTo>
                  <a:cubicBezTo>
                    <a:pt x="886" y="568"/>
                    <a:pt x="877" y="564"/>
                    <a:pt x="869" y="559"/>
                  </a:cubicBezTo>
                  <a:cubicBezTo>
                    <a:pt x="869" y="560"/>
                    <a:pt x="869" y="560"/>
                    <a:pt x="869" y="560"/>
                  </a:cubicBezTo>
                  <a:cubicBezTo>
                    <a:pt x="868" y="561"/>
                    <a:pt x="867" y="560"/>
                    <a:pt x="867" y="559"/>
                  </a:cubicBezTo>
                  <a:cubicBezTo>
                    <a:pt x="937" y="563"/>
                    <a:pt x="937" y="563"/>
                    <a:pt x="938" y="563"/>
                  </a:cubicBezTo>
                  <a:cubicBezTo>
                    <a:pt x="938" y="560"/>
                    <a:pt x="937" y="560"/>
                    <a:pt x="938" y="557"/>
                  </a:cubicBezTo>
                  <a:cubicBezTo>
                    <a:pt x="937" y="557"/>
                    <a:pt x="936" y="557"/>
                    <a:pt x="935" y="557"/>
                  </a:cubicBezTo>
                  <a:cubicBezTo>
                    <a:pt x="936" y="558"/>
                    <a:pt x="936" y="561"/>
                    <a:pt x="936" y="563"/>
                  </a:cubicBezTo>
                  <a:cubicBezTo>
                    <a:pt x="927" y="503"/>
                    <a:pt x="926" y="503"/>
                    <a:pt x="926" y="502"/>
                  </a:cubicBezTo>
                  <a:cubicBezTo>
                    <a:pt x="925" y="502"/>
                    <a:pt x="924" y="502"/>
                    <a:pt x="923" y="501"/>
                  </a:cubicBezTo>
                  <a:cubicBezTo>
                    <a:pt x="923" y="502"/>
                    <a:pt x="923" y="503"/>
                    <a:pt x="923" y="504"/>
                  </a:cubicBezTo>
                  <a:cubicBezTo>
                    <a:pt x="917" y="504"/>
                    <a:pt x="917" y="504"/>
                    <a:pt x="917" y="504"/>
                  </a:cubicBezTo>
                  <a:cubicBezTo>
                    <a:pt x="917" y="502"/>
                    <a:pt x="916" y="501"/>
                    <a:pt x="915" y="499"/>
                  </a:cubicBezTo>
                  <a:cubicBezTo>
                    <a:pt x="902" y="495"/>
                    <a:pt x="889" y="491"/>
                    <a:pt x="876" y="487"/>
                  </a:cubicBezTo>
                  <a:cubicBezTo>
                    <a:pt x="876" y="488"/>
                    <a:pt x="876" y="488"/>
                    <a:pt x="875" y="489"/>
                  </a:cubicBezTo>
                  <a:cubicBezTo>
                    <a:pt x="877" y="488"/>
                    <a:pt x="880" y="488"/>
                    <a:pt x="882" y="489"/>
                  </a:cubicBezTo>
                  <a:cubicBezTo>
                    <a:pt x="882" y="490"/>
                    <a:pt x="882" y="492"/>
                    <a:pt x="882" y="493"/>
                  </a:cubicBezTo>
                  <a:cubicBezTo>
                    <a:pt x="880" y="493"/>
                    <a:pt x="879" y="494"/>
                    <a:pt x="878" y="494"/>
                  </a:cubicBezTo>
                  <a:cubicBezTo>
                    <a:pt x="879" y="495"/>
                    <a:pt x="881" y="495"/>
                    <a:pt x="882" y="496"/>
                  </a:cubicBezTo>
                  <a:cubicBezTo>
                    <a:pt x="882" y="496"/>
                    <a:pt x="882" y="495"/>
                    <a:pt x="882" y="495"/>
                  </a:cubicBezTo>
                  <a:cubicBezTo>
                    <a:pt x="882" y="494"/>
                    <a:pt x="882" y="493"/>
                    <a:pt x="883" y="492"/>
                  </a:cubicBezTo>
                  <a:cubicBezTo>
                    <a:pt x="886" y="493"/>
                    <a:pt x="890" y="494"/>
                    <a:pt x="892" y="496"/>
                  </a:cubicBezTo>
                  <a:cubicBezTo>
                    <a:pt x="892" y="497"/>
                    <a:pt x="892" y="498"/>
                    <a:pt x="892" y="499"/>
                  </a:cubicBezTo>
                  <a:cubicBezTo>
                    <a:pt x="893" y="499"/>
                    <a:pt x="895" y="500"/>
                    <a:pt x="896" y="500"/>
                  </a:cubicBezTo>
                  <a:cubicBezTo>
                    <a:pt x="896" y="499"/>
                    <a:pt x="896" y="497"/>
                    <a:pt x="896" y="496"/>
                  </a:cubicBezTo>
                  <a:cubicBezTo>
                    <a:pt x="898" y="496"/>
                    <a:pt x="900" y="496"/>
                    <a:pt x="902" y="496"/>
                  </a:cubicBezTo>
                  <a:cubicBezTo>
                    <a:pt x="902" y="498"/>
                    <a:pt x="901" y="499"/>
                    <a:pt x="901" y="501"/>
                  </a:cubicBezTo>
                  <a:cubicBezTo>
                    <a:pt x="900" y="501"/>
                    <a:pt x="898" y="501"/>
                    <a:pt x="897" y="501"/>
                  </a:cubicBezTo>
                  <a:cubicBezTo>
                    <a:pt x="900" y="501"/>
                    <a:pt x="902" y="502"/>
                    <a:pt x="905" y="503"/>
                  </a:cubicBezTo>
                  <a:cubicBezTo>
                    <a:pt x="905" y="503"/>
                    <a:pt x="905" y="502"/>
                    <a:pt x="906" y="502"/>
                  </a:cubicBezTo>
                  <a:cubicBezTo>
                    <a:pt x="908" y="502"/>
                    <a:pt x="911" y="502"/>
                    <a:pt x="913" y="502"/>
                  </a:cubicBezTo>
                  <a:cubicBezTo>
                    <a:pt x="913" y="503"/>
                    <a:pt x="913" y="503"/>
                    <a:pt x="913" y="504"/>
                  </a:cubicBezTo>
                  <a:cubicBezTo>
                    <a:pt x="907" y="504"/>
                    <a:pt x="907" y="504"/>
                    <a:pt x="907" y="504"/>
                  </a:cubicBezTo>
                  <a:cubicBezTo>
                    <a:pt x="928" y="510"/>
                    <a:pt x="948" y="515"/>
                    <a:pt x="969" y="518"/>
                  </a:cubicBezTo>
                  <a:cubicBezTo>
                    <a:pt x="974" y="519"/>
                    <a:pt x="975" y="512"/>
                    <a:pt x="971" y="512"/>
                  </a:cubicBezTo>
                  <a:cubicBezTo>
                    <a:pt x="957" y="509"/>
                    <a:pt x="945" y="507"/>
                    <a:pt x="932" y="503"/>
                  </a:cubicBezTo>
                  <a:cubicBezTo>
                    <a:pt x="778" y="457"/>
                    <a:pt x="778" y="457"/>
                    <a:pt x="778" y="457"/>
                  </a:cubicBezTo>
                  <a:cubicBezTo>
                    <a:pt x="778" y="457"/>
                    <a:pt x="778" y="457"/>
                    <a:pt x="778" y="457"/>
                  </a:cubicBezTo>
                  <a:cubicBezTo>
                    <a:pt x="778" y="457"/>
                    <a:pt x="778" y="457"/>
                    <a:pt x="778" y="457"/>
                  </a:cubicBezTo>
                  <a:cubicBezTo>
                    <a:pt x="779" y="457"/>
                    <a:pt x="779" y="458"/>
                    <a:pt x="780" y="458"/>
                  </a:cubicBezTo>
                  <a:cubicBezTo>
                    <a:pt x="781" y="458"/>
                    <a:pt x="781" y="457"/>
                    <a:pt x="782" y="456"/>
                  </a:cubicBezTo>
                  <a:cubicBezTo>
                    <a:pt x="780" y="456"/>
                    <a:pt x="779" y="456"/>
                    <a:pt x="778" y="455"/>
                  </a:cubicBezTo>
                  <a:cubicBezTo>
                    <a:pt x="778" y="456"/>
                    <a:pt x="778" y="456"/>
                    <a:pt x="778" y="457"/>
                  </a:cubicBezTo>
                  <a:cubicBezTo>
                    <a:pt x="1013" y="636"/>
                    <a:pt x="1013" y="636"/>
                    <a:pt x="1013" y="637"/>
                  </a:cubicBezTo>
                  <a:cubicBezTo>
                    <a:pt x="1011" y="637"/>
                    <a:pt x="1009" y="637"/>
                    <a:pt x="1007" y="637"/>
                  </a:cubicBezTo>
                  <a:cubicBezTo>
                    <a:pt x="1008" y="639"/>
                    <a:pt x="1009" y="640"/>
                    <a:pt x="1010" y="642"/>
                  </a:cubicBezTo>
                  <a:cubicBezTo>
                    <a:pt x="1020" y="643"/>
                    <a:pt x="1029" y="644"/>
                    <a:pt x="1038" y="645"/>
                  </a:cubicBezTo>
                  <a:cubicBezTo>
                    <a:pt x="1042" y="645"/>
                    <a:pt x="1043" y="638"/>
                    <a:pt x="1039" y="638"/>
                  </a:cubicBezTo>
                  <a:cubicBezTo>
                    <a:pt x="1039" y="638"/>
                    <a:pt x="1038" y="638"/>
                    <a:pt x="1038" y="638"/>
                  </a:cubicBezTo>
                  <a:cubicBezTo>
                    <a:pt x="1038" y="638"/>
                    <a:pt x="1038" y="638"/>
                    <a:pt x="1038" y="638"/>
                  </a:cubicBezTo>
                  <a:cubicBezTo>
                    <a:pt x="1037" y="638"/>
                    <a:pt x="1036" y="638"/>
                    <a:pt x="1036" y="638"/>
                  </a:cubicBezTo>
                  <a:cubicBezTo>
                    <a:pt x="1034" y="638"/>
                    <a:pt x="1033" y="638"/>
                    <a:pt x="1032" y="637"/>
                  </a:cubicBezTo>
                  <a:cubicBezTo>
                    <a:pt x="1030" y="642"/>
                    <a:pt x="1025" y="641"/>
                    <a:pt x="1020" y="638"/>
                  </a:cubicBezTo>
                  <a:cubicBezTo>
                    <a:pt x="1020" y="637"/>
                    <a:pt x="1020" y="637"/>
                    <a:pt x="1020" y="636"/>
                  </a:cubicBezTo>
                  <a:cubicBezTo>
                    <a:pt x="1018" y="636"/>
                    <a:pt x="1015" y="636"/>
                    <a:pt x="1013" y="636"/>
                  </a:cubicBezTo>
                  <a:cubicBezTo>
                    <a:pt x="846" y="600"/>
                    <a:pt x="846" y="600"/>
                    <a:pt x="846" y="600"/>
                  </a:cubicBezTo>
                  <a:cubicBezTo>
                    <a:pt x="846" y="600"/>
                    <a:pt x="846" y="600"/>
                    <a:pt x="846" y="600"/>
                  </a:cubicBezTo>
                  <a:cubicBezTo>
                    <a:pt x="846" y="600"/>
                    <a:pt x="846" y="600"/>
                    <a:pt x="846" y="600"/>
                  </a:cubicBezTo>
                  <a:cubicBezTo>
                    <a:pt x="789" y="458"/>
                    <a:pt x="788" y="458"/>
                    <a:pt x="787" y="458"/>
                  </a:cubicBezTo>
                  <a:cubicBezTo>
                    <a:pt x="786" y="459"/>
                    <a:pt x="785" y="460"/>
                    <a:pt x="784" y="461"/>
                  </a:cubicBezTo>
                  <a:cubicBezTo>
                    <a:pt x="786" y="463"/>
                    <a:pt x="788" y="464"/>
                    <a:pt x="790" y="466"/>
                  </a:cubicBezTo>
                  <a:cubicBezTo>
                    <a:pt x="791" y="466"/>
                    <a:pt x="792" y="466"/>
                    <a:pt x="793" y="467"/>
                  </a:cubicBezTo>
                  <a:cubicBezTo>
                    <a:pt x="793" y="466"/>
                    <a:pt x="793" y="465"/>
                    <a:pt x="793" y="464"/>
                  </a:cubicBezTo>
                  <a:cubicBezTo>
                    <a:pt x="792" y="464"/>
                    <a:pt x="791" y="464"/>
                    <a:pt x="790" y="464"/>
                  </a:cubicBezTo>
                  <a:cubicBezTo>
                    <a:pt x="790" y="462"/>
                    <a:pt x="789" y="461"/>
                    <a:pt x="789" y="459"/>
                  </a:cubicBezTo>
                  <a:cubicBezTo>
                    <a:pt x="860" y="659"/>
                    <a:pt x="849" y="653"/>
                    <a:pt x="839" y="647"/>
                  </a:cubicBezTo>
                  <a:cubicBezTo>
                    <a:pt x="826" y="647"/>
                    <a:pt x="826" y="647"/>
                    <a:pt x="826" y="647"/>
                  </a:cubicBezTo>
                  <a:cubicBezTo>
                    <a:pt x="829" y="649"/>
                    <a:pt x="833" y="651"/>
                    <a:pt x="836" y="653"/>
                  </a:cubicBezTo>
                  <a:cubicBezTo>
                    <a:pt x="843" y="657"/>
                    <a:pt x="849" y="661"/>
                    <a:pt x="856" y="664"/>
                  </a:cubicBezTo>
                  <a:cubicBezTo>
                    <a:pt x="856" y="664"/>
                    <a:pt x="856" y="664"/>
                    <a:pt x="856" y="664"/>
                  </a:cubicBezTo>
                  <a:cubicBezTo>
                    <a:pt x="858" y="664"/>
                    <a:pt x="858" y="664"/>
                    <a:pt x="858" y="664"/>
                  </a:cubicBezTo>
                  <a:cubicBezTo>
                    <a:pt x="858" y="665"/>
                    <a:pt x="859" y="665"/>
                    <a:pt x="859" y="666"/>
                  </a:cubicBezTo>
                  <a:cubicBezTo>
                    <a:pt x="860" y="666"/>
                    <a:pt x="860" y="666"/>
                    <a:pt x="860" y="666"/>
                  </a:cubicBezTo>
                  <a:cubicBezTo>
                    <a:pt x="861" y="667"/>
                    <a:pt x="862" y="667"/>
                    <a:pt x="863" y="667"/>
                  </a:cubicBezTo>
                  <a:cubicBezTo>
                    <a:pt x="863" y="667"/>
                    <a:pt x="863" y="667"/>
                    <a:pt x="863" y="668"/>
                  </a:cubicBezTo>
                  <a:cubicBezTo>
                    <a:pt x="863" y="668"/>
                    <a:pt x="864" y="668"/>
                    <a:pt x="865" y="669"/>
                  </a:cubicBezTo>
                  <a:cubicBezTo>
                    <a:pt x="865" y="668"/>
                    <a:pt x="866" y="667"/>
                    <a:pt x="866" y="667"/>
                  </a:cubicBezTo>
                  <a:cubicBezTo>
                    <a:pt x="866" y="667"/>
                    <a:pt x="865" y="667"/>
                    <a:pt x="864" y="666"/>
                  </a:cubicBezTo>
                  <a:cubicBezTo>
                    <a:pt x="864" y="666"/>
                    <a:pt x="864" y="665"/>
                    <a:pt x="864" y="664"/>
                  </a:cubicBezTo>
                  <a:cubicBezTo>
                    <a:pt x="965" y="627"/>
                    <a:pt x="942" y="620"/>
                    <a:pt x="920" y="611"/>
                  </a:cubicBezTo>
                  <a:cubicBezTo>
                    <a:pt x="918" y="611"/>
                    <a:pt x="918" y="611"/>
                    <a:pt x="918" y="611"/>
                  </a:cubicBezTo>
                  <a:cubicBezTo>
                    <a:pt x="918" y="610"/>
                    <a:pt x="918" y="610"/>
                    <a:pt x="918" y="610"/>
                  </a:cubicBezTo>
                  <a:cubicBezTo>
                    <a:pt x="917" y="609"/>
                    <a:pt x="915" y="608"/>
                    <a:pt x="914" y="608"/>
                  </a:cubicBezTo>
                  <a:cubicBezTo>
                    <a:pt x="914" y="610"/>
                    <a:pt x="912" y="610"/>
                    <a:pt x="910" y="610"/>
                  </a:cubicBezTo>
                  <a:cubicBezTo>
                    <a:pt x="910" y="608"/>
                    <a:pt x="910" y="607"/>
                    <a:pt x="909" y="606"/>
                  </a:cubicBezTo>
                  <a:cubicBezTo>
                    <a:pt x="909" y="606"/>
                    <a:pt x="908" y="605"/>
                    <a:pt x="908" y="605"/>
                  </a:cubicBezTo>
                  <a:cubicBezTo>
                    <a:pt x="906" y="604"/>
                    <a:pt x="904" y="603"/>
                    <a:pt x="902" y="602"/>
                  </a:cubicBezTo>
                  <a:cubicBezTo>
                    <a:pt x="900" y="602"/>
                    <a:pt x="899" y="603"/>
                    <a:pt x="898" y="603"/>
                  </a:cubicBezTo>
                  <a:cubicBezTo>
                    <a:pt x="900" y="604"/>
                    <a:pt x="903" y="604"/>
                    <a:pt x="903" y="606"/>
                  </a:cubicBezTo>
                  <a:cubicBezTo>
                    <a:pt x="903" y="607"/>
                    <a:pt x="903" y="608"/>
                    <a:pt x="902" y="610"/>
                  </a:cubicBezTo>
                  <a:cubicBezTo>
                    <a:pt x="905" y="611"/>
                    <a:pt x="907" y="612"/>
                    <a:pt x="910" y="613"/>
                  </a:cubicBezTo>
                  <a:cubicBezTo>
                    <a:pt x="925" y="621"/>
                    <a:pt x="941" y="626"/>
                    <a:pt x="958" y="631"/>
                  </a:cubicBezTo>
                  <a:cubicBezTo>
                    <a:pt x="958" y="631"/>
                    <a:pt x="958" y="630"/>
                    <a:pt x="958" y="630"/>
                  </a:cubicBezTo>
                  <a:cubicBezTo>
                    <a:pt x="959" y="630"/>
                    <a:pt x="960" y="630"/>
                    <a:pt x="962" y="630"/>
                  </a:cubicBezTo>
                  <a:cubicBezTo>
                    <a:pt x="963" y="631"/>
                    <a:pt x="963" y="632"/>
                    <a:pt x="964" y="633"/>
                  </a:cubicBezTo>
                  <a:cubicBezTo>
                    <a:pt x="965" y="633"/>
                    <a:pt x="966" y="633"/>
                    <a:pt x="967" y="634"/>
                  </a:cubicBezTo>
                  <a:cubicBezTo>
                    <a:pt x="967" y="632"/>
                    <a:pt x="967" y="630"/>
                    <a:pt x="968" y="629"/>
                  </a:cubicBezTo>
                  <a:cubicBezTo>
                    <a:pt x="971" y="629"/>
                    <a:pt x="974" y="629"/>
                    <a:pt x="976" y="630"/>
                  </a:cubicBezTo>
                  <a:cubicBezTo>
                    <a:pt x="976" y="630"/>
                    <a:pt x="976" y="630"/>
                    <a:pt x="976" y="630"/>
                  </a:cubicBezTo>
                  <a:cubicBezTo>
                    <a:pt x="977" y="630"/>
                    <a:pt x="979" y="630"/>
                    <a:pt x="981" y="631"/>
                  </a:cubicBezTo>
                  <a:cubicBezTo>
                    <a:pt x="981" y="634"/>
                    <a:pt x="981" y="635"/>
                    <a:pt x="981" y="637"/>
                  </a:cubicBezTo>
                  <a:cubicBezTo>
                    <a:pt x="986" y="638"/>
                    <a:pt x="992" y="639"/>
                    <a:pt x="998" y="640"/>
                  </a:cubicBezTo>
                  <a:cubicBezTo>
                    <a:pt x="996" y="639"/>
                    <a:pt x="995" y="637"/>
                    <a:pt x="994" y="636"/>
                  </a:cubicBezTo>
                  <a:cubicBezTo>
                    <a:pt x="991" y="637"/>
                    <a:pt x="988" y="634"/>
                    <a:pt x="988" y="631"/>
                  </a:cubicBezTo>
                  <a:cubicBezTo>
                    <a:pt x="854" y="604"/>
                    <a:pt x="853" y="603"/>
                    <a:pt x="852" y="603"/>
                  </a:cubicBezTo>
                  <a:cubicBezTo>
                    <a:pt x="852" y="603"/>
                    <a:pt x="851" y="604"/>
                    <a:pt x="851" y="604"/>
                  </a:cubicBezTo>
                  <a:cubicBezTo>
                    <a:pt x="855" y="603"/>
                    <a:pt x="855" y="608"/>
                    <a:pt x="856" y="610"/>
                  </a:cubicBezTo>
                  <a:cubicBezTo>
                    <a:pt x="857" y="608"/>
                    <a:pt x="860" y="609"/>
                    <a:pt x="859" y="606"/>
                  </a:cubicBezTo>
                  <a:cubicBezTo>
                    <a:pt x="859" y="606"/>
                    <a:pt x="858" y="606"/>
                    <a:pt x="858" y="606"/>
                  </a:cubicBezTo>
                  <a:cubicBezTo>
                    <a:pt x="857" y="606"/>
                    <a:pt x="855" y="605"/>
                    <a:pt x="855" y="604"/>
                  </a:cubicBezTo>
                  <a:cubicBezTo>
                    <a:pt x="924" y="670"/>
                    <a:pt x="924" y="669"/>
                    <a:pt x="923" y="669"/>
                  </a:cubicBezTo>
                  <a:cubicBezTo>
                    <a:pt x="923" y="669"/>
                    <a:pt x="923" y="670"/>
                    <a:pt x="922" y="670"/>
                  </a:cubicBezTo>
                  <a:cubicBezTo>
                    <a:pt x="923" y="671"/>
                    <a:pt x="924" y="671"/>
                    <a:pt x="925" y="672"/>
                  </a:cubicBezTo>
                  <a:cubicBezTo>
                    <a:pt x="925" y="671"/>
                    <a:pt x="925" y="671"/>
                    <a:pt x="925" y="670"/>
                  </a:cubicBezTo>
                  <a:cubicBezTo>
                    <a:pt x="929" y="674"/>
                    <a:pt x="930" y="674"/>
                    <a:pt x="931" y="674"/>
                  </a:cubicBezTo>
                  <a:cubicBezTo>
                    <a:pt x="930" y="674"/>
                    <a:pt x="930" y="673"/>
                    <a:pt x="929" y="673"/>
                  </a:cubicBezTo>
                  <a:cubicBezTo>
                    <a:pt x="929" y="673"/>
                    <a:pt x="929" y="673"/>
                    <a:pt x="929" y="673"/>
                  </a:cubicBezTo>
                  <a:cubicBezTo>
                    <a:pt x="833" y="472"/>
                    <a:pt x="828" y="471"/>
                    <a:pt x="822" y="469"/>
                  </a:cubicBezTo>
                  <a:cubicBezTo>
                    <a:pt x="811" y="469"/>
                    <a:pt x="811" y="469"/>
                    <a:pt x="811" y="469"/>
                  </a:cubicBezTo>
                  <a:cubicBezTo>
                    <a:pt x="812" y="468"/>
                    <a:pt x="813" y="467"/>
                    <a:pt x="814" y="466"/>
                  </a:cubicBezTo>
                  <a:cubicBezTo>
                    <a:pt x="813" y="466"/>
                    <a:pt x="811" y="465"/>
                    <a:pt x="810" y="465"/>
                  </a:cubicBezTo>
                  <a:cubicBezTo>
                    <a:pt x="808" y="465"/>
                    <a:pt x="807" y="466"/>
                    <a:pt x="805" y="467"/>
                  </a:cubicBezTo>
                  <a:cubicBezTo>
                    <a:pt x="805" y="466"/>
                    <a:pt x="806" y="465"/>
                    <a:pt x="807" y="464"/>
                  </a:cubicBezTo>
                  <a:cubicBezTo>
                    <a:pt x="804" y="463"/>
                    <a:pt x="802" y="462"/>
                    <a:pt x="800" y="462"/>
                  </a:cubicBezTo>
                  <a:cubicBezTo>
                    <a:pt x="799" y="462"/>
                    <a:pt x="799" y="463"/>
                    <a:pt x="799" y="463"/>
                  </a:cubicBezTo>
                  <a:cubicBezTo>
                    <a:pt x="799" y="464"/>
                    <a:pt x="800" y="466"/>
                    <a:pt x="800" y="468"/>
                  </a:cubicBezTo>
                  <a:cubicBezTo>
                    <a:pt x="799" y="468"/>
                    <a:pt x="799" y="468"/>
                    <a:pt x="799" y="468"/>
                  </a:cubicBezTo>
                  <a:cubicBezTo>
                    <a:pt x="799" y="468"/>
                    <a:pt x="799" y="468"/>
                    <a:pt x="799" y="468"/>
                  </a:cubicBezTo>
                  <a:cubicBezTo>
                    <a:pt x="817" y="474"/>
                    <a:pt x="835" y="480"/>
                    <a:pt x="853" y="486"/>
                  </a:cubicBezTo>
                  <a:cubicBezTo>
                    <a:pt x="853" y="486"/>
                    <a:pt x="853" y="486"/>
                    <a:pt x="853" y="486"/>
                  </a:cubicBezTo>
                  <a:cubicBezTo>
                    <a:pt x="860" y="486"/>
                    <a:pt x="860" y="486"/>
                    <a:pt x="860" y="486"/>
                  </a:cubicBezTo>
                  <a:cubicBezTo>
                    <a:pt x="859" y="487"/>
                    <a:pt x="858" y="487"/>
                    <a:pt x="855" y="487"/>
                  </a:cubicBezTo>
                  <a:cubicBezTo>
                    <a:pt x="861" y="489"/>
                    <a:pt x="867" y="491"/>
                    <a:pt x="873" y="493"/>
                  </a:cubicBezTo>
                  <a:cubicBezTo>
                    <a:pt x="873" y="492"/>
                    <a:pt x="873" y="491"/>
                    <a:pt x="873" y="490"/>
                  </a:cubicBezTo>
                  <a:cubicBezTo>
                    <a:pt x="871" y="490"/>
                    <a:pt x="870" y="491"/>
                    <a:pt x="868" y="490"/>
                  </a:cubicBezTo>
                  <a:cubicBezTo>
                    <a:pt x="868" y="489"/>
                    <a:pt x="868" y="488"/>
                    <a:pt x="868" y="487"/>
                  </a:cubicBezTo>
                  <a:cubicBezTo>
                    <a:pt x="867" y="486"/>
                    <a:pt x="867" y="486"/>
                    <a:pt x="866" y="486"/>
                  </a:cubicBezTo>
                  <a:cubicBezTo>
                    <a:pt x="872" y="486"/>
                    <a:pt x="872" y="486"/>
                    <a:pt x="872" y="486"/>
                  </a:cubicBezTo>
                  <a:cubicBezTo>
                    <a:pt x="861" y="482"/>
                    <a:pt x="850" y="478"/>
                    <a:pt x="839" y="474"/>
                  </a:cubicBezTo>
                  <a:cubicBezTo>
                    <a:pt x="196" y="597"/>
                    <a:pt x="201" y="589"/>
                    <a:pt x="207" y="581"/>
                  </a:cubicBezTo>
                  <a:cubicBezTo>
                    <a:pt x="198" y="581"/>
                    <a:pt x="198" y="581"/>
                    <a:pt x="198" y="581"/>
                  </a:cubicBezTo>
                  <a:cubicBezTo>
                    <a:pt x="193" y="588"/>
                    <a:pt x="188" y="595"/>
                    <a:pt x="184" y="602"/>
                  </a:cubicBezTo>
                  <a:cubicBezTo>
                    <a:pt x="186" y="602"/>
                    <a:pt x="189" y="604"/>
                    <a:pt x="190" y="606"/>
                  </a:cubicBezTo>
                  <a:cubicBezTo>
                    <a:pt x="970" y="681"/>
                    <a:pt x="970" y="681"/>
                    <a:pt x="970" y="681"/>
                  </a:cubicBezTo>
                  <a:cubicBezTo>
                    <a:pt x="969" y="681"/>
                    <a:pt x="969" y="681"/>
                    <a:pt x="968" y="681"/>
                  </a:cubicBezTo>
                  <a:cubicBezTo>
                    <a:pt x="968" y="681"/>
                    <a:pt x="968" y="680"/>
                    <a:pt x="968" y="680"/>
                  </a:cubicBezTo>
                  <a:cubicBezTo>
                    <a:pt x="961" y="678"/>
                    <a:pt x="954" y="676"/>
                    <a:pt x="947" y="673"/>
                  </a:cubicBezTo>
                  <a:cubicBezTo>
                    <a:pt x="947" y="674"/>
                    <a:pt x="947" y="675"/>
                    <a:pt x="947" y="676"/>
                  </a:cubicBezTo>
                  <a:cubicBezTo>
                    <a:pt x="945" y="677"/>
                    <a:pt x="945" y="676"/>
                    <a:pt x="942" y="675"/>
                  </a:cubicBezTo>
                  <a:cubicBezTo>
                    <a:pt x="942" y="674"/>
                    <a:pt x="942" y="673"/>
                    <a:pt x="943" y="672"/>
                  </a:cubicBezTo>
                  <a:cubicBezTo>
                    <a:pt x="939" y="670"/>
                    <a:pt x="936" y="669"/>
                    <a:pt x="932" y="668"/>
                  </a:cubicBezTo>
                  <a:cubicBezTo>
                    <a:pt x="936" y="671"/>
                    <a:pt x="939" y="674"/>
                    <a:pt x="942" y="678"/>
                  </a:cubicBezTo>
                  <a:cubicBezTo>
                    <a:pt x="943" y="679"/>
                    <a:pt x="945" y="679"/>
                    <a:pt x="946" y="680"/>
                  </a:cubicBezTo>
                  <a:cubicBezTo>
                    <a:pt x="947" y="680"/>
                    <a:pt x="948" y="679"/>
                    <a:pt x="950" y="679"/>
                  </a:cubicBezTo>
                  <a:cubicBezTo>
                    <a:pt x="952" y="679"/>
                    <a:pt x="954" y="680"/>
                    <a:pt x="955" y="682"/>
                  </a:cubicBezTo>
                  <a:cubicBezTo>
                    <a:pt x="951" y="682"/>
                    <a:pt x="951" y="682"/>
                    <a:pt x="951" y="682"/>
                  </a:cubicBezTo>
                  <a:cubicBezTo>
                    <a:pt x="977" y="691"/>
                    <a:pt x="1004" y="697"/>
                    <a:pt x="1033" y="698"/>
                  </a:cubicBezTo>
                  <a:cubicBezTo>
                    <a:pt x="1033" y="698"/>
                    <a:pt x="1033" y="698"/>
                    <a:pt x="1033" y="698"/>
                  </a:cubicBezTo>
                  <a:cubicBezTo>
                    <a:pt x="1043" y="698"/>
                    <a:pt x="1043" y="698"/>
                    <a:pt x="1043" y="698"/>
                  </a:cubicBezTo>
                  <a:cubicBezTo>
                    <a:pt x="1043" y="698"/>
                    <a:pt x="1043" y="698"/>
                    <a:pt x="1043" y="698"/>
                  </a:cubicBezTo>
                  <a:cubicBezTo>
                    <a:pt x="1043" y="698"/>
                    <a:pt x="1044" y="698"/>
                    <a:pt x="1044" y="698"/>
                  </a:cubicBezTo>
                  <a:cubicBezTo>
                    <a:pt x="1044" y="698"/>
                    <a:pt x="1044" y="698"/>
                    <a:pt x="1044" y="698"/>
                  </a:cubicBezTo>
                  <a:cubicBezTo>
                    <a:pt x="1050" y="698"/>
                    <a:pt x="1050" y="698"/>
                    <a:pt x="1050" y="698"/>
                  </a:cubicBezTo>
                  <a:cubicBezTo>
                    <a:pt x="1051" y="698"/>
                    <a:pt x="1051" y="698"/>
                    <a:pt x="1051" y="698"/>
                  </a:cubicBezTo>
                  <a:cubicBezTo>
                    <a:pt x="1052" y="698"/>
                    <a:pt x="1054" y="698"/>
                    <a:pt x="1055" y="698"/>
                  </a:cubicBezTo>
                  <a:cubicBezTo>
                    <a:pt x="1056" y="698"/>
                    <a:pt x="1056" y="698"/>
                    <a:pt x="1056" y="698"/>
                  </a:cubicBezTo>
                  <a:cubicBezTo>
                    <a:pt x="1058" y="698"/>
                    <a:pt x="1058" y="698"/>
                    <a:pt x="1058" y="698"/>
                  </a:cubicBezTo>
                  <a:cubicBezTo>
                    <a:pt x="1062" y="698"/>
                    <a:pt x="1066" y="697"/>
                    <a:pt x="1070" y="697"/>
                  </a:cubicBezTo>
                  <a:cubicBezTo>
                    <a:pt x="1074" y="696"/>
                    <a:pt x="1073" y="690"/>
                    <a:pt x="1069" y="690"/>
                  </a:cubicBezTo>
                  <a:cubicBezTo>
                    <a:pt x="1035" y="694"/>
                    <a:pt x="1003" y="690"/>
                    <a:pt x="972" y="681"/>
                  </a:cubicBezTo>
                  <a:cubicBezTo>
                    <a:pt x="921" y="664"/>
                    <a:pt x="918" y="666"/>
                    <a:pt x="915" y="666"/>
                  </a:cubicBezTo>
                  <a:cubicBezTo>
                    <a:pt x="915" y="666"/>
                    <a:pt x="915" y="666"/>
                    <a:pt x="915" y="666"/>
                  </a:cubicBezTo>
                  <a:cubicBezTo>
                    <a:pt x="914" y="666"/>
                    <a:pt x="913" y="666"/>
                    <a:pt x="913" y="666"/>
                  </a:cubicBezTo>
                  <a:cubicBezTo>
                    <a:pt x="914" y="667"/>
                    <a:pt x="915" y="668"/>
                    <a:pt x="917" y="668"/>
                  </a:cubicBezTo>
                  <a:cubicBezTo>
                    <a:pt x="917" y="666"/>
                    <a:pt x="922" y="669"/>
                    <a:pt x="922" y="665"/>
                  </a:cubicBezTo>
                  <a:cubicBezTo>
                    <a:pt x="977" y="702"/>
                    <a:pt x="972" y="701"/>
                    <a:pt x="967" y="700"/>
                  </a:cubicBezTo>
                  <a:cubicBezTo>
                    <a:pt x="969" y="704"/>
                    <a:pt x="973" y="707"/>
                    <a:pt x="981" y="705"/>
                  </a:cubicBezTo>
                  <a:cubicBezTo>
                    <a:pt x="982" y="705"/>
                    <a:pt x="982" y="704"/>
                    <a:pt x="982" y="703"/>
                  </a:cubicBezTo>
                  <a:cubicBezTo>
                    <a:pt x="1003" y="664"/>
                    <a:pt x="1003" y="665"/>
                    <a:pt x="1002" y="665"/>
                  </a:cubicBezTo>
                  <a:cubicBezTo>
                    <a:pt x="1003" y="666"/>
                    <a:pt x="1005" y="666"/>
                    <a:pt x="1006" y="666"/>
                  </a:cubicBezTo>
                  <a:cubicBezTo>
                    <a:pt x="1007" y="669"/>
                    <a:pt x="1006" y="671"/>
                    <a:pt x="1005" y="672"/>
                  </a:cubicBezTo>
                  <a:cubicBezTo>
                    <a:pt x="1007" y="672"/>
                    <a:pt x="1009" y="672"/>
                    <a:pt x="1011" y="673"/>
                  </a:cubicBezTo>
                  <a:cubicBezTo>
                    <a:pt x="1011" y="673"/>
                    <a:pt x="1011" y="673"/>
                    <a:pt x="1011" y="673"/>
                  </a:cubicBezTo>
                  <a:cubicBezTo>
                    <a:pt x="1011" y="673"/>
                    <a:pt x="1011" y="672"/>
                    <a:pt x="1011" y="672"/>
                  </a:cubicBezTo>
                  <a:cubicBezTo>
                    <a:pt x="1012" y="672"/>
                    <a:pt x="1013" y="673"/>
                    <a:pt x="1013" y="673"/>
                  </a:cubicBezTo>
                  <a:cubicBezTo>
                    <a:pt x="1015" y="673"/>
                    <a:pt x="1016" y="674"/>
                    <a:pt x="1017" y="674"/>
                  </a:cubicBezTo>
                  <a:cubicBezTo>
                    <a:pt x="1017" y="674"/>
                    <a:pt x="1018" y="674"/>
                    <a:pt x="1018" y="675"/>
                  </a:cubicBezTo>
                  <a:cubicBezTo>
                    <a:pt x="1018" y="674"/>
                    <a:pt x="1018" y="674"/>
                    <a:pt x="1019" y="674"/>
                  </a:cubicBezTo>
                  <a:cubicBezTo>
                    <a:pt x="1018" y="674"/>
                    <a:pt x="1018" y="674"/>
                    <a:pt x="1018" y="674"/>
                  </a:cubicBezTo>
                  <a:cubicBezTo>
                    <a:pt x="1018" y="671"/>
                    <a:pt x="1018" y="670"/>
                    <a:pt x="1019" y="668"/>
                  </a:cubicBezTo>
                  <a:cubicBezTo>
                    <a:pt x="1019" y="668"/>
                    <a:pt x="1019" y="668"/>
                    <a:pt x="1019" y="668"/>
                  </a:cubicBezTo>
                  <a:cubicBezTo>
                    <a:pt x="1018" y="667"/>
                    <a:pt x="1017" y="667"/>
                    <a:pt x="1016" y="667"/>
                  </a:cubicBezTo>
                  <a:cubicBezTo>
                    <a:pt x="1017" y="668"/>
                    <a:pt x="1017" y="670"/>
                    <a:pt x="1015" y="672"/>
                  </a:cubicBezTo>
                  <a:cubicBezTo>
                    <a:pt x="1011" y="672"/>
                    <a:pt x="1012" y="668"/>
                    <a:pt x="1010" y="668"/>
                  </a:cubicBezTo>
                  <a:cubicBezTo>
                    <a:pt x="1010" y="667"/>
                    <a:pt x="1010" y="666"/>
                    <a:pt x="1011" y="666"/>
                  </a:cubicBezTo>
                  <a:cubicBezTo>
                    <a:pt x="1008" y="665"/>
                    <a:pt x="1006" y="665"/>
                    <a:pt x="1003" y="664"/>
                  </a:cubicBezTo>
                  <a:cubicBezTo>
                    <a:pt x="17" y="580"/>
                    <a:pt x="17" y="579"/>
                    <a:pt x="17" y="579"/>
                  </a:cubicBezTo>
                  <a:cubicBezTo>
                    <a:pt x="17" y="578"/>
                    <a:pt x="16" y="577"/>
                    <a:pt x="16" y="575"/>
                  </a:cubicBezTo>
                  <a:cubicBezTo>
                    <a:pt x="17" y="575"/>
                    <a:pt x="18" y="574"/>
                    <a:pt x="20" y="574"/>
                  </a:cubicBezTo>
                  <a:cubicBezTo>
                    <a:pt x="20" y="574"/>
                    <a:pt x="20" y="573"/>
                    <a:pt x="21" y="573"/>
                  </a:cubicBezTo>
                  <a:cubicBezTo>
                    <a:pt x="20" y="573"/>
                    <a:pt x="20" y="573"/>
                    <a:pt x="20" y="574"/>
                  </a:cubicBezTo>
                  <a:cubicBezTo>
                    <a:pt x="19" y="573"/>
                    <a:pt x="18" y="573"/>
                    <a:pt x="18" y="572"/>
                  </a:cubicBezTo>
                  <a:cubicBezTo>
                    <a:pt x="18" y="572"/>
                    <a:pt x="18" y="572"/>
                    <a:pt x="18" y="572"/>
                  </a:cubicBezTo>
                  <a:cubicBezTo>
                    <a:pt x="18" y="571"/>
                    <a:pt x="18" y="570"/>
                    <a:pt x="18" y="570"/>
                  </a:cubicBezTo>
                  <a:cubicBezTo>
                    <a:pt x="18" y="568"/>
                    <a:pt x="20" y="566"/>
                    <a:pt x="21" y="564"/>
                  </a:cubicBezTo>
                  <a:cubicBezTo>
                    <a:pt x="25" y="564"/>
                    <a:pt x="25" y="564"/>
                    <a:pt x="25" y="564"/>
                  </a:cubicBezTo>
                  <a:cubicBezTo>
                    <a:pt x="29" y="558"/>
                    <a:pt x="32" y="552"/>
                    <a:pt x="36" y="547"/>
                  </a:cubicBezTo>
                  <a:cubicBezTo>
                    <a:pt x="35" y="546"/>
                    <a:pt x="36" y="542"/>
                    <a:pt x="36" y="540"/>
                  </a:cubicBezTo>
                  <a:cubicBezTo>
                    <a:pt x="37" y="541"/>
                    <a:pt x="39" y="540"/>
                    <a:pt x="40" y="541"/>
                  </a:cubicBezTo>
                  <a:cubicBezTo>
                    <a:pt x="40" y="540"/>
                    <a:pt x="41" y="540"/>
                    <a:pt x="41" y="539"/>
                  </a:cubicBezTo>
                  <a:cubicBezTo>
                    <a:pt x="41" y="538"/>
                    <a:pt x="41" y="538"/>
                    <a:pt x="42" y="538"/>
                  </a:cubicBezTo>
                  <a:cubicBezTo>
                    <a:pt x="42" y="537"/>
                    <a:pt x="42" y="537"/>
                    <a:pt x="43" y="537"/>
                  </a:cubicBezTo>
                  <a:cubicBezTo>
                    <a:pt x="42" y="535"/>
                    <a:pt x="41" y="534"/>
                    <a:pt x="41" y="532"/>
                  </a:cubicBezTo>
                  <a:cubicBezTo>
                    <a:pt x="41" y="533"/>
                    <a:pt x="41" y="535"/>
                    <a:pt x="40" y="537"/>
                  </a:cubicBezTo>
                  <a:cubicBezTo>
                    <a:pt x="40" y="538"/>
                    <a:pt x="38" y="538"/>
                    <a:pt x="38" y="540"/>
                  </a:cubicBezTo>
                  <a:cubicBezTo>
                    <a:pt x="36" y="540"/>
                    <a:pt x="35" y="540"/>
                    <a:pt x="34" y="539"/>
                  </a:cubicBezTo>
                  <a:cubicBezTo>
                    <a:pt x="33" y="540"/>
                    <a:pt x="32" y="542"/>
                    <a:pt x="31" y="543"/>
                  </a:cubicBezTo>
                  <a:cubicBezTo>
                    <a:pt x="32" y="544"/>
                    <a:pt x="34" y="546"/>
                    <a:pt x="35" y="547"/>
                  </a:cubicBezTo>
                  <a:cubicBezTo>
                    <a:pt x="30" y="547"/>
                    <a:pt x="30" y="547"/>
                    <a:pt x="30" y="547"/>
                  </a:cubicBezTo>
                  <a:cubicBezTo>
                    <a:pt x="29" y="547"/>
                    <a:pt x="29" y="546"/>
                    <a:pt x="29" y="546"/>
                  </a:cubicBezTo>
                  <a:cubicBezTo>
                    <a:pt x="24" y="554"/>
                    <a:pt x="19" y="563"/>
                    <a:pt x="14" y="571"/>
                  </a:cubicBezTo>
                  <a:cubicBezTo>
                    <a:pt x="15" y="572"/>
                    <a:pt x="16" y="573"/>
                    <a:pt x="15" y="575"/>
                  </a:cubicBezTo>
                  <a:cubicBezTo>
                    <a:pt x="13" y="576"/>
                    <a:pt x="11" y="577"/>
                    <a:pt x="14" y="579"/>
                  </a:cubicBezTo>
                  <a:cubicBezTo>
                    <a:pt x="14" y="579"/>
                    <a:pt x="13" y="580"/>
                    <a:pt x="13" y="581"/>
                  </a:cubicBezTo>
                  <a:cubicBezTo>
                    <a:pt x="11" y="581"/>
                    <a:pt x="11" y="580"/>
                    <a:pt x="11" y="579"/>
                  </a:cubicBezTo>
                  <a:cubicBezTo>
                    <a:pt x="11" y="580"/>
                    <a:pt x="11" y="581"/>
                    <a:pt x="12" y="582"/>
                  </a:cubicBezTo>
                  <a:cubicBezTo>
                    <a:pt x="14" y="583"/>
                    <a:pt x="15" y="582"/>
                    <a:pt x="16" y="581"/>
                  </a:cubicBezTo>
                  <a:cubicBezTo>
                    <a:pt x="263" y="461"/>
                    <a:pt x="260" y="459"/>
                    <a:pt x="258" y="459"/>
                  </a:cubicBezTo>
                  <a:cubicBezTo>
                    <a:pt x="257" y="460"/>
                    <a:pt x="257" y="460"/>
                    <a:pt x="257" y="460"/>
                  </a:cubicBezTo>
                  <a:cubicBezTo>
                    <a:pt x="261" y="462"/>
                    <a:pt x="258" y="465"/>
                    <a:pt x="258" y="468"/>
                  </a:cubicBezTo>
                  <a:cubicBezTo>
                    <a:pt x="260" y="467"/>
                    <a:pt x="262" y="465"/>
                    <a:pt x="265" y="463"/>
                  </a:cubicBezTo>
                  <a:cubicBezTo>
                    <a:pt x="41" y="530"/>
                    <a:pt x="41" y="530"/>
                    <a:pt x="41" y="532"/>
                  </a:cubicBezTo>
                  <a:cubicBezTo>
                    <a:pt x="174" y="460"/>
                    <a:pt x="174" y="460"/>
                    <a:pt x="175" y="460"/>
                  </a:cubicBezTo>
                  <a:cubicBezTo>
                    <a:pt x="175" y="460"/>
                    <a:pt x="174" y="459"/>
                    <a:pt x="174" y="459"/>
                  </a:cubicBezTo>
                  <a:cubicBezTo>
                    <a:pt x="174" y="459"/>
                    <a:pt x="174" y="460"/>
                    <a:pt x="173" y="460"/>
                  </a:cubicBezTo>
                  <a:cubicBezTo>
                    <a:pt x="69" y="851"/>
                    <a:pt x="69" y="852"/>
                    <a:pt x="69" y="854"/>
                  </a:cubicBezTo>
                  <a:cubicBezTo>
                    <a:pt x="68" y="854"/>
                    <a:pt x="67" y="854"/>
                    <a:pt x="66" y="854"/>
                  </a:cubicBezTo>
                  <a:cubicBezTo>
                    <a:pt x="65" y="854"/>
                    <a:pt x="65" y="855"/>
                    <a:pt x="65" y="855"/>
                  </a:cubicBezTo>
                  <a:cubicBezTo>
                    <a:pt x="64" y="857"/>
                    <a:pt x="65" y="859"/>
                    <a:pt x="67" y="860"/>
                  </a:cubicBezTo>
                  <a:cubicBezTo>
                    <a:pt x="68" y="856"/>
                    <a:pt x="69" y="853"/>
                    <a:pt x="70" y="851"/>
                  </a:cubicBezTo>
                  <a:cubicBezTo>
                    <a:pt x="186" y="611"/>
                    <a:pt x="187" y="610"/>
                    <a:pt x="188" y="609"/>
                  </a:cubicBezTo>
                  <a:cubicBezTo>
                    <a:pt x="187" y="609"/>
                    <a:pt x="185" y="609"/>
                    <a:pt x="183" y="609"/>
                  </a:cubicBezTo>
                  <a:cubicBezTo>
                    <a:pt x="183" y="607"/>
                    <a:pt x="183" y="605"/>
                    <a:pt x="182" y="604"/>
                  </a:cubicBezTo>
                  <a:cubicBezTo>
                    <a:pt x="175" y="615"/>
                    <a:pt x="168" y="626"/>
                    <a:pt x="161" y="637"/>
                  </a:cubicBezTo>
                  <a:cubicBezTo>
                    <a:pt x="164" y="639"/>
                    <a:pt x="169" y="647"/>
                    <a:pt x="162" y="648"/>
                  </a:cubicBezTo>
                  <a:cubicBezTo>
                    <a:pt x="161" y="648"/>
                    <a:pt x="159" y="646"/>
                    <a:pt x="158" y="644"/>
                  </a:cubicBezTo>
                  <a:cubicBezTo>
                    <a:pt x="153" y="652"/>
                    <a:pt x="148" y="661"/>
                    <a:pt x="143" y="670"/>
                  </a:cubicBezTo>
                  <a:cubicBezTo>
                    <a:pt x="149" y="670"/>
                    <a:pt x="149" y="670"/>
                    <a:pt x="149" y="670"/>
                  </a:cubicBezTo>
                  <a:cubicBezTo>
                    <a:pt x="149" y="672"/>
                    <a:pt x="149" y="673"/>
                    <a:pt x="150" y="674"/>
                  </a:cubicBezTo>
                  <a:cubicBezTo>
                    <a:pt x="150" y="673"/>
                    <a:pt x="151" y="672"/>
                    <a:pt x="151" y="672"/>
                  </a:cubicBezTo>
                  <a:cubicBezTo>
                    <a:pt x="151" y="671"/>
                    <a:pt x="151" y="671"/>
                    <a:pt x="151" y="670"/>
                  </a:cubicBezTo>
                  <a:cubicBezTo>
                    <a:pt x="152" y="670"/>
                    <a:pt x="152" y="670"/>
                    <a:pt x="152" y="670"/>
                  </a:cubicBezTo>
                  <a:cubicBezTo>
                    <a:pt x="162" y="652"/>
                    <a:pt x="172" y="634"/>
                    <a:pt x="183" y="617"/>
                  </a:cubicBezTo>
                  <a:cubicBezTo>
                    <a:pt x="179" y="617"/>
                    <a:pt x="179" y="617"/>
                    <a:pt x="179" y="617"/>
                  </a:cubicBezTo>
                  <a:cubicBezTo>
                    <a:pt x="179" y="615"/>
                    <a:pt x="179" y="614"/>
                    <a:pt x="179" y="612"/>
                  </a:cubicBezTo>
                  <a:cubicBezTo>
                    <a:pt x="181" y="613"/>
                    <a:pt x="183" y="613"/>
                    <a:pt x="185" y="613"/>
                  </a:cubicBezTo>
                  <a:cubicBezTo>
                    <a:pt x="901" y="682"/>
                    <a:pt x="901" y="682"/>
                    <a:pt x="901" y="682"/>
                  </a:cubicBezTo>
                  <a:cubicBezTo>
                    <a:pt x="901" y="681"/>
                    <a:pt x="901" y="679"/>
                    <a:pt x="902" y="678"/>
                  </a:cubicBezTo>
                  <a:cubicBezTo>
                    <a:pt x="900" y="677"/>
                    <a:pt x="898" y="677"/>
                    <a:pt x="896" y="676"/>
                  </a:cubicBezTo>
                  <a:cubicBezTo>
                    <a:pt x="894" y="676"/>
                    <a:pt x="893" y="676"/>
                    <a:pt x="891" y="676"/>
                  </a:cubicBezTo>
                  <a:cubicBezTo>
                    <a:pt x="891" y="676"/>
                    <a:pt x="891" y="676"/>
                    <a:pt x="891" y="677"/>
                  </a:cubicBezTo>
                  <a:cubicBezTo>
                    <a:pt x="889" y="678"/>
                    <a:pt x="886" y="677"/>
                    <a:pt x="885" y="676"/>
                  </a:cubicBezTo>
                  <a:cubicBezTo>
                    <a:pt x="885" y="674"/>
                    <a:pt x="886" y="673"/>
                    <a:pt x="887" y="673"/>
                  </a:cubicBezTo>
                  <a:cubicBezTo>
                    <a:pt x="887" y="672"/>
                    <a:pt x="887" y="672"/>
                    <a:pt x="886" y="671"/>
                  </a:cubicBezTo>
                  <a:cubicBezTo>
                    <a:pt x="884" y="670"/>
                    <a:pt x="882" y="669"/>
                    <a:pt x="879" y="668"/>
                  </a:cubicBezTo>
                  <a:cubicBezTo>
                    <a:pt x="879" y="669"/>
                    <a:pt x="878" y="669"/>
                    <a:pt x="878" y="669"/>
                  </a:cubicBezTo>
                  <a:cubicBezTo>
                    <a:pt x="877" y="669"/>
                    <a:pt x="875" y="665"/>
                    <a:pt x="874" y="668"/>
                  </a:cubicBezTo>
                  <a:cubicBezTo>
                    <a:pt x="876" y="670"/>
                    <a:pt x="877" y="672"/>
                    <a:pt x="877" y="675"/>
                  </a:cubicBezTo>
                  <a:cubicBezTo>
                    <a:pt x="897" y="684"/>
                    <a:pt x="918" y="693"/>
                    <a:pt x="939" y="699"/>
                  </a:cubicBezTo>
                  <a:cubicBezTo>
                    <a:pt x="939" y="699"/>
                    <a:pt x="939" y="699"/>
                    <a:pt x="939" y="699"/>
                  </a:cubicBezTo>
                  <a:cubicBezTo>
                    <a:pt x="945" y="699"/>
                    <a:pt x="945" y="699"/>
                    <a:pt x="945" y="699"/>
                  </a:cubicBezTo>
                  <a:cubicBezTo>
                    <a:pt x="947" y="700"/>
                    <a:pt x="949" y="701"/>
                    <a:pt x="950" y="703"/>
                  </a:cubicBezTo>
                  <a:cubicBezTo>
                    <a:pt x="950" y="703"/>
                    <a:pt x="950" y="703"/>
                    <a:pt x="950" y="703"/>
                  </a:cubicBezTo>
                  <a:cubicBezTo>
                    <a:pt x="951" y="703"/>
                    <a:pt x="951" y="703"/>
                    <a:pt x="952" y="703"/>
                  </a:cubicBezTo>
                  <a:cubicBezTo>
                    <a:pt x="951" y="702"/>
                    <a:pt x="950" y="700"/>
                    <a:pt x="949" y="699"/>
                  </a:cubicBezTo>
                  <a:cubicBezTo>
                    <a:pt x="962" y="699"/>
                    <a:pt x="962" y="699"/>
                    <a:pt x="962" y="699"/>
                  </a:cubicBezTo>
                  <a:cubicBezTo>
                    <a:pt x="944" y="694"/>
                    <a:pt x="925" y="688"/>
                    <a:pt x="908" y="681"/>
                  </a:cubicBezTo>
                  <a:cubicBezTo>
                    <a:pt x="908" y="681"/>
                    <a:pt x="909" y="681"/>
                    <a:pt x="909" y="682"/>
                  </a:cubicBezTo>
                  <a:cubicBezTo>
                    <a:pt x="73" y="851"/>
                    <a:pt x="74" y="850"/>
                    <a:pt x="74" y="849"/>
                  </a:cubicBezTo>
                  <a:cubicBezTo>
                    <a:pt x="74" y="849"/>
                    <a:pt x="74" y="849"/>
                    <a:pt x="74" y="849"/>
                  </a:cubicBezTo>
                  <a:cubicBezTo>
                    <a:pt x="76" y="843"/>
                    <a:pt x="79" y="836"/>
                    <a:pt x="81" y="830"/>
                  </a:cubicBezTo>
                  <a:cubicBezTo>
                    <a:pt x="81" y="829"/>
                    <a:pt x="80" y="828"/>
                    <a:pt x="81" y="826"/>
                  </a:cubicBezTo>
                  <a:cubicBezTo>
                    <a:pt x="81" y="826"/>
                    <a:pt x="82" y="826"/>
                    <a:pt x="83" y="826"/>
                  </a:cubicBezTo>
                  <a:cubicBezTo>
                    <a:pt x="88" y="812"/>
                    <a:pt x="93" y="799"/>
                    <a:pt x="98" y="786"/>
                  </a:cubicBezTo>
                  <a:cubicBezTo>
                    <a:pt x="95" y="784"/>
                    <a:pt x="96" y="783"/>
                    <a:pt x="92" y="783"/>
                  </a:cubicBezTo>
                  <a:cubicBezTo>
                    <a:pt x="90" y="787"/>
                    <a:pt x="89" y="791"/>
                    <a:pt x="87" y="795"/>
                  </a:cubicBezTo>
                  <a:cubicBezTo>
                    <a:pt x="88" y="795"/>
                    <a:pt x="90" y="796"/>
                    <a:pt x="91" y="796"/>
                  </a:cubicBezTo>
                  <a:cubicBezTo>
                    <a:pt x="87" y="796"/>
                    <a:pt x="87" y="796"/>
                    <a:pt x="87" y="796"/>
                  </a:cubicBezTo>
                  <a:cubicBezTo>
                    <a:pt x="83" y="805"/>
                    <a:pt x="80" y="814"/>
                    <a:pt x="76" y="824"/>
                  </a:cubicBezTo>
                  <a:cubicBezTo>
                    <a:pt x="73" y="832"/>
                    <a:pt x="70" y="841"/>
                    <a:pt x="67" y="849"/>
                  </a:cubicBezTo>
                  <a:cubicBezTo>
                    <a:pt x="71" y="849"/>
                    <a:pt x="71" y="849"/>
                    <a:pt x="71" y="849"/>
                  </a:cubicBezTo>
                  <a:cubicBezTo>
                    <a:pt x="71" y="850"/>
                    <a:pt x="72" y="850"/>
                    <a:pt x="72" y="851"/>
                  </a:cubicBezTo>
                  <a:cubicBezTo>
                    <a:pt x="94" y="791"/>
                    <a:pt x="95" y="794"/>
                    <a:pt x="93" y="795"/>
                  </a:cubicBezTo>
                  <a:cubicBezTo>
                    <a:pt x="88" y="795"/>
                    <a:pt x="87" y="786"/>
                    <a:pt x="95" y="788"/>
                  </a:cubicBezTo>
                  <a:cubicBezTo>
                    <a:pt x="564" y="427"/>
                    <a:pt x="576" y="427"/>
                    <a:pt x="588" y="428"/>
                  </a:cubicBezTo>
                  <a:cubicBezTo>
                    <a:pt x="588" y="426"/>
                    <a:pt x="588" y="424"/>
                    <a:pt x="589" y="423"/>
                  </a:cubicBezTo>
                  <a:cubicBezTo>
                    <a:pt x="588" y="423"/>
                    <a:pt x="586" y="422"/>
                    <a:pt x="586" y="421"/>
                  </a:cubicBezTo>
                  <a:cubicBezTo>
                    <a:pt x="582" y="421"/>
                    <a:pt x="579" y="421"/>
                    <a:pt x="576" y="421"/>
                  </a:cubicBezTo>
                  <a:cubicBezTo>
                    <a:pt x="576" y="423"/>
                    <a:pt x="575" y="425"/>
                    <a:pt x="575" y="427"/>
                  </a:cubicBezTo>
                  <a:cubicBezTo>
                    <a:pt x="573" y="427"/>
                    <a:pt x="570" y="427"/>
                    <a:pt x="568" y="427"/>
                  </a:cubicBezTo>
                  <a:cubicBezTo>
                    <a:pt x="568" y="425"/>
                    <a:pt x="568" y="423"/>
                    <a:pt x="568" y="421"/>
                  </a:cubicBezTo>
                  <a:cubicBezTo>
                    <a:pt x="570" y="421"/>
                    <a:pt x="571" y="421"/>
                    <a:pt x="572" y="420"/>
                  </a:cubicBezTo>
                  <a:cubicBezTo>
                    <a:pt x="570" y="420"/>
                    <a:pt x="568" y="420"/>
                    <a:pt x="566" y="420"/>
                  </a:cubicBezTo>
                  <a:cubicBezTo>
                    <a:pt x="566" y="420"/>
                    <a:pt x="566" y="420"/>
                    <a:pt x="566" y="420"/>
                  </a:cubicBezTo>
                  <a:cubicBezTo>
                    <a:pt x="566" y="422"/>
                    <a:pt x="566" y="423"/>
                    <a:pt x="566" y="424"/>
                  </a:cubicBezTo>
                  <a:cubicBezTo>
                    <a:pt x="565" y="424"/>
                    <a:pt x="565" y="424"/>
                    <a:pt x="565" y="424"/>
                  </a:cubicBezTo>
                  <a:cubicBezTo>
                    <a:pt x="565" y="425"/>
                    <a:pt x="565" y="426"/>
                    <a:pt x="565" y="427"/>
                  </a:cubicBezTo>
                  <a:cubicBezTo>
                    <a:pt x="562" y="427"/>
                    <a:pt x="563" y="427"/>
                    <a:pt x="560" y="427"/>
                  </a:cubicBezTo>
                  <a:cubicBezTo>
                    <a:pt x="560" y="425"/>
                    <a:pt x="560" y="424"/>
                    <a:pt x="561" y="423"/>
                  </a:cubicBezTo>
                  <a:cubicBezTo>
                    <a:pt x="561" y="421"/>
                    <a:pt x="561" y="421"/>
                    <a:pt x="563" y="420"/>
                  </a:cubicBezTo>
                  <a:cubicBezTo>
                    <a:pt x="555" y="420"/>
                    <a:pt x="548" y="421"/>
                    <a:pt x="541" y="421"/>
                  </a:cubicBezTo>
                  <a:cubicBezTo>
                    <a:pt x="541" y="421"/>
                    <a:pt x="541" y="421"/>
                    <a:pt x="541" y="421"/>
                  </a:cubicBezTo>
                  <a:cubicBezTo>
                    <a:pt x="539" y="421"/>
                    <a:pt x="538" y="421"/>
                    <a:pt x="537" y="421"/>
                  </a:cubicBezTo>
                  <a:cubicBezTo>
                    <a:pt x="535" y="421"/>
                    <a:pt x="533" y="421"/>
                    <a:pt x="531" y="421"/>
                  </a:cubicBezTo>
                  <a:cubicBezTo>
                    <a:pt x="531" y="421"/>
                    <a:pt x="530" y="422"/>
                    <a:pt x="530" y="422"/>
                  </a:cubicBezTo>
                  <a:cubicBezTo>
                    <a:pt x="531" y="424"/>
                    <a:pt x="535" y="424"/>
                    <a:pt x="537" y="425"/>
                  </a:cubicBezTo>
                  <a:cubicBezTo>
                    <a:pt x="537" y="426"/>
                    <a:pt x="537" y="427"/>
                    <a:pt x="537" y="428"/>
                  </a:cubicBezTo>
                  <a:cubicBezTo>
                    <a:pt x="540" y="428"/>
                    <a:pt x="542" y="427"/>
                    <a:pt x="544" y="427"/>
                  </a:cubicBezTo>
                  <a:cubicBezTo>
                    <a:pt x="544" y="427"/>
                    <a:pt x="544" y="427"/>
                    <a:pt x="545" y="426"/>
                  </a:cubicBezTo>
                  <a:cubicBezTo>
                    <a:pt x="549" y="426"/>
                    <a:pt x="551" y="420"/>
                    <a:pt x="555" y="423"/>
                  </a:cubicBezTo>
                  <a:cubicBezTo>
                    <a:pt x="555" y="425"/>
                    <a:pt x="553" y="426"/>
                    <a:pt x="552" y="427"/>
                  </a:cubicBezTo>
                  <a:cubicBezTo>
                    <a:pt x="552" y="427"/>
                    <a:pt x="552" y="427"/>
                    <a:pt x="552" y="427"/>
                  </a:cubicBezTo>
                  <a:cubicBezTo>
                    <a:pt x="766" y="458"/>
                    <a:pt x="766" y="458"/>
                    <a:pt x="766" y="457"/>
                  </a:cubicBezTo>
                  <a:cubicBezTo>
                    <a:pt x="767" y="457"/>
                    <a:pt x="768" y="457"/>
                    <a:pt x="768" y="457"/>
                  </a:cubicBezTo>
                  <a:cubicBezTo>
                    <a:pt x="768" y="457"/>
                    <a:pt x="769" y="457"/>
                    <a:pt x="769" y="456"/>
                  </a:cubicBezTo>
                  <a:cubicBezTo>
                    <a:pt x="767" y="454"/>
                    <a:pt x="765" y="453"/>
                    <a:pt x="762" y="451"/>
                  </a:cubicBezTo>
                  <a:cubicBezTo>
                    <a:pt x="763" y="451"/>
                    <a:pt x="763" y="451"/>
                    <a:pt x="763" y="451"/>
                  </a:cubicBezTo>
                  <a:cubicBezTo>
                    <a:pt x="746" y="446"/>
                    <a:pt x="729" y="442"/>
                    <a:pt x="712" y="438"/>
                  </a:cubicBezTo>
                  <a:cubicBezTo>
                    <a:pt x="705" y="437"/>
                    <a:pt x="699" y="436"/>
                    <a:pt x="692" y="434"/>
                  </a:cubicBezTo>
                  <a:cubicBezTo>
                    <a:pt x="688" y="434"/>
                    <a:pt x="688" y="434"/>
                    <a:pt x="688" y="434"/>
                  </a:cubicBezTo>
                  <a:cubicBezTo>
                    <a:pt x="689" y="434"/>
                    <a:pt x="690" y="434"/>
                    <a:pt x="691" y="434"/>
                  </a:cubicBezTo>
                  <a:cubicBezTo>
                    <a:pt x="689" y="434"/>
                    <a:pt x="688" y="433"/>
                    <a:pt x="687" y="433"/>
                  </a:cubicBezTo>
                  <a:cubicBezTo>
                    <a:pt x="687" y="434"/>
                    <a:pt x="687" y="434"/>
                    <a:pt x="687" y="434"/>
                  </a:cubicBezTo>
                  <a:cubicBezTo>
                    <a:pt x="681" y="434"/>
                    <a:pt x="681" y="434"/>
                    <a:pt x="681" y="434"/>
                  </a:cubicBezTo>
                  <a:cubicBezTo>
                    <a:pt x="681" y="434"/>
                    <a:pt x="682" y="433"/>
                    <a:pt x="682" y="432"/>
                  </a:cubicBezTo>
                  <a:cubicBezTo>
                    <a:pt x="666" y="429"/>
                    <a:pt x="651" y="427"/>
                    <a:pt x="635" y="425"/>
                  </a:cubicBezTo>
                  <a:cubicBezTo>
                    <a:pt x="635" y="425"/>
                    <a:pt x="636" y="426"/>
                    <a:pt x="637" y="426"/>
                  </a:cubicBezTo>
                  <a:cubicBezTo>
                    <a:pt x="637" y="428"/>
                    <a:pt x="637" y="431"/>
                    <a:pt x="636" y="432"/>
                  </a:cubicBezTo>
                  <a:cubicBezTo>
                    <a:pt x="635" y="432"/>
                    <a:pt x="635" y="432"/>
                    <a:pt x="635" y="432"/>
                  </a:cubicBezTo>
                  <a:cubicBezTo>
                    <a:pt x="677" y="437"/>
                    <a:pt x="718" y="446"/>
                    <a:pt x="758" y="457"/>
                  </a:cubicBezTo>
                  <a:cubicBezTo>
                    <a:pt x="758" y="456"/>
                    <a:pt x="758" y="456"/>
                    <a:pt x="758" y="455"/>
                  </a:cubicBezTo>
                  <a:cubicBezTo>
                    <a:pt x="764" y="454"/>
                    <a:pt x="765" y="456"/>
                    <a:pt x="765" y="459"/>
                  </a:cubicBezTo>
                  <a:cubicBezTo>
                    <a:pt x="765" y="459"/>
                    <a:pt x="766" y="459"/>
                    <a:pt x="766" y="459"/>
                  </a:cubicBezTo>
                  <a:cubicBezTo>
                    <a:pt x="676" y="434"/>
                    <a:pt x="676" y="434"/>
                    <a:pt x="676" y="434"/>
                  </a:cubicBezTo>
                  <a:cubicBezTo>
                    <a:pt x="676" y="434"/>
                    <a:pt x="676" y="434"/>
                    <a:pt x="677" y="434"/>
                  </a:cubicBezTo>
                  <a:cubicBezTo>
                    <a:pt x="517" y="422"/>
                    <a:pt x="512" y="423"/>
                    <a:pt x="507" y="423"/>
                  </a:cubicBezTo>
                  <a:cubicBezTo>
                    <a:pt x="505" y="423"/>
                    <a:pt x="502" y="424"/>
                    <a:pt x="500" y="424"/>
                  </a:cubicBezTo>
                  <a:cubicBezTo>
                    <a:pt x="501" y="425"/>
                    <a:pt x="501" y="428"/>
                    <a:pt x="502" y="430"/>
                  </a:cubicBezTo>
                  <a:cubicBezTo>
                    <a:pt x="509" y="430"/>
                    <a:pt x="517" y="429"/>
                    <a:pt x="524" y="428"/>
                  </a:cubicBezTo>
                  <a:cubicBezTo>
                    <a:pt x="524" y="428"/>
                    <a:pt x="524" y="428"/>
                    <a:pt x="524" y="428"/>
                  </a:cubicBezTo>
                  <a:cubicBezTo>
                    <a:pt x="521" y="429"/>
                    <a:pt x="522" y="427"/>
                    <a:pt x="519" y="427"/>
                  </a:cubicBezTo>
                  <a:cubicBezTo>
                    <a:pt x="519" y="424"/>
                    <a:pt x="521" y="423"/>
                    <a:pt x="522" y="422"/>
                  </a:cubicBezTo>
                  <a:cubicBezTo>
                    <a:pt x="331" y="457"/>
                    <a:pt x="330" y="458"/>
                    <a:pt x="330" y="458"/>
                  </a:cubicBezTo>
                  <a:cubicBezTo>
                    <a:pt x="331" y="459"/>
                    <a:pt x="332" y="460"/>
                    <a:pt x="332" y="462"/>
                  </a:cubicBezTo>
                  <a:cubicBezTo>
                    <a:pt x="334" y="462"/>
                    <a:pt x="335" y="460"/>
                    <a:pt x="336" y="462"/>
                  </a:cubicBezTo>
                  <a:cubicBezTo>
                    <a:pt x="347" y="456"/>
                    <a:pt x="358" y="450"/>
                    <a:pt x="369" y="445"/>
                  </a:cubicBezTo>
                  <a:cubicBezTo>
                    <a:pt x="375" y="442"/>
                    <a:pt x="382" y="439"/>
                    <a:pt x="389" y="436"/>
                  </a:cubicBezTo>
                  <a:cubicBezTo>
                    <a:pt x="387" y="436"/>
                    <a:pt x="385" y="436"/>
                    <a:pt x="385" y="434"/>
                  </a:cubicBezTo>
                  <a:cubicBezTo>
                    <a:pt x="385" y="435"/>
                    <a:pt x="385" y="436"/>
                    <a:pt x="386" y="437"/>
                  </a:cubicBezTo>
                  <a:cubicBezTo>
                    <a:pt x="375" y="437"/>
                    <a:pt x="375" y="437"/>
                    <a:pt x="375" y="437"/>
                  </a:cubicBezTo>
                  <a:cubicBezTo>
                    <a:pt x="375" y="437"/>
                    <a:pt x="374" y="436"/>
                    <a:pt x="374" y="436"/>
                  </a:cubicBezTo>
                  <a:cubicBezTo>
                    <a:pt x="361" y="442"/>
                    <a:pt x="348" y="448"/>
                    <a:pt x="336" y="455"/>
                  </a:cubicBezTo>
                  <a:cubicBezTo>
                    <a:pt x="338" y="455"/>
                    <a:pt x="338" y="455"/>
                    <a:pt x="338" y="455"/>
                  </a:cubicBezTo>
                  <a:cubicBezTo>
                    <a:pt x="337" y="456"/>
                    <a:pt x="337" y="456"/>
                    <a:pt x="337" y="457"/>
                  </a:cubicBezTo>
                  <a:cubicBezTo>
                    <a:pt x="335" y="457"/>
                    <a:pt x="333" y="457"/>
                    <a:pt x="332" y="457"/>
                  </a:cubicBezTo>
                  <a:cubicBezTo>
                    <a:pt x="303" y="483"/>
                    <a:pt x="313" y="476"/>
                    <a:pt x="324" y="469"/>
                  </a:cubicBezTo>
                  <a:cubicBezTo>
                    <a:pt x="325" y="468"/>
                    <a:pt x="325" y="466"/>
                    <a:pt x="325" y="464"/>
                  </a:cubicBezTo>
                  <a:cubicBezTo>
                    <a:pt x="324" y="464"/>
                    <a:pt x="323" y="463"/>
                    <a:pt x="322" y="463"/>
                  </a:cubicBezTo>
                  <a:cubicBezTo>
                    <a:pt x="317" y="466"/>
                    <a:pt x="313" y="468"/>
                    <a:pt x="309" y="471"/>
                  </a:cubicBezTo>
                  <a:cubicBezTo>
                    <a:pt x="309" y="472"/>
                    <a:pt x="308" y="473"/>
                    <a:pt x="308" y="473"/>
                  </a:cubicBezTo>
                  <a:cubicBezTo>
                    <a:pt x="306" y="473"/>
                    <a:pt x="306" y="473"/>
                    <a:pt x="306" y="473"/>
                  </a:cubicBezTo>
                  <a:cubicBezTo>
                    <a:pt x="297" y="479"/>
                    <a:pt x="288" y="486"/>
                    <a:pt x="279" y="493"/>
                  </a:cubicBezTo>
                  <a:cubicBezTo>
                    <a:pt x="280" y="493"/>
                    <a:pt x="280" y="493"/>
                    <a:pt x="281" y="493"/>
                  </a:cubicBezTo>
                  <a:cubicBezTo>
                    <a:pt x="285" y="496"/>
                    <a:pt x="282" y="498"/>
                    <a:pt x="281" y="501"/>
                  </a:cubicBezTo>
                  <a:cubicBezTo>
                    <a:pt x="284" y="498"/>
                    <a:pt x="287" y="496"/>
                    <a:pt x="289" y="494"/>
                  </a:cubicBezTo>
                  <a:cubicBezTo>
                    <a:pt x="287" y="494"/>
                    <a:pt x="286" y="493"/>
                    <a:pt x="285" y="491"/>
                  </a:cubicBezTo>
                  <a:cubicBezTo>
                    <a:pt x="292" y="491"/>
                    <a:pt x="292" y="491"/>
                    <a:pt x="292" y="491"/>
                  </a:cubicBezTo>
                  <a:cubicBezTo>
                    <a:pt x="292" y="491"/>
                    <a:pt x="293" y="491"/>
                    <a:pt x="293" y="491"/>
                  </a:cubicBezTo>
                  <a:cubicBezTo>
                    <a:pt x="414" y="423"/>
                    <a:pt x="414" y="423"/>
                    <a:pt x="413" y="424"/>
                  </a:cubicBezTo>
                  <a:cubicBezTo>
                    <a:pt x="411" y="425"/>
                    <a:pt x="411" y="424"/>
                    <a:pt x="410" y="423"/>
                  </a:cubicBezTo>
                  <a:cubicBezTo>
                    <a:pt x="410" y="423"/>
                    <a:pt x="409" y="423"/>
                    <a:pt x="409" y="423"/>
                  </a:cubicBezTo>
                  <a:cubicBezTo>
                    <a:pt x="409" y="424"/>
                    <a:pt x="409" y="424"/>
                    <a:pt x="409" y="424"/>
                  </a:cubicBezTo>
                  <a:cubicBezTo>
                    <a:pt x="408" y="424"/>
                    <a:pt x="407" y="424"/>
                    <a:pt x="406" y="424"/>
                  </a:cubicBezTo>
                  <a:cubicBezTo>
                    <a:pt x="403" y="425"/>
                    <a:pt x="399" y="427"/>
                    <a:pt x="395" y="428"/>
                  </a:cubicBezTo>
                  <a:cubicBezTo>
                    <a:pt x="396" y="429"/>
                    <a:pt x="396" y="430"/>
                    <a:pt x="397" y="430"/>
                  </a:cubicBezTo>
                  <a:cubicBezTo>
                    <a:pt x="401" y="430"/>
                    <a:pt x="400" y="425"/>
                    <a:pt x="406" y="427"/>
                  </a:cubicBezTo>
                  <a:cubicBezTo>
                    <a:pt x="407" y="427"/>
                    <a:pt x="408" y="428"/>
                    <a:pt x="408" y="429"/>
                  </a:cubicBezTo>
                  <a:cubicBezTo>
                    <a:pt x="410" y="428"/>
                    <a:pt x="413" y="428"/>
                    <a:pt x="415" y="427"/>
                  </a:cubicBezTo>
                  <a:cubicBezTo>
                    <a:pt x="415" y="426"/>
                    <a:pt x="416" y="425"/>
                    <a:pt x="418" y="425"/>
                  </a:cubicBezTo>
                  <a:cubicBezTo>
                    <a:pt x="419" y="425"/>
                    <a:pt x="419" y="426"/>
                    <a:pt x="419" y="426"/>
                  </a:cubicBezTo>
                  <a:cubicBezTo>
                    <a:pt x="423" y="425"/>
                    <a:pt x="428" y="423"/>
                    <a:pt x="432" y="422"/>
                  </a:cubicBezTo>
                  <a:cubicBezTo>
                    <a:pt x="429" y="422"/>
                    <a:pt x="426" y="422"/>
                    <a:pt x="424" y="422"/>
                  </a:cubicBezTo>
                  <a:cubicBezTo>
                    <a:pt x="424" y="421"/>
                    <a:pt x="424" y="420"/>
                    <a:pt x="424" y="419"/>
                  </a:cubicBezTo>
                  <a:cubicBezTo>
                    <a:pt x="421" y="420"/>
                    <a:pt x="418" y="421"/>
                    <a:pt x="414" y="422"/>
                  </a:cubicBezTo>
                  <a:cubicBezTo>
                    <a:pt x="270" y="459"/>
                    <a:pt x="270" y="459"/>
                    <a:pt x="270" y="458"/>
                  </a:cubicBezTo>
                  <a:cubicBezTo>
                    <a:pt x="270" y="458"/>
                    <a:pt x="270" y="457"/>
                    <a:pt x="269" y="457"/>
                  </a:cubicBezTo>
                  <a:cubicBezTo>
                    <a:pt x="270" y="458"/>
                    <a:pt x="270" y="458"/>
                    <a:pt x="270" y="459"/>
                  </a:cubicBezTo>
                  <a:cubicBezTo>
                    <a:pt x="733" y="1290"/>
                    <a:pt x="729" y="1291"/>
                    <a:pt x="725" y="1291"/>
                  </a:cubicBezTo>
                  <a:cubicBezTo>
                    <a:pt x="673" y="1298"/>
                    <a:pt x="619" y="1299"/>
                    <a:pt x="566" y="1295"/>
                  </a:cubicBezTo>
                  <a:cubicBezTo>
                    <a:pt x="552" y="1294"/>
                    <a:pt x="537" y="1292"/>
                    <a:pt x="523" y="1291"/>
                  </a:cubicBezTo>
                  <a:cubicBezTo>
                    <a:pt x="524" y="1291"/>
                    <a:pt x="524" y="1291"/>
                    <a:pt x="525" y="1291"/>
                  </a:cubicBezTo>
                  <a:cubicBezTo>
                    <a:pt x="512" y="1292"/>
                    <a:pt x="512" y="1292"/>
                    <a:pt x="512" y="1292"/>
                  </a:cubicBezTo>
                  <a:cubicBezTo>
                    <a:pt x="511" y="1291"/>
                    <a:pt x="511" y="1290"/>
                    <a:pt x="510" y="1289"/>
                  </a:cubicBezTo>
                  <a:cubicBezTo>
                    <a:pt x="508" y="1289"/>
                    <a:pt x="505" y="1288"/>
                    <a:pt x="503" y="1288"/>
                  </a:cubicBezTo>
                  <a:cubicBezTo>
                    <a:pt x="502" y="1289"/>
                    <a:pt x="501" y="1290"/>
                    <a:pt x="500" y="1289"/>
                  </a:cubicBezTo>
                  <a:cubicBezTo>
                    <a:pt x="498" y="1289"/>
                    <a:pt x="496" y="1288"/>
                    <a:pt x="495" y="1287"/>
                  </a:cubicBezTo>
                  <a:cubicBezTo>
                    <a:pt x="485" y="1286"/>
                    <a:pt x="476" y="1285"/>
                    <a:pt x="467" y="1285"/>
                  </a:cubicBezTo>
                  <a:cubicBezTo>
                    <a:pt x="464" y="1287"/>
                    <a:pt x="460" y="1287"/>
                    <a:pt x="459" y="1290"/>
                  </a:cubicBezTo>
                  <a:cubicBezTo>
                    <a:pt x="499" y="1292"/>
                    <a:pt x="539" y="1300"/>
                    <a:pt x="579" y="1302"/>
                  </a:cubicBezTo>
                  <a:cubicBezTo>
                    <a:pt x="645" y="1307"/>
                    <a:pt x="711" y="1302"/>
                    <a:pt x="775" y="1289"/>
                  </a:cubicBezTo>
                  <a:cubicBezTo>
                    <a:pt x="171" y="242"/>
                    <a:pt x="171" y="242"/>
                    <a:pt x="171" y="242"/>
                  </a:cubicBezTo>
                  <a:cubicBezTo>
                    <a:pt x="171" y="243"/>
                    <a:pt x="172" y="244"/>
                    <a:pt x="173" y="244"/>
                  </a:cubicBezTo>
                  <a:cubicBezTo>
                    <a:pt x="172" y="245"/>
                    <a:pt x="173" y="246"/>
                    <a:pt x="173" y="247"/>
                  </a:cubicBezTo>
                  <a:cubicBezTo>
                    <a:pt x="175" y="246"/>
                    <a:pt x="177" y="245"/>
                    <a:pt x="179" y="243"/>
                  </a:cubicBezTo>
                  <a:cubicBezTo>
                    <a:pt x="179" y="243"/>
                    <a:pt x="180" y="243"/>
                    <a:pt x="180" y="242"/>
                  </a:cubicBezTo>
                  <a:cubicBezTo>
                    <a:pt x="182" y="242"/>
                    <a:pt x="182" y="242"/>
                    <a:pt x="182" y="242"/>
                  </a:cubicBezTo>
                  <a:cubicBezTo>
                    <a:pt x="191" y="238"/>
                    <a:pt x="200" y="234"/>
                    <a:pt x="209" y="230"/>
                  </a:cubicBezTo>
                  <a:cubicBezTo>
                    <a:pt x="218" y="226"/>
                    <a:pt x="228" y="223"/>
                    <a:pt x="237" y="220"/>
                  </a:cubicBezTo>
                  <a:cubicBezTo>
                    <a:pt x="237" y="219"/>
                    <a:pt x="235" y="219"/>
                    <a:pt x="236" y="217"/>
                  </a:cubicBezTo>
                  <a:cubicBezTo>
                    <a:pt x="239" y="216"/>
                    <a:pt x="238" y="216"/>
                    <a:pt x="241" y="217"/>
                  </a:cubicBezTo>
                  <a:cubicBezTo>
                    <a:pt x="241" y="218"/>
                    <a:pt x="241" y="218"/>
                    <a:pt x="241" y="219"/>
                  </a:cubicBezTo>
                  <a:cubicBezTo>
                    <a:pt x="262" y="213"/>
                    <a:pt x="285" y="209"/>
                    <a:pt x="307" y="207"/>
                  </a:cubicBezTo>
                  <a:cubicBezTo>
                    <a:pt x="307" y="206"/>
                    <a:pt x="307" y="206"/>
                    <a:pt x="307" y="205"/>
                  </a:cubicBezTo>
                  <a:cubicBezTo>
                    <a:pt x="313" y="205"/>
                    <a:pt x="313" y="205"/>
                    <a:pt x="313" y="205"/>
                  </a:cubicBezTo>
                  <a:cubicBezTo>
                    <a:pt x="313" y="206"/>
                    <a:pt x="313" y="206"/>
                    <a:pt x="314" y="206"/>
                  </a:cubicBezTo>
                  <a:cubicBezTo>
                    <a:pt x="317" y="206"/>
                    <a:pt x="321" y="206"/>
                    <a:pt x="324" y="205"/>
                  </a:cubicBezTo>
                  <a:cubicBezTo>
                    <a:pt x="324" y="205"/>
                    <a:pt x="324" y="205"/>
                    <a:pt x="324" y="205"/>
                  </a:cubicBezTo>
                  <a:cubicBezTo>
                    <a:pt x="328" y="205"/>
                    <a:pt x="328" y="205"/>
                    <a:pt x="328" y="205"/>
                  </a:cubicBezTo>
                  <a:cubicBezTo>
                    <a:pt x="329" y="205"/>
                    <a:pt x="329" y="205"/>
                    <a:pt x="329" y="205"/>
                  </a:cubicBezTo>
                  <a:cubicBezTo>
                    <a:pt x="351" y="204"/>
                    <a:pt x="372" y="204"/>
                    <a:pt x="393" y="205"/>
                  </a:cubicBezTo>
                  <a:cubicBezTo>
                    <a:pt x="400" y="205"/>
                    <a:pt x="400" y="205"/>
                    <a:pt x="400" y="205"/>
                  </a:cubicBezTo>
                  <a:cubicBezTo>
                    <a:pt x="400" y="205"/>
                    <a:pt x="400" y="205"/>
                    <a:pt x="400" y="205"/>
                  </a:cubicBezTo>
                  <a:cubicBezTo>
                    <a:pt x="400" y="205"/>
                    <a:pt x="400" y="205"/>
                    <a:pt x="401" y="205"/>
                  </a:cubicBezTo>
                  <a:cubicBezTo>
                    <a:pt x="401" y="205"/>
                    <a:pt x="401" y="205"/>
                    <a:pt x="401" y="205"/>
                  </a:cubicBezTo>
                  <a:cubicBezTo>
                    <a:pt x="415" y="204"/>
                    <a:pt x="415" y="204"/>
                    <a:pt x="415" y="204"/>
                  </a:cubicBezTo>
                  <a:cubicBezTo>
                    <a:pt x="415" y="205"/>
                    <a:pt x="415" y="205"/>
                    <a:pt x="415" y="205"/>
                  </a:cubicBezTo>
                  <a:cubicBezTo>
                    <a:pt x="416" y="205"/>
                    <a:pt x="417" y="205"/>
                    <a:pt x="417" y="206"/>
                  </a:cubicBezTo>
                  <a:cubicBezTo>
                    <a:pt x="420" y="206"/>
                    <a:pt x="422" y="206"/>
                    <a:pt x="424" y="207"/>
                  </a:cubicBezTo>
                  <a:cubicBezTo>
                    <a:pt x="425" y="206"/>
                    <a:pt x="425" y="205"/>
                    <a:pt x="425" y="204"/>
                  </a:cubicBezTo>
                  <a:cubicBezTo>
                    <a:pt x="464" y="204"/>
                    <a:pt x="464" y="204"/>
                    <a:pt x="464" y="204"/>
                  </a:cubicBezTo>
                  <a:cubicBezTo>
                    <a:pt x="461" y="204"/>
                    <a:pt x="458" y="203"/>
                    <a:pt x="454" y="203"/>
                  </a:cubicBezTo>
                  <a:cubicBezTo>
                    <a:pt x="380" y="194"/>
                    <a:pt x="299" y="193"/>
                    <a:pt x="226" y="216"/>
                  </a:cubicBezTo>
                  <a:cubicBezTo>
                    <a:pt x="206" y="223"/>
                    <a:pt x="186" y="232"/>
                    <a:pt x="166" y="242"/>
                  </a:cubicBezTo>
                  <a:cubicBezTo>
                    <a:pt x="321" y="205"/>
                    <a:pt x="321" y="205"/>
                    <a:pt x="321" y="205"/>
                  </a:cubicBezTo>
                  <a:cubicBezTo>
                    <a:pt x="321" y="205"/>
                    <a:pt x="321" y="205"/>
                    <a:pt x="321" y="205"/>
                  </a:cubicBezTo>
                  <a:cubicBezTo>
                    <a:pt x="230" y="1262"/>
                    <a:pt x="236" y="1257"/>
                    <a:pt x="242" y="1251"/>
                  </a:cubicBezTo>
                  <a:cubicBezTo>
                    <a:pt x="240" y="1249"/>
                    <a:pt x="238" y="1248"/>
                    <a:pt x="235" y="1250"/>
                  </a:cubicBezTo>
                  <a:cubicBezTo>
                    <a:pt x="235" y="1250"/>
                    <a:pt x="235" y="1249"/>
                    <a:pt x="235" y="1249"/>
                  </a:cubicBezTo>
                  <a:cubicBezTo>
                    <a:pt x="233" y="1251"/>
                    <a:pt x="231" y="1252"/>
                    <a:pt x="228" y="1254"/>
                  </a:cubicBezTo>
                  <a:cubicBezTo>
                    <a:pt x="228" y="1254"/>
                    <a:pt x="228" y="1254"/>
                    <a:pt x="228" y="1254"/>
                  </a:cubicBezTo>
                  <a:cubicBezTo>
                    <a:pt x="230" y="1255"/>
                    <a:pt x="230" y="1257"/>
                    <a:pt x="230" y="1258"/>
                  </a:cubicBezTo>
                  <a:cubicBezTo>
                    <a:pt x="224" y="1258"/>
                    <a:pt x="224" y="1258"/>
                    <a:pt x="224" y="1258"/>
                  </a:cubicBezTo>
                  <a:cubicBezTo>
                    <a:pt x="224" y="1258"/>
                    <a:pt x="224" y="1258"/>
                    <a:pt x="224" y="1258"/>
                  </a:cubicBezTo>
                  <a:cubicBezTo>
                    <a:pt x="222" y="1259"/>
                    <a:pt x="220" y="1261"/>
                    <a:pt x="218" y="1262"/>
                  </a:cubicBezTo>
                  <a:cubicBezTo>
                    <a:pt x="214" y="1264"/>
                    <a:pt x="218" y="1270"/>
                    <a:pt x="222" y="1267"/>
                  </a:cubicBezTo>
                  <a:cubicBezTo>
                    <a:pt x="109" y="279"/>
                    <a:pt x="109" y="279"/>
                    <a:pt x="109" y="279"/>
                  </a:cubicBezTo>
                  <a:cubicBezTo>
                    <a:pt x="110" y="279"/>
                    <a:pt x="111" y="279"/>
                    <a:pt x="111" y="278"/>
                  </a:cubicBezTo>
                  <a:cubicBezTo>
                    <a:pt x="118" y="278"/>
                    <a:pt x="118" y="278"/>
                    <a:pt x="118" y="278"/>
                  </a:cubicBezTo>
                  <a:cubicBezTo>
                    <a:pt x="118" y="279"/>
                    <a:pt x="118" y="279"/>
                    <a:pt x="119" y="280"/>
                  </a:cubicBezTo>
                  <a:cubicBezTo>
                    <a:pt x="130" y="272"/>
                    <a:pt x="142" y="265"/>
                    <a:pt x="154" y="258"/>
                  </a:cubicBezTo>
                  <a:cubicBezTo>
                    <a:pt x="153" y="255"/>
                    <a:pt x="154" y="252"/>
                    <a:pt x="154" y="249"/>
                  </a:cubicBezTo>
                  <a:cubicBezTo>
                    <a:pt x="152" y="250"/>
                    <a:pt x="149" y="252"/>
                    <a:pt x="147" y="253"/>
                  </a:cubicBezTo>
                  <a:cubicBezTo>
                    <a:pt x="149" y="254"/>
                    <a:pt x="150" y="256"/>
                    <a:pt x="150" y="259"/>
                  </a:cubicBezTo>
                  <a:cubicBezTo>
                    <a:pt x="148" y="257"/>
                    <a:pt x="144" y="257"/>
                    <a:pt x="140" y="257"/>
                  </a:cubicBezTo>
                  <a:cubicBezTo>
                    <a:pt x="129" y="264"/>
                    <a:pt x="119" y="271"/>
                    <a:pt x="108" y="278"/>
                  </a:cubicBezTo>
                  <a:cubicBezTo>
                    <a:pt x="261" y="1222"/>
                    <a:pt x="261" y="1222"/>
                    <a:pt x="261" y="1222"/>
                  </a:cubicBezTo>
                  <a:cubicBezTo>
                    <a:pt x="259" y="1221"/>
                    <a:pt x="258" y="1219"/>
                    <a:pt x="260" y="1217"/>
                  </a:cubicBezTo>
                  <a:cubicBezTo>
                    <a:pt x="262" y="1217"/>
                    <a:pt x="263" y="1216"/>
                    <a:pt x="265" y="1216"/>
                  </a:cubicBezTo>
                  <a:cubicBezTo>
                    <a:pt x="266" y="1214"/>
                    <a:pt x="267" y="1211"/>
                    <a:pt x="268" y="1209"/>
                  </a:cubicBezTo>
                  <a:cubicBezTo>
                    <a:pt x="267" y="1207"/>
                    <a:pt x="266" y="1206"/>
                    <a:pt x="266" y="1204"/>
                  </a:cubicBezTo>
                  <a:cubicBezTo>
                    <a:pt x="270" y="1204"/>
                    <a:pt x="270" y="1204"/>
                    <a:pt x="270" y="1204"/>
                  </a:cubicBezTo>
                  <a:cubicBezTo>
                    <a:pt x="273" y="1193"/>
                    <a:pt x="275" y="1182"/>
                    <a:pt x="276" y="1171"/>
                  </a:cubicBezTo>
                  <a:cubicBezTo>
                    <a:pt x="273" y="1170"/>
                    <a:pt x="271" y="1170"/>
                    <a:pt x="271" y="1169"/>
                  </a:cubicBezTo>
                  <a:cubicBezTo>
                    <a:pt x="271" y="1169"/>
                    <a:pt x="271" y="1169"/>
                    <a:pt x="271" y="1168"/>
                  </a:cubicBezTo>
                  <a:cubicBezTo>
                    <a:pt x="276" y="1168"/>
                    <a:pt x="276" y="1168"/>
                    <a:pt x="276" y="1168"/>
                  </a:cubicBezTo>
                  <a:cubicBezTo>
                    <a:pt x="276" y="1163"/>
                    <a:pt x="276" y="1157"/>
                    <a:pt x="276" y="1151"/>
                  </a:cubicBezTo>
                  <a:cubicBezTo>
                    <a:pt x="269" y="1151"/>
                    <a:pt x="269" y="1151"/>
                    <a:pt x="269" y="1151"/>
                  </a:cubicBezTo>
                  <a:cubicBezTo>
                    <a:pt x="270" y="1174"/>
                    <a:pt x="267" y="1197"/>
                    <a:pt x="257" y="1217"/>
                  </a:cubicBezTo>
                  <a:cubicBezTo>
                    <a:pt x="257" y="1217"/>
                    <a:pt x="258" y="1218"/>
                    <a:pt x="258" y="1218"/>
                  </a:cubicBezTo>
                  <a:cubicBezTo>
                    <a:pt x="257" y="1218"/>
                    <a:pt x="257" y="1218"/>
                    <a:pt x="257" y="1218"/>
                  </a:cubicBezTo>
                  <a:cubicBezTo>
                    <a:pt x="253" y="1227"/>
                    <a:pt x="247" y="1235"/>
                    <a:pt x="241" y="1242"/>
                  </a:cubicBezTo>
                  <a:cubicBezTo>
                    <a:pt x="242" y="1244"/>
                    <a:pt x="244" y="1245"/>
                    <a:pt x="246" y="1246"/>
                  </a:cubicBezTo>
                  <a:cubicBezTo>
                    <a:pt x="253" y="1239"/>
                    <a:pt x="258" y="1231"/>
                    <a:pt x="262" y="1222"/>
                  </a:cubicBezTo>
                  <a:cubicBezTo>
                    <a:pt x="76" y="281"/>
                    <a:pt x="77" y="281"/>
                    <a:pt x="77" y="281"/>
                  </a:cubicBezTo>
                  <a:cubicBezTo>
                    <a:pt x="76" y="280"/>
                    <a:pt x="75" y="279"/>
                    <a:pt x="75" y="279"/>
                  </a:cubicBezTo>
                  <a:cubicBezTo>
                    <a:pt x="80" y="279"/>
                    <a:pt x="80" y="279"/>
                    <a:pt x="80" y="279"/>
                  </a:cubicBezTo>
                  <a:cubicBezTo>
                    <a:pt x="89" y="273"/>
                    <a:pt x="98" y="267"/>
                    <a:pt x="107" y="261"/>
                  </a:cubicBezTo>
                  <a:cubicBezTo>
                    <a:pt x="106" y="260"/>
                    <a:pt x="106" y="260"/>
                    <a:pt x="106" y="259"/>
                  </a:cubicBezTo>
                  <a:cubicBezTo>
                    <a:pt x="105" y="260"/>
                    <a:pt x="105" y="260"/>
                    <a:pt x="105" y="261"/>
                  </a:cubicBezTo>
                  <a:cubicBezTo>
                    <a:pt x="97" y="261"/>
                    <a:pt x="97" y="261"/>
                    <a:pt x="97" y="261"/>
                  </a:cubicBezTo>
                  <a:cubicBezTo>
                    <a:pt x="97" y="260"/>
                    <a:pt x="97" y="260"/>
                    <a:pt x="97" y="259"/>
                  </a:cubicBezTo>
                  <a:cubicBezTo>
                    <a:pt x="87" y="265"/>
                    <a:pt x="78" y="272"/>
                    <a:pt x="68" y="279"/>
                  </a:cubicBezTo>
                  <a:cubicBezTo>
                    <a:pt x="74" y="279"/>
                    <a:pt x="74" y="279"/>
                    <a:pt x="74" y="279"/>
                  </a:cubicBezTo>
                  <a:cubicBezTo>
                    <a:pt x="73" y="280"/>
                    <a:pt x="75" y="281"/>
                    <a:pt x="76" y="282"/>
                  </a:cubicBezTo>
                  <a:cubicBezTo>
                    <a:pt x="94" y="261"/>
                    <a:pt x="94" y="261"/>
                    <a:pt x="94" y="261"/>
                  </a:cubicBezTo>
                  <a:cubicBezTo>
                    <a:pt x="95" y="261"/>
                    <a:pt x="96" y="261"/>
                    <a:pt x="96" y="261"/>
                  </a:cubicBezTo>
                  <a:cubicBezTo>
                    <a:pt x="319" y="1287"/>
                    <a:pt x="320" y="1286"/>
                    <a:pt x="320" y="1284"/>
                  </a:cubicBezTo>
                  <a:cubicBezTo>
                    <a:pt x="308" y="1290"/>
                    <a:pt x="297" y="1297"/>
                    <a:pt x="288" y="1307"/>
                  </a:cubicBezTo>
                  <a:cubicBezTo>
                    <a:pt x="285" y="1310"/>
                    <a:pt x="290" y="1314"/>
                    <a:pt x="293" y="1311"/>
                  </a:cubicBezTo>
                  <a:cubicBezTo>
                    <a:pt x="301" y="1303"/>
                    <a:pt x="311" y="1296"/>
                    <a:pt x="322" y="1291"/>
                  </a:cubicBezTo>
                  <a:cubicBezTo>
                    <a:pt x="321" y="1290"/>
                    <a:pt x="319" y="1290"/>
                    <a:pt x="319" y="1289"/>
                  </a:cubicBezTo>
                  <a:cubicBezTo>
                    <a:pt x="280" y="1279"/>
                    <a:pt x="281" y="1277"/>
                    <a:pt x="282" y="1275"/>
                  </a:cubicBezTo>
                  <a:cubicBezTo>
                    <a:pt x="286" y="1275"/>
                    <a:pt x="286" y="1275"/>
                    <a:pt x="286" y="1275"/>
                  </a:cubicBezTo>
                  <a:cubicBezTo>
                    <a:pt x="296" y="1268"/>
                    <a:pt x="306" y="1259"/>
                    <a:pt x="314" y="1250"/>
                  </a:cubicBezTo>
                  <a:cubicBezTo>
                    <a:pt x="331" y="1231"/>
                    <a:pt x="339" y="1209"/>
                    <a:pt x="337" y="1186"/>
                  </a:cubicBezTo>
                  <a:cubicBezTo>
                    <a:pt x="329" y="1186"/>
                    <a:pt x="329" y="1186"/>
                    <a:pt x="329" y="1186"/>
                  </a:cubicBezTo>
                  <a:cubicBezTo>
                    <a:pt x="330" y="1192"/>
                    <a:pt x="331" y="1198"/>
                    <a:pt x="330" y="1203"/>
                  </a:cubicBezTo>
                  <a:cubicBezTo>
                    <a:pt x="333" y="1203"/>
                    <a:pt x="333" y="1203"/>
                    <a:pt x="333" y="1203"/>
                  </a:cubicBezTo>
                  <a:cubicBezTo>
                    <a:pt x="332" y="1207"/>
                    <a:pt x="330" y="1209"/>
                    <a:pt x="328" y="1212"/>
                  </a:cubicBezTo>
                  <a:cubicBezTo>
                    <a:pt x="327" y="1216"/>
                    <a:pt x="326" y="1220"/>
                    <a:pt x="324" y="1224"/>
                  </a:cubicBezTo>
                  <a:cubicBezTo>
                    <a:pt x="318" y="1235"/>
                    <a:pt x="311" y="1245"/>
                    <a:pt x="302" y="1254"/>
                  </a:cubicBezTo>
                  <a:cubicBezTo>
                    <a:pt x="303" y="1255"/>
                    <a:pt x="304" y="1256"/>
                    <a:pt x="304" y="1258"/>
                  </a:cubicBezTo>
                  <a:cubicBezTo>
                    <a:pt x="300" y="1258"/>
                    <a:pt x="300" y="1258"/>
                    <a:pt x="300" y="1258"/>
                  </a:cubicBezTo>
                  <a:cubicBezTo>
                    <a:pt x="300" y="1257"/>
                    <a:pt x="300" y="1257"/>
                    <a:pt x="300" y="1256"/>
                  </a:cubicBezTo>
                  <a:cubicBezTo>
                    <a:pt x="292" y="1263"/>
                    <a:pt x="284" y="1270"/>
                    <a:pt x="275" y="1276"/>
                  </a:cubicBezTo>
                  <a:cubicBezTo>
                    <a:pt x="276" y="1276"/>
                    <a:pt x="277" y="1276"/>
                    <a:pt x="278" y="1276"/>
                  </a:cubicBezTo>
                  <a:cubicBezTo>
                    <a:pt x="279" y="1278"/>
                    <a:pt x="278" y="1280"/>
                    <a:pt x="277" y="1282"/>
                  </a:cubicBezTo>
                  <a:cubicBezTo>
                    <a:pt x="278" y="1281"/>
                    <a:pt x="278" y="1281"/>
                    <a:pt x="279" y="1281"/>
                  </a:cubicBezTo>
                  <a:cubicBezTo>
                    <a:pt x="258" y="1313"/>
                    <a:pt x="258" y="1313"/>
                    <a:pt x="258" y="1313"/>
                  </a:cubicBezTo>
                  <a:cubicBezTo>
                    <a:pt x="260" y="1315"/>
                    <a:pt x="261" y="1317"/>
                    <a:pt x="262" y="1319"/>
                  </a:cubicBezTo>
                  <a:cubicBezTo>
                    <a:pt x="263" y="1317"/>
                    <a:pt x="265" y="1315"/>
                    <a:pt x="267" y="1314"/>
                  </a:cubicBezTo>
                  <a:cubicBezTo>
                    <a:pt x="267" y="1313"/>
                    <a:pt x="267" y="1312"/>
                    <a:pt x="267" y="1311"/>
                  </a:cubicBezTo>
                  <a:cubicBezTo>
                    <a:pt x="269" y="1311"/>
                    <a:pt x="269" y="1311"/>
                    <a:pt x="269" y="1311"/>
                  </a:cubicBezTo>
                  <a:cubicBezTo>
                    <a:pt x="276" y="1304"/>
                    <a:pt x="283" y="1297"/>
                    <a:pt x="291" y="1291"/>
                  </a:cubicBezTo>
                  <a:cubicBezTo>
                    <a:pt x="290" y="1291"/>
                    <a:pt x="290" y="1290"/>
                    <a:pt x="289" y="1289"/>
                  </a:cubicBezTo>
                  <a:cubicBezTo>
                    <a:pt x="288" y="1290"/>
                    <a:pt x="286" y="1292"/>
                    <a:pt x="285" y="1294"/>
                  </a:cubicBezTo>
                  <a:cubicBezTo>
                    <a:pt x="278" y="1294"/>
                    <a:pt x="278" y="1294"/>
                    <a:pt x="278" y="1294"/>
                  </a:cubicBezTo>
                  <a:cubicBezTo>
                    <a:pt x="272" y="1299"/>
                    <a:pt x="266" y="1305"/>
                    <a:pt x="260" y="1311"/>
                  </a:cubicBezTo>
                  <a:cubicBezTo>
                    <a:pt x="262" y="1311"/>
                    <a:pt x="262" y="1311"/>
                    <a:pt x="262" y="1311"/>
                  </a:cubicBezTo>
                  <a:cubicBezTo>
                    <a:pt x="261" y="1312"/>
                    <a:pt x="260" y="1312"/>
                    <a:pt x="259" y="1313"/>
                  </a:cubicBezTo>
                  <a:cubicBezTo>
                    <a:pt x="1084" y="1144"/>
                    <a:pt x="1084" y="1143"/>
                    <a:pt x="1084" y="1143"/>
                  </a:cubicBezTo>
                  <a:cubicBezTo>
                    <a:pt x="1083" y="1142"/>
                    <a:pt x="1082" y="1141"/>
                    <a:pt x="1081" y="1140"/>
                  </a:cubicBezTo>
                  <a:cubicBezTo>
                    <a:pt x="1080" y="1140"/>
                    <a:pt x="1080" y="1140"/>
                    <a:pt x="1080" y="1140"/>
                  </a:cubicBezTo>
                  <a:cubicBezTo>
                    <a:pt x="1066" y="1151"/>
                    <a:pt x="1052" y="1161"/>
                    <a:pt x="1038" y="1170"/>
                  </a:cubicBezTo>
                  <a:cubicBezTo>
                    <a:pt x="1038" y="1171"/>
                    <a:pt x="1038" y="1173"/>
                    <a:pt x="1037" y="1174"/>
                  </a:cubicBezTo>
                  <a:cubicBezTo>
                    <a:pt x="1036" y="1175"/>
                    <a:pt x="1034" y="1175"/>
                    <a:pt x="1031" y="1174"/>
                  </a:cubicBezTo>
                  <a:cubicBezTo>
                    <a:pt x="1030" y="1175"/>
                    <a:pt x="1029" y="1176"/>
                    <a:pt x="1028" y="1176"/>
                  </a:cubicBezTo>
                  <a:cubicBezTo>
                    <a:pt x="1028" y="1178"/>
                    <a:pt x="1028" y="1179"/>
                    <a:pt x="1027" y="1180"/>
                  </a:cubicBezTo>
                  <a:cubicBezTo>
                    <a:pt x="1023" y="1180"/>
                    <a:pt x="1023" y="1180"/>
                    <a:pt x="1023" y="1180"/>
                  </a:cubicBezTo>
                  <a:cubicBezTo>
                    <a:pt x="1024" y="1180"/>
                    <a:pt x="1024" y="1180"/>
                    <a:pt x="1024" y="1179"/>
                  </a:cubicBezTo>
                  <a:cubicBezTo>
                    <a:pt x="1024" y="1179"/>
                    <a:pt x="1023" y="1180"/>
                    <a:pt x="1023" y="1180"/>
                  </a:cubicBezTo>
                  <a:cubicBezTo>
                    <a:pt x="1023" y="1180"/>
                    <a:pt x="1023" y="1180"/>
                    <a:pt x="1023" y="1180"/>
                  </a:cubicBezTo>
                  <a:cubicBezTo>
                    <a:pt x="1023" y="1180"/>
                    <a:pt x="1023" y="1180"/>
                    <a:pt x="1023" y="1180"/>
                  </a:cubicBezTo>
                  <a:cubicBezTo>
                    <a:pt x="1013" y="1186"/>
                    <a:pt x="1003" y="1192"/>
                    <a:pt x="993" y="1198"/>
                  </a:cubicBezTo>
                  <a:cubicBezTo>
                    <a:pt x="1000" y="1198"/>
                    <a:pt x="1000" y="1198"/>
                    <a:pt x="1000" y="1198"/>
                  </a:cubicBezTo>
                  <a:cubicBezTo>
                    <a:pt x="999" y="1199"/>
                    <a:pt x="999" y="1201"/>
                    <a:pt x="998" y="1201"/>
                  </a:cubicBezTo>
                  <a:cubicBezTo>
                    <a:pt x="996" y="1201"/>
                    <a:pt x="992" y="1198"/>
                    <a:pt x="990" y="1200"/>
                  </a:cubicBezTo>
                  <a:cubicBezTo>
                    <a:pt x="990" y="1203"/>
                    <a:pt x="991" y="1205"/>
                    <a:pt x="994" y="1206"/>
                  </a:cubicBezTo>
                  <a:cubicBezTo>
                    <a:pt x="1026" y="1187"/>
                    <a:pt x="1057" y="1167"/>
                    <a:pt x="1087" y="1144"/>
                  </a:cubicBezTo>
                  <a:cubicBezTo>
                    <a:pt x="912" y="1239"/>
                    <a:pt x="910" y="1240"/>
                    <a:pt x="909" y="1240"/>
                  </a:cubicBezTo>
                  <a:cubicBezTo>
                    <a:pt x="908" y="1242"/>
                    <a:pt x="907" y="1242"/>
                    <a:pt x="905" y="1242"/>
                  </a:cubicBezTo>
                  <a:cubicBezTo>
                    <a:pt x="905" y="1242"/>
                    <a:pt x="904" y="1242"/>
                    <a:pt x="903" y="1243"/>
                  </a:cubicBezTo>
                  <a:cubicBezTo>
                    <a:pt x="907" y="1244"/>
                    <a:pt x="908" y="1246"/>
                    <a:pt x="907" y="1249"/>
                  </a:cubicBezTo>
                  <a:cubicBezTo>
                    <a:pt x="911" y="1247"/>
                    <a:pt x="916" y="1245"/>
                    <a:pt x="920" y="1243"/>
                  </a:cubicBezTo>
                  <a:cubicBezTo>
                    <a:pt x="920" y="1243"/>
                    <a:pt x="919" y="1242"/>
                    <a:pt x="919" y="1241"/>
                  </a:cubicBezTo>
                  <a:cubicBezTo>
                    <a:pt x="916" y="1240"/>
                    <a:pt x="914" y="1240"/>
                    <a:pt x="913" y="1238"/>
                  </a:cubicBezTo>
                  <a:cubicBezTo>
                    <a:pt x="82" y="661"/>
                    <a:pt x="83" y="657"/>
                    <a:pt x="85" y="653"/>
                  </a:cubicBezTo>
                  <a:cubicBezTo>
                    <a:pt x="77" y="654"/>
                    <a:pt x="77" y="654"/>
                    <a:pt x="77" y="654"/>
                  </a:cubicBezTo>
                  <a:cubicBezTo>
                    <a:pt x="74" y="659"/>
                    <a:pt x="71" y="665"/>
                    <a:pt x="69" y="671"/>
                  </a:cubicBezTo>
                  <a:cubicBezTo>
                    <a:pt x="77" y="671"/>
                    <a:pt x="77" y="671"/>
                    <a:pt x="77" y="671"/>
                  </a:cubicBezTo>
                  <a:cubicBezTo>
                    <a:pt x="78" y="669"/>
                    <a:pt x="79" y="667"/>
                    <a:pt x="80" y="665"/>
                  </a:cubicBezTo>
                  <a:cubicBezTo>
                    <a:pt x="921" y="1212"/>
                    <a:pt x="920" y="1212"/>
                    <a:pt x="920" y="1212"/>
                  </a:cubicBezTo>
                  <a:cubicBezTo>
                    <a:pt x="917" y="1213"/>
                    <a:pt x="914" y="1214"/>
                    <a:pt x="911" y="1216"/>
                  </a:cubicBezTo>
                  <a:cubicBezTo>
                    <a:pt x="911" y="1216"/>
                    <a:pt x="911" y="1216"/>
                    <a:pt x="911" y="1217"/>
                  </a:cubicBezTo>
                  <a:cubicBezTo>
                    <a:pt x="909" y="1217"/>
                    <a:pt x="909" y="1217"/>
                    <a:pt x="909" y="1217"/>
                  </a:cubicBezTo>
                  <a:cubicBezTo>
                    <a:pt x="892" y="1224"/>
                    <a:pt x="876" y="1231"/>
                    <a:pt x="859" y="1238"/>
                  </a:cubicBezTo>
                  <a:cubicBezTo>
                    <a:pt x="860" y="1240"/>
                    <a:pt x="860" y="1242"/>
                    <a:pt x="861" y="1244"/>
                  </a:cubicBezTo>
                  <a:cubicBezTo>
                    <a:pt x="868" y="1241"/>
                    <a:pt x="876" y="1238"/>
                    <a:pt x="883" y="1235"/>
                  </a:cubicBezTo>
                  <a:cubicBezTo>
                    <a:pt x="881" y="1235"/>
                    <a:pt x="879" y="1235"/>
                    <a:pt x="877" y="1234"/>
                  </a:cubicBezTo>
                  <a:cubicBezTo>
                    <a:pt x="885" y="1234"/>
                    <a:pt x="885" y="1234"/>
                    <a:pt x="885" y="1234"/>
                  </a:cubicBezTo>
                  <a:cubicBezTo>
                    <a:pt x="899" y="1229"/>
                    <a:pt x="912" y="1222"/>
                    <a:pt x="926" y="1216"/>
                  </a:cubicBezTo>
                  <a:cubicBezTo>
                    <a:pt x="924" y="1215"/>
                    <a:pt x="922" y="1214"/>
                    <a:pt x="921" y="1211"/>
                  </a:cubicBezTo>
                  <a:cubicBezTo>
                    <a:pt x="1124" y="1106"/>
                    <a:pt x="1124" y="1106"/>
                    <a:pt x="1124" y="1106"/>
                  </a:cubicBezTo>
                  <a:cubicBezTo>
                    <a:pt x="1123" y="1107"/>
                    <a:pt x="1122" y="1107"/>
                    <a:pt x="1122" y="1108"/>
                  </a:cubicBezTo>
                  <a:cubicBezTo>
                    <a:pt x="1122" y="1108"/>
                    <a:pt x="1122" y="1108"/>
                    <a:pt x="1122" y="1108"/>
                  </a:cubicBezTo>
                  <a:cubicBezTo>
                    <a:pt x="1121" y="1108"/>
                    <a:pt x="1121" y="1108"/>
                    <a:pt x="1121" y="1108"/>
                  </a:cubicBezTo>
                  <a:cubicBezTo>
                    <a:pt x="1114" y="1114"/>
                    <a:pt x="1107" y="1120"/>
                    <a:pt x="1100" y="1125"/>
                  </a:cubicBezTo>
                  <a:cubicBezTo>
                    <a:pt x="1102" y="1125"/>
                    <a:pt x="1102" y="1125"/>
                    <a:pt x="1102" y="1125"/>
                  </a:cubicBezTo>
                  <a:cubicBezTo>
                    <a:pt x="1102" y="1126"/>
                    <a:pt x="1102" y="1128"/>
                    <a:pt x="1102" y="1129"/>
                  </a:cubicBezTo>
                  <a:cubicBezTo>
                    <a:pt x="1101" y="1129"/>
                    <a:pt x="1100" y="1129"/>
                    <a:pt x="1099" y="1130"/>
                  </a:cubicBezTo>
                  <a:cubicBezTo>
                    <a:pt x="1099" y="1130"/>
                    <a:pt x="1099" y="1131"/>
                    <a:pt x="1098" y="1132"/>
                  </a:cubicBezTo>
                  <a:cubicBezTo>
                    <a:pt x="1095" y="1133"/>
                    <a:pt x="1094" y="1133"/>
                    <a:pt x="1092" y="1131"/>
                  </a:cubicBezTo>
                  <a:cubicBezTo>
                    <a:pt x="1092" y="1132"/>
                    <a:pt x="1091" y="1132"/>
                    <a:pt x="1091" y="1132"/>
                  </a:cubicBezTo>
                  <a:cubicBezTo>
                    <a:pt x="1091" y="1133"/>
                    <a:pt x="1091" y="1133"/>
                    <a:pt x="1091" y="1134"/>
                  </a:cubicBezTo>
                  <a:cubicBezTo>
                    <a:pt x="1091" y="1134"/>
                    <a:pt x="1092" y="1134"/>
                    <a:pt x="1093" y="1134"/>
                  </a:cubicBezTo>
                  <a:cubicBezTo>
                    <a:pt x="1093" y="1134"/>
                    <a:pt x="1093" y="1135"/>
                    <a:pt x="1093" y="1135"/>
                  </a:cubicBezTo>
                  <a:cubicBezTo>
                    <a:pt x="1094" y="1133"/>
                    <a:pt x="1097" y="1132"/>
                    <a:pt x="1099" y="1134"/>
                  </a:cubicBezTo>
                  <a:cubicBezTo>
                    <a:pt x="1099" y="1134"/>
                    <a:pt x="1099" y="1135"/>
                    <a:pt x="1099" y="1135"/>
                  </a:cubicBezTo>
                  <a:cubicBezTo>
                    <a:pt x="1099" y="1135"/>
                    <a:pt x="1099" y="1135"/>
                    <a:pt x="1099" y="1134"/>
                  </a:cubicBezTo>
                  <a:cubicBezTo>
                    <a:pt x="1100" y="1133"/>
                    <a:pt x="1101" y="1132"/>
                    <a:pt x="1102" y="1131"/>
                  </a:cubicBezTo>
                  <a:cubicBezTo>
                    <a:pt x="1102" y="1131"/>
                    <a:pt x="1103" y="1131"/>
                    <a:pt x="1103" y="1131"/>
                  </a:cubicBezTo>
                  <a:cubicBezTo>
                    <a:pt x="1105" y="1130"/>
                    <a:pt x="1106" y="1129"/>
                    <a:pt x="1108" y="1128"/>
                  </a:cubicBezTo>
                  <a:cubicBezTo>
                    <a:pt x="1108" y="1127"/>
                    <a:pt x="1107" y="1126"/>
                    <a:pt x="1107" y="1126"/>
                  </a:cubicBezTo>
                  <a:cubicBezTo>
                    <a:pt x="1106" y="1126"/>
                    <a:pt x="1106" y="1126"/>
                    <a:pt x="1105" y="1125"/>
                  </a:cubicBezTo>
                  <a:cubicBezTo>
                    <a:pt x="1111" y="1125"/>
                    <a:pt x="1111" y="1125"/>
                    <a:pt x="1111" y="1125"/>
                  </a:cubicBezTo>
                  <a:cubicBezTo>
                    <a:pt x="1118" y="1120"/>
                    <a:pt x="1125" y="1114"/>
                    <a:pt x="1132" y="1108"/>
                  </a:cubicBezTo>
                  <a:cubicBezTo>
                    <a:pt x="1124" y="1108"/>
                    <a:pt x="1124" y="1108"/>
                    <a:pt x="1124" y="1108"/>
                  </a:cubicBezTo>
                  <a:cubicBezTo>
                    <a:pt x="1124" y="1108"/>
                    <a:pt x="1124" y="1108"/>
                    <a:pt x="1125" y="1108"/>
                  </a:cubicBezTo>
                  <a:cubicBezTo>
                    <a:pt x="1124" y="1107"/>
                    <a:pt x="1124" y="1107"/>
                    <a:pt x="1124" y="1106"/>
                  </a:cubicBezTo>
                  <a:cubicBezTo>
                    <a:pt x="1136" y="1128"/>
                    <a:pt x="1138" y="1130"/>
                    <a:pt x="1138" y="1132"/>
                  </a:cubicBezTo>
                  <a:cubicBezTo>
                    <a:pt x="1138" y="1132"/>
                    <a:pt x="1138" y="1132"/>
                    <a:pt x="1138" y="1132"/>
                  </a:cubicBezTo>
                  <a:cubicBezTo>
                    <a:pt x="1139" y="1132"/>
                    <a:pt x="1139" y="1131"/>
                    <a:pt x="1139" y="1130"/>
                  </a:cubicBezTo>
                  <a:cubicBezTo>
                    <a:pt x="1139" y="1130"/>
                    <a:pt x="1138" y="1130"/>
                    <a:pt x="1138" y="1130"/>
                  </a:cubicBezTo>
                  <a:cubicBezTo>
                    <a:pt x="1138" y="1129"/>
                    <a:pt x="1138" y="1128"/>
                    <a:pt x="1138" y="1127"/>
                  </a:cubicBezTo>
                  <a:cubicBezTo>
                    <a:pt x="1137" y="1127"/>
                    <a:pt x="1136" y="1127"/>
                    <a:pt x="1135" y="1126"/>
                  </a:cubicBezTo>
                  <a:cubicBezTo>
                    <a:pt x="665" y="210"/>
                    <a:pt x="665" y="209"/>
                    <a:pt x="665" y="209"/>
                  </a:cubicBezTo>
                  <a:cubicBezTo>
                    <a:pt x="669" y="207"/>
                    <a:pt x="668" y="209"/>
                    <a:pt x="670" y="211"/>
                  </a:cubicBezTo>
                  <a:cubicBezTo>
                    <a:pt x="670" y="208"/>
                    <a:pt x="669" y="207"/>
                    <a:pt x="668" y="207"/>
                  </a:cubicBezTo>
                  <a:cubicBezTo>
                    <a:pt x="667" y="207"/>
                    <a:pt x="666" y="207"/>
                    <a:pt x="665" y="206"/>
                  </a:cubicBezTo>
                  <a:cubicBezTo>
                    <a:pt x="661" y="206"/>
                    <a:pt x="656" y="208"/>
                    <a:pt x="651" y="206"/>
                  </a:cubicBezTo>
                  <a:cubicBezTo>
                    <a:pt x="651" y="208"/>
                    <a:pt x="652" y="208"/>
                    <a:pt x="652" y="209"/>
                  </a:cubicBezTo>
                  <a:cubicBezTo>
                    <a:pt x="654" y="209"/>
                    <a:pt x="657" y="210"/>
                    <a:pt x="659" y="210"/>
                  </a:cubicBezTo>
                  <a:cubicBezTo>
                    <a:pt x="660" y="209"/>
                    <a:pt x="661" y="208"/>
                    <a:pt x="662" y="208"/>
                  </a:cubicBezTo>
                  <a:cubicBezTo>
                    <a:pt x="663" y="208"/>
                    <a:pt x="663" y="209"/>
                    <a:pt x="664" y="210"/>
                  </a:cubicBezTo>
                  <a:cubicBezTo>
                    <a:pt x="664" y="210"/>
                    <a:pt x="664" y="210"/>
                    <a:pt x="665" y="211"/>
                  </a:cubicBezTo>
                  <a:cubicBezTo>
                    <a:pt x="456" y="1289"/>
                    <a:pt x="455" y="1288"/>
                    <a:pt x="454" y="1286"/>
                  </a:cubicBezTo>
                  <a:cubicBezTo>
                    <a:pt x="455" y="1285"/>
                    <a:pt x="457" y="1285"/>
                    <a:pt x="458" y="1284"/>
                  </a:cubicBezTo>
                  <a:cubicBezTo>
                    <a:pt x="453" y="1284"/>
                    <a:pt x="448" y="1284"/>
                    <a:pt x="444" y="1284"/>
                  </a:cubicBezTo>
                  <a:cubicBezTo>
                    <a:pt x="443" y="1284"/>
                    <a:pt x="443" y="1284"/>
                    <a:pt x="443" y="1284"/>
                  </a:cubicBezTo>
                  <a:cubicBezTo>
                    <a:pt x="445" y="1286"/>
                    <a:pt x="446" y="1288"/>
                    <a:pt x="446" y="1290"/>
                  </a:cubicBezTo>
                  <a:cubicBezTo>
                    <a:pt x="450" y="1290"/>
                    <a:pt x="454" y="1290"/>
                    <a:pt x="458" y="1290"/>
                  </a:cubicBezTo>
                  <a:cubicBezTo>
                    <a:pt x="287" y="1328"/>
                    <a:pt x="285" y="1328"/>
                    <a:pt x="283" y="1327"/>
                  </a:cubicBezTo>
                  <a:cubicBezTo>
                    <a:pt x="282" y="1328"/>
                    <a:pt x="282" y="1328"/>
                    <a:pt x="281" y="1329"/>
                  </a:cubicBezTo>
                  <a:cubicBezTo>
                    <a:pt x="276" y="1329"/>
                    <a:pt x="276" y="1329"/>
                    <a:pt x="276" y="1329"/>
                  </a:cubicBezTo>
                  <a:cubicBezTo>
                    <a:pt x="273" y="1331"/>
                    <a:pt x="271" y="1333"/>
                    <a:pt x="268" y="1334"/>
                  </a:cubicBezTo>
                  <a:cubicBezTo>
                    <a:pt x="265" y="1337"/>
                    <a:pt x="269" y="1342"/>
                    <a:pt x="272" y="1340"/>
                  </a:cubicBezTo>
                  <a:cubicBezTo>
                    <a:pt x="278" y="1336"/>
                    <a:pt x="283" y="1332"/>
                    <a:pt x="289" y="1329"/>
                  </a:cubicBezTo>
                  <a:cubicBezTo>
                    <a:pt x="270" y="1294"/>
                    <a:pt x="270" y="1294"/>
                    <a:pt x="270" y="1294"/>
                  </a:cubicBezTo>
                  <a:cubicBezTo>
                    <a:pt x="270" y="1293"/>
                    <a:pt x="269" y="1292"/>
                    <a:pt x="269" y="1290"/>
                  </a:cubicBezTo>
                  <a:cubicBezTo>
                    <a:pt x="268" y="1291"/>
                    <a:pt x="268" y="1291"/>
                    <a:pt x="267" y="1292"/>
                  </a:cubicBezTo>
                  <a:cubicBezTo>
                    <a:pt x="267" y="1292"/>
                    <a:pt x="267" y="1292"/>
                    <a:pt x="267" y="1293"/>
                  </a:cubicBezTo>
                  <a:cubicBezTo>
                    <a:pt x="267" y="1293"/>
                    <a:pt x="267" y="1293"/>
                    <a:pt x="267" y="1294"/>
                  </a:cubicBezTo>
                  <a:cubicBezTo>
                    <a:pt x="264" y="1294"/>
                    <a:pt x="264" y="1294"/>
                    <a:pt x="264" y="1294"/>
                  </a:cubicBezTo>
                  <a:cubicBezTo>
                    <a:pt x="258" y="1298"/>
                    <a:pt x="252" y="1302"/>
                    <a:pt x="246" y="1306"/>
                  </a:cubicBezTo>
                  <a:cubicBezTo>
                    <a:pt x="244" y="1308"/>
                    <a:pt x="244" y="1310"/>
                    <a:pt x="245" y="1311"/>
                  </a:cubicBezTo>
                  <a:cubicBezTo>
                    <a:pt x="251" y="1311"/>
                    <a:pt x="251" y="1311"/>
                    <a:pt x="251" y="1311"/>
                  </a:cubicBezTo>
                  <a:cubicBezTo>
                    <a:pt x="259" y="1305"/>
                    <a:pt x="268" y="1300"/>
                    <a:pt x="276" y="1294"/>
                  </a:cubicBezTo>
                  <a:cubicBezTo>
                    <a:pt x="530" y="1268"/>
                    <a:pt x="550" y="1271"/>
                    <a:pt x="570" y="1273"/>
                  </a:cubicBezTo>
                  <a:cubicBezTo>
                    <a:pt x="584" y="1275"/>
                    <a:pt x="597" y="1277"/>
                    <a:pt x="611" y="1278"/>
                  </a:cubicBezTo>
                  <a:cubicBezTo>
                    <a:pt x="611" y="1276"/>
                    <a:pt x="612" y="1274"/>
                    <a:pt x="612" y="1272"/>
                  </a:cubicBezTo>
                  <a:cubicBezTo>
                    <a:pt x="625" y="1272"/>
                    <a:pt x="625" y="1272"/>
                    <a:pt x="625" y="1272"/>
                  </a:cubicBezTo>
                  <a:cubicBezTo>
                    <a:pt x="624" y="1275"/>
                    <a:pt x="625" y="1277"/>
                    <a:pt x="625" y="1279"/>
                  </a:cubicBezTo>
                  <a:cubicBezTo>
                    <a:pt x="638" y="1280"/>
                    <a:pt x="652" y="1280"/>
                    <a:pt x="665" y="1280"/>
                  </a:cubicBezTo>
                  <a:cubicBezTo>
                    <a:pt x="666" y="1280"/>
                    <a:pt x="666" y="1280"/>
                    <a:pt x="667" y="1279"/>
                  </a:cubicBezTo>
                  <a:cubicBezTo>
                    <a:pt x="666" y="1277"/>
                    <a:pt x="663" y="1276"/>
                    <a:pt x="662" y="1274"/>
                  </a:cubicBezTo>
                  <a:cubicBezTo>
                    <a:pt x="612" y="1273"/>
                    <a:pt x="563" y="1266"/>
                    <a:pt x="514" y="1258"/>
                  </a:cubicBezTo>
                  <a:cubicBezTo>
                    <a:pt x="501" y="1256"/>
                    <a:pt x="488" y="1254"/>
                    <a:pt x="476" y="1252"/>
                  </a:cubicBezTo>
                  <a:cubicBezTo>
                    <a:pt x="477" y="1253"/>
                    <a:pt x="478" y="1255"/>
                    <a:pt x="479" y="1256"/>
                  </a:cubicBezTo>
                  <a:cubicBezTo>
                    <a:pt x="471" y="1256"/>
                    <a:pt x="471" y="1256"/>
                    <a:pt x="471" y="1256"/>
                  </a:cubicBezTo>
                  <a:cubicBezTo>
                    <a:pt x="470" y="1255"/>
                    <a:pt x="470" y="1253"/>
                    <a:pt x="471" y="1251"/>
                  </a:cubicBezTo>
                  <a:cubicBezTo>
                    <a:pt x="468" y="1251"/>
                    <a:pt x="466" y="1251"/>
                    <a:pt x="463" y="1250"/>
                  </a:cubicBezTo>
                  <a:cubicBezTo>
                    <a:pt x="463" y="1251"/>
                    <a:pt x="462" y="1252"/>
                    <a:pt x="462" y="1252"/>
                  </a:cubicBezTo>
                  <a:cubicBezTo>
                    <a:pt x="460" y="1252"/>
                    <a:pt x="459" y="1252"/>
                    <a:pt x="458" y="1251"/>
                  </a:cubicBezTo>
                  <a:cubicBezTo>
                    <a:pt x="458" y="1251"/>
                    <a:pt x="457" y="1250"/>
                    <a:pt x="458" y="1249"/>
                  </a:cubicBezTo>
                  <a:cubicBezTo>
                    <a:pt x="455" y="1249"/>
                    <a:pt x="452" y="1248"/>
                    <a:pt x="449" y="1248"/>
                  </a:cubicBezTo>
                  <a:cubicBezTo>
                    <a:pt x="448" y="1249"/>
                    <a:pt x="448" y="1249"/>
                    <a:pt x="447" y="1249"/>
                  </a:cubicBezTo>
                  <a:cubicBezTo>
                    <a:pt x="446" y="1248"/>
                    <a:pt x="445" y="1248"/>
                    <a:pt x="445" y="1248"/>
                  </a:cubicBezTo>
                  <a:cubicBezTo>
                    <a:pt x="439" y="1247"/>
                    <a:pt x="432" y="1246"/>
                    <a:pt x="426" y="1245"/>
                  </a:cubicBezTo>
                  <a:cubicBezTo>
                    <a:pt x="425" y="1245"/>
                    <a:pt x="424" y="1245"/>
                    <a:pt x="423" y="1245"/>
                  </a:cubicBezTo>
                  <a:cubicBezTo>
                    <a:pt x="421" y="1245"/>
                    <a:pt x="419" y="1245"/>
                    <a:pt x="418" y="1245"/>
                  </a:cubicBezTo>
                  <a:cubicBezTo>
                    <a:pt x="419" y="1247"/>
                    <a:pt x="420" y="1249"/>
                    <a:pt x="422" y="1251"/>
                  </a:cubicBezTo>
                  <a:cubicBezTo>
                    <a:pt x="425" y="1251"/>
                    <a:pt x="429" y="1252"/>
                    <a:pt x="433" y="1252"/>
                  </a:cubicBezTo>
                  <a:cubicBezTo>
                    <a:pt x="436" y="1251"/>
                    <a:pt x="438" y="1250"/>
                    <a:pt x="441" y="1248"/>
                  </a:cubicBezTo>
                  <a:cubicBezTo>
                    <a:pt x="444" y="1249"/>
                    <a:pt x="445" y="1252"/>
                    <a:pt x="445" y="1254"/>
                  </a:cubicBezTo>
                  <a:cubicBezTo>
                    <a:pt x="448" y="1255"/>
                    <a:pt x="450" y="1255"/>
                    <a:pt x="453" y="1255"/>
                  </a:cubicBezTo>
                  <a:cubicBezTo>
                    <a:pt x="450" y="1255"/>
                    <a:pt x="448" y="1255"/>
                    <a:pt x="445" y="1255"/>
                  </a:cubicBezTo>
                  <a:cubicBezTo>
                    <a:pt x="445" y="1256"/>
                    <a:pt x="445" y="1256"/>
                    <a:pt x="445" y="1256"/>
                  </a:cubicBezTo>
                  <a:cubicBezTo>
                    <a:pt x="421" y="1257"/>
                    <a:pt x="421" y="1257"/>
                    <a:pt x="421" y="1257"/>
                  </a:cubicBezTo>
                  <a:cubicBezTo>
                    <a:pt x="394" y="1259"/>
                    <a:pt x="367" y="1265"/>
                    <a:pt x="341" y="1275"/>
                  </a:cubicBezTo>
                  <a:cubicBezTo>
                    <a:pt x="345" y="1275"/>
                    <a:pt x="345" y="1275"/>
                    <a:pt x="345" y="1275"/>
                  </a:cubicBezTo>
                  <a:cubicBezTo>
                    <a:pt x="346" y="1276"/>
                    <a:pt x="346" y="1278"/>
                    <a:pt x="347" y="1280"/>
                  </a:cubicBezTo>
                  <a:cubicBezTo>
                    <a:pt x="398" y="1260"/>
                    <a:pt x="454" y="1259"/>
                    <a:pt x="508" y="1265"/>
                  </a:cubicBezTo>
                  <a:cubicBezTo>
                    <a:pt x="509" y="1266"/>
                    <a:pt x="510" y="1265"/>
                    <a:pt x="510" y="1265"/>
                  </a:cubicBezTo>
                  <a:cubicBezTo>
                    <a:pt x="596" y="1272"/>
                    <a:pt x="596" y="1272"/>
                    <a:pt x="596" y="1272"/>
                  </a:cubicBezTo>
                  <a:cubicBezTo>
                    <a:pt x="596" y="1272"/>
                    <a:pt x="596" y="1273"/>
                    <a:pt x="596" y="1273"/>
                  </a:cubicBezTo>
                  <a:cubicBezTo>
                    <a:pt x="596" y="1273"/>
                    <a:pt x="596" y="1272"/>
                    <a:pt x="596" y="1272"/>
                  </a:cubicBezTo>
                  <a:cubicBezTo>
                    <a:pt x="854" y="1244"/>
                    <a:pt x="853" y="1242"/>
                    <a:pt x="853" y="1240"/>
                  </a:cubicBezTo>
                  <a:cubicBezTo>
                    <a:pt x="850" y="1241"/>
                    <a:pt x="848" y="1242"/>
                    <a:pt x="846" y="1243"/>
                  </a:cubicBezTo>
                  <a:cubicBezTo>
                    <a:pt x="846" y="1243"/>
                    <a:pt x="846" y="1244"/>
                    <a:pt x="845" y="1245"/>
                  </a:cubicBezTo>
                  <a:cubicBezTo>
                    <a:pt x="843" y="1248"/>
                    <a:pt x="841" y="1244"/>
                    <a:pt x="838" y="1246"/>
                  </a:cubicBezTo>
                  <a:cubicBezTo>
                    <a:pt x="839" y="1248"/>
                    <a:pt x="840" y="1250"/>
                    <a:pt x="839" y="1252"/>
                  </a:cubicBezTo>
                  <a:cubicBezTo>
                    <a:pt x="845" y="1250"/>
                    <a:pt x="850" y="1248"/>
                    <a:pt x="855" y="1246"/>
                  </a:cubicBezTo>
                  <a:cubicBezTo>
                    <a:pt x="378" y="145"/>
                    <a:pt x="378" y="145"/>
                    <a:pt x="377" y="145"/>
                  </a:cubicBezTo>
                  <a:cubicBezTo>
                    <a:pt x="377" y="146"/>
                    <a:pt x="377" y="148"/>
                    <a:pt x="377" y="149"/>
                  </a:cubicBezTo>
                  <a:cubicBezTo>
                    <a:pt x="379" y="149"/>
                    <a:pt x="380" y="147"/>
                    <a:pt x="379" y="145"/>
                  </a:cubicBezTo>
                  <a:cubicBezTo>
                    <a:pt x="113" y="249"/>
                    <a:pt x="112" y="250"/>
                    <a:pt x="111" y="250"/>
                  </a:cubicBezTo>
                  <a:cubicBezTo>
                    <a:pt x="113" y="251"/>
                    <a:pt x="115" y="252"/>
                    <a:pt x="119" y="252"/>
                  </a:cubicBezTo>
                  <a:cubicBezTo>
                    <a:pt x="119" y="252"/>
                    <a:pt x="119" y="253"/>
                    <a:pt x="119" y="253"/>
                  </a:cubicBezTo>
                  <a:cubicBezTo>
                    <a:pt x="123" y="251"/>
                    <a:pt x="127" y="249"/>
                    <a:pt x="130" y="247"/>
                  </a:cubicBezTo>
                  <a:cubicBezTo>
                    <a:pt x="130" y="245"/>
                    <a:pt x="129" y="244"/>
                    <a:pt x="129" y="243"/>
                  </a:cubicBezTo>
                  <a:cubicBezTo>
                    <a:pt x="136" y="242"/>
                    <a:pt x="136" y="242"/>
                    <a:pt x="136" y="242"/>
                  </a:cubicBezTo>
                  <a:cubicBezTo>
                    <a:pt x="136" y="243"/>
                    <a:pt x="137" y="243"/>
                    <a:pt x="137" y="243"/>
                  </a:cubicBezTo>
                  <a:cubicBezTo>
                    <a:pt x="148" y="237"/>
                    <a:pt x="160" y="231"/>
                    <a:pt x="171" y="225"/>
                  </a:cubicBezTo>
                  <a:cubicBezTo>
                    <a:pt x="162" y="225"/>
                    <a:pt x="162" y="225"/>
                    <a:pt x="162" y="225"/>
                  </a:cubicBezTo>
                  <a:cubicBezTo>
                    <a:pt x="163" y="224"/>
                    <a:pt x="163" y="223"/>
                    <a:pt x="162" y="222"/>
                  </a:cubicBezTo>
                  <a:cubicBezTo>
                    <a:pt x="164" y="220"/>
                    <a:pt x="168" y="221"/>
                    <a:pt x="171" y="221"/>
                  </a:cubicBezTo>
                  <a:cubicBezTo>
                    <a:pt x="170" y="223"/>
                    <a:pt x="171" y="224"/>
                    <a:pt x="172" y="225"/>
                  </a:cubicBezTo>
                  <a:cubicBezTo>
                    <a:pt x="175" y="223"/>
                    <a:pt x="179" y="221"/>
                    <a:pt x="183" y="219"/>
                  </a:cubicBezTo>
                  <a:cubicBezTo>
                    <a:pt x="193" y="215"/>
                    <a:pt x="203" y="210"/>
                    <a:pt x="214" y="206"/>
                  </a:cubicBezTo>
                  <a:cubicBezTo>
                    <a:pt x="214" y="206"/>
                    <a:pt x="214" y="206"/>
                    <a:pt x="214" y="206"/>
                  </a:cubicBezTo>
                  <a:cubicBezTo>
                    <a:pt x="214" y="206"/>
                    <a:pt x="214" y="206"/>
                    <a:pt x="215" y="206"/>
                  </a:cubicBezTo>
                  <a:cubicBezTo>
                    <a:pt x="215" y="206"/>
                    <a:pt x="215" y="206"/>
                    <a:pt x="215" y="206"/>
                  </a:cubicBezTo>
                  <a:cubicBezTo>
                    <a:pt x="241" y="196"/>
                    <a:pt x="268" y="189"/>
                    <a:pt x="296" y="185"/>
                  </a:cubicBezTo>
                  <a:cubicBezTo>
                    <a:pt x="295" y="184"/>
                    <a:pt x="294" y="183"/>
                    <a:pt x="295" y="182"/>
                  </a:cubicBezTo>
                  <a:cubicBezTo>
                    <a:pt x="296" y="181"/>
                    <a:pt x="297" y="181"/>
                    <a:pt x="300" y="181"/>
                  </a:cubicBezTo>
                  <a:cubicBezTo>
                    <a:pt x="301" y="182"/>
                    <a:pt x="301" y="183"/>
                    <a:pt x="300" y="184"/>
                  </a:cubicBezTo>
                  <a:cubicBezTo>
                    <a:pt x="316" y="181"/>
                    <a:pt x="331" y="179"/>
                    <a:pt x="346" y="178"/>
                  </a:cubicBezTo>
                  <a:cubicBezTo>
                    <a:pt x="346" y="176"/>
                    <a:pt x="344" y="174"/>
                    <a:pt x="343" y="172"/>
                  </a:cubicBezTo>
                  <a:cubicBezTo>
                    <a:pt x="336" y="172"/>
                    <a:pt x="329" y="173"/>
                    <a:pt x="322" y="174"/>
                  </a:cubicBezTo>
                  <a:cubicBezTo>
                    <a:pt x="323" y="175"/>
                    <a:pt x="322" y="177"/>
                    <a:pt x="322" y="178"/>
                  </a:cubicBezTo>
                  <a:cubicBezTo>
                    <a:pt x="318" y="177"/>
                    <a:pt x="319" y="180"/>
                    <a:pt x="316" y="180"/>
                  </a:cubicBezTo>
                  <a:cubicBezTo>
                    <a:pt x="315" y="178"/>
                    <a:pt x="315" y="176"/>
                    <a:pt x="316" y="175"/>
                  </a:cubicBezTo>
                  <a:cubicBezTo>
                    <a:pt x="314" y="175"/>
                    <a:pt x="311" y="175"/>
                    <a:pt x="309" y="176"/>
                  </a:cubicBezTo>
                  <a:cubicBezTo>
                    <a:pt x="309" y="176"/>
                    <a:pt x="308" y="177"/>
                    <a:pt x="307" y="177"/>
                  </a:cubicBezTo>
                  <a:cubicBezTo>
                    <a:pt x="307" y="176"/>
                    <a:pt x="307" y="176"/>
                    <a:pt x="307" y="176"/>
                  </a:cubicBezTo>
                  <a:cubicBezTo>
                    <a:pt x="301" y="177"/>
                    <a:pt x="294" y="178"/>
                    <a:pt x="288" y="179"/>
                  </a:cubicBezTo>
                  <a:cubicBezTo>
                    <a:pt x="289" y="187"/>
                    <a:pt x="278" y="188"/>
                    <a:pt x="278" y="181"/>
                  </a:cubicBezTo>
                  <a:cubicBezTo>
                    <a:pt x="273" y="182"/>
                    <a:pt x="269" y="183"/>
                    <a:pt x="265" y="184"/>
                  </a:cubicBezTo>
                  <a:cubicBezTo>
                    <a:pt x="268" y="184"/>
                    <a:pt x="270" y="185"/>
                    <a:pt x="271" y="187"/>
                  </a:cubicBezTo>
                  <a:cubicBezTo>
                    <a:pt x="270" y="188"/>
                    <a:pt x="270" y="188"/>
                    <a:pt x="269" y="188"/>
                  </a:cubicBezTo>
                  <a:cubicBezTo>
                    <a:pt x="264" y="188"/>
                    <a:pt x="264" y="188"/>
                    <a:pt x="264" y="188"/>
                  </a:cubicBezTo>
                  <a:cubicBezTo>
                    <a:pt x="264" y="188"/>
                    <a:pt x="264" y="188"/>
                    <a:pt x="263" y="188"/>
                  </a:cubicBezTo>
                  <a:cubicBezTo>
                    <a:pt x="264" y="187"/>
                    <a:pt x="264" y="186"/>
                    <a:pt x="264" y="184"/>
                  </a:cubicBezTo>
                  <a:cubicBezTo>
                    <a:pt x="263" y="185"/>
                    <a:pt x="263" y="185"/>
                    <a:pt x="262" y="185"/>
                  </a:cubicBezTo>
                  <a:cubicBezTo>
                    <a:pt x="262" y="185"/>
                    <a:pt x="262" y="186"/>
                    <a:pt x="262" y="187"/>
                  </a:cubicBezTo>
                  <a:cubicBezTo>
                    <a:pt x="262" y="188"/>
                    <a:pt x="261" y="188"/>
                    <a:pt x="260" y="188"/>
                  </a:cubicBezTo>
                  <a:cubicBezTo>
                    <a:pt x="256" y="188"/>
                    <a:pt x="256" y="188"/>
                    <a:pt x="256" y="188"/>
                  </a:cubicBezTo>
                  <a:cubicBezTo>
                    <a:pt x="256" y="188"/>
                    <a:pt x="255" y="187"/>
                    <a:pt x="255" y="187"/>
                  </a:cubicBezTo>
                  <a:cubicBezTo>
                    <a:pt x="230" y="193"/>
                    <a:pt x="205" y="202"/>
                    <a:pt x="181" y="213"/>
                  </a:cubicBezTo>
                  <a:cubicBezTo>
                    <a:pt x="158" y="223"/>
                    <a:pt x="137" y="235"/>
                    <a:pt x="116" y="247"/>
                  </a:cubicBezTo>
                  <a:cubicBezTo>
                    <a:pt x="116" y="248"/>
                    <a:pt x="117" y="249"/>
                    <a:pt x="118" y="249"/>
                  </a:cubicBezTo>
                  <a:cubicBezTo>
                    <a:pt x="115" y="250"/>
                    <a:pt x="114" y="250"/>
                    <a:pt x="114" y="248"/>
                  </a:cubicBezTo>
                  <a:cubicBezTo>
                    <a:pt x="430" y="1290"/>
                    <a:pt x="434" y="1290"/>
                    <a:pt x="438" y="1290"/>
                  </a:cubicBezTo>
                  <a:cubicBezTo>
                    <a:pt x="436" y="1288"/>
                    <a:pt x="435" y="1286"/>
                    <a:pt x="434" y="1284"/>
                  </a:cubicBezTo>
                  <a:cubicBezTo>
                    <a:pt x="426" y="1284"/>
                    <a:pt x="418" y="1284"/>
                    <a:pt x="410" y="1285"/>
                  </a:cubicBezTo>
                  <a:cubicBezTo>
                    <a:pt x="410" y="1285"/>
                    <a:pt x="410" y="1285"/>
                    <a:pt x="410" y="1285"/>
                  </a:cubicBezTo>
                  <a:cubicBezTo>
                    <a:pt x="404" y="1287"/>
                    <a:pt x="398" y="1288"/>
                    <a:pt x="390" y="1288"/>
                  </a:cubicBezTo>
                  <a:cubicBezTo>
                    <a:pt x="387" y="1288"/>
                    <a:pt x="384" y="1289"/>
                    <a:pt x="381" y="1289"/>
                  </a:cubicBezTo>
                  <a:cubicBezTo>
                    <a:pt x="382" y="1291"/>
                    <a:pt x="383" y="1292"/>
                    <a:pt x="384" y="1293"/>
                  </a:cubicBezTo>
                  <a:cubicBezTo>
                    <a:pt x="366" y="1293"/>
                    <a:pt x="366" y="1293"/>
                    <a:pt x="366" y="1293"/>
                  </a:cubicBezTo>
                  <a:cubicBezTo>
                    <a:pt x="366" y="1293"/>
                    <a:pt x="367" y="1292"/>
                    <a:pt x="367" y="1292"/>
                  </a:cubicBezTo>
                  <a:cubicBezTo>
                    <a:pt x="347" y="1297"/>
                    <a:pt x="327" y="1304"/>
                    <a:pt x="308" y="1312"/>
                  </a:cubicBezTo>
                  <a:cubicBezTo>
                    <a:pt x="309" y="1314"/>
                    <a:pt x="310" y="1316"/>
                    <a:pt x="312" y="1318"/>
                  </a:cubicBezTo>
                  <a:cubicBezTo>
                    <a:pt x="312" y="1318"/>
                    <a:pt x="312" y="1318"/>
                    <a:pt x="312" y="1318"/>
                  </a:cubicBezTo>
                  <a:cubicBezTo>
                    <a:pt x="348" y="1302"/>
                    <a:pt x="388" y="1293"/>
                    <a:pt x="427" y="1291"/>
                  </a:cubicBezTo>
                  <a:cubicBezTo>
                    <a:pt x="624" y="1319"/>
                    <a:pt x="624" y="1321"/>
                    <a:pt x="625" y="1322"/>
                  </a:cubicBezTo>
                  <a:cubicBezTo>
                    <a:pt x="626" y="1322"/>
                    <a:pt x="627" y="1322"/>
                    <a:pt x="628" y="1322"/>
                  </a:cubicBezTo>
                  <a:cubicBezTo>
                    <a:pt x="631" y="1319"/>
                    <a:pt x="633" y="1317"/>
                    <a:pt x="636" y="1315"/>
                  </a:cubicBezTo>
                  <a:cubicBezTo>
                    <a:pt x="635" y="1315"/>
                    <a:pt x="634" y="1315"/>
                    <a:pt x="633" y="1315"/>
                  </a:cubicBezTo>
                  <a:cubicBezTo>
                    <a:pt x="631" y="1317"/>
                    <a:pt x="627" y="1315"/>
                    <a:pt x="625" y="1317"/>
                  </a:cubicBezTo>
                  <a:cubicBezTo>
                    <a:pt x="529" y="1316"/>
                    <a:pt x="529" y="1316"/>
                    <a:pt x="529" y="1315"/>
                  </a:cubicBezTo>
                  <a:cubicBezTo>
                    <a:pt x="529" y="1315"/>
                    <a:pt x="529" y="1315"/>
                    <a:pt x="528" y="1315"/>
                  </a:cubicBezTo>
                  <a:cubicBezTo>
                    <a:pt x="528" y="1316"/>
                    <a:pt x="528" y="1316"/>
                    <a:pt x="529" y="1316"/>
                  </a:cubicBezTo>
                  <a:cubicBezTo>
                    <a:pt x="286" y="1240"/>
                    <a:pt x="286" y="1240"/>
                    <a:pt x="286" y="1240"/>
                  </a:cubicBezTo>
                  <a:cubicBezTo>
                    <a:pt x="293" y="1230"/>
                    <a:pt x="297" y="1219"/>
                    <a:pt x="300" y="1208"/>
                  </a:cubicBezTo>
                  <a:cubicBezTo>
                    <a:pt x="299" y="1208"/>
                    <a:pt x="297" y="1209"/>
                    <a:pt x="296" y="1210"/>
                  </a:cubicBezTo>
                  <a:cubicBezTo>
                    <a:pt x="298" y="1210"/>
                    <a:pt x="298" y="1211"/>
                    <a:pt x="297" y="1213"/>
                  </a:cubicBezTo>
                  <a:cubicBezTo>
                    <a:pt x="295" y="1215"/>
                    <a:pt x="293" y="1214"/>
                    <a:pt x="292" y="1213"/>
                  </a:cubicBezTo>
                  <a:cubicBezTo>
                    <a:pt x="291" y="1214"/>
                    <a:pt x="291" y="1216"/>
                    <a:pt x="290" y="1217"/>
                  </a:cubicBezTo>
                  <a:cubicBezTo>
                    <a:pt x="284" y="1238"/>
                    <a:pt x="268" y="1254"/>
                    <a:pt x="252" y="1268"/>
                  </a:cubicBezTo>
                  <a:cubicBezTo>
                    <a:pt x="246" y="1273"/>
                    <a:pt x="240" y="1278"/>
                    <a:pt x="233" y="1282"/>
                  </a:cubicBezTo>
                  <a:cubicBezTo>
                    <a:pt x="234" y="1285"/>
                    <a:pt x="234" y="1287"/>
                    <a:pt x="234" y="1290"/>
                  </a:cubicBezTo>
                  <a:cubicBezTo>
                    <a:pt x="237" y="1288"/>
                    <a:pt x="239" y="1286"/>
                    <a:pt x="241" y="1285"/>
                  </a:cubicBezTo>
                  <a:cubicBezTo>
                    <a:pt x="242" y="1284"/>
                    <a:pt x="243" y="1283"/>
                    <a:pt x="243" y="1283"/>
                  </a:cubicBezTo>
                  <a:cubicBezTo>
                    <a:pt x="243" y="1283"/>
                    <a:pt x="244" y="1283"/>
                    <a:pt x="244" y="1283"/>
                  </a:cubicBezTo>
                  <a:cubicBezTo>
                    <a:pt x="246" y="1281"/>
                    <a:pt x="248" y="1279"/>
                    <a:pt x="250" y="1278"/>
                  </a:cubicBezTo>
                  <a:cubicBezTo>
                    <a:pt x="251" y="1277"/>
                    <a:pt x="252" y="1276"/>
                    <a:pt x="252" y="1276"/>
                  </a:cubicBezTo>
                  <a:cubicBezTo>
                    <a:pt x="264" y="1267"/>
                    <a:pt x="274" y="1257"/>
                    <a:pt x="283" y="1245"/>
                  </a:cubicBezTo>
                  <a:cubicBezTo>
                    <a:pt x="281" y="1244"/>
                    <a:pt x="281" y="1242"/>
                    <a:pt x="281" y="1240"/>
                  </a:cubicBezTo>
                  <a:cubicBezTo>
                    <a:pt x="894" y="1253"/>
                    <a:pt x="894" y="1253"/>
                    <a:pt x="894" y="1253"/>
                  </a:cubicBezTo>
                  <a:cubicBezTo>
                    <a:pt x="892" y="1252"/>
                    <a:pt x="890" y="1250"/>
                    <a:pt x="888" y="1249"/>
                  </a:cubicBezTo>
                  <a:cubicBezTo>
                    <a:pt x="867" y="1257"/>
                    <a:pt x="846" y="1264"/>
                    <a:pt x="824" y="1271"/>
                  </a:cubicBezTo>
                  <a:cubicBezTo>
                    <a:pt x="827" y="1270"/>
                    <a:pt x="827" y="1270"/>
                    <a:pt x="827" y="1270"/>
                  </a:cubicBezTo>
                  <a:cubicBezTo>
                    <a:pt x="827" y="1271"/>
                    <a:pt x="827" y="1271"/>
                    <a:pt x="827" y="1272"/>
                  </a:cubicBezTo>
                  <a:cubicBezTo>
                    <a:pt x="831" y="1273"/>
                    <a:pt x="833" y="1271"/>
                    <a:pt x="836" y="1272"/>
                  </a:cubicBezTo>
                  <a:cubicBezTo>
                    <a:pt x="837" y="1272"/>
                    <a:pt x="837" y="1273"/>
                    <a:pt x="837" y="1274"/>
                  </a:cubicBezTo>
                  <a:cubicBezTo>
                    <a:pt x="839" y="1273"/>
                    <a:pt x="840" y="1273"/>
                    <a:pt x="841" y="1273"/>
                  </a:cubicBezTo>
                  <a:cubicBezTo>
                    <a:pt x="841" y="1272"/>
                    <a:pt x="840" y="1271"/>
                    <a:pt x="840" y="1270"/>
                  </a:cubicBezTo>
                  <a:cubicBezTo>
                    <a:pt x="848" y="1270"/>
                    <a:pt x="848" y="1270"/>
                    <a:pt x="848" y="1270"/>
                  </a:cubicBezTo>
                  <a:cubicBezTo>
                    <a:pt x="865" y="1265"/>
                    <a:pt x="882" y="1259"/>
                    <a:pt x="898" y="1253"/>
                  </a:cubicBezTo>
                  <a:cubicBezTo>
                    <a:pt x="744" y="1275"/>
                    <a:pt x="745" y="1275"/>
                    <a:pt x="747" y="1275"/>
                  </a:cubicBezTo>
                  <a:cubicBezTo>
                    <a:pt x="747" y="1273"/>
                    <a:pt x="749" y="1273"/>
                    <a:pt x="750" y="1272"/>
                  </a:cubicBezTo>
                  <a:cubicBezTo>
                    <a:pt x="752" y="1272"/>
                    <a:pt x="753" y="1273"/>
                    <a:pt x="753" y="1274"/>
                  </a:cubicBezTo>
                  <a:cubicBezTo>
                    <a:pt x="755" y="1274"/>
                    <a:pt x="756" y="1273"/>
                    <a:pt x="757" y="1273"/>
                  </a:cubicBezTo>
                  <a:cubicBezTo>
                    <a:pt x="757" y="1272"/>
                    <a:pt x="758" y="1272"/>
                    <a:pt x="758" y="1271"/>
                  </a:cubicBezTo>
                  <a:cubicBezTo>
                    <a:pt x="769" y="1271"/>
                    <a:pt x="769" y="1271"/>
                    <a:pt x="769" y="1271"/>
                  </a:cubicBezTo>
                  <a:cubicBezTo>
                    <a:pt x="775" y="1270"/>
                    <a:pt x="782" y="1268"/>
                    <a:pt x="789" y="1267"/>
                  </a:cubicBezTo>
                  <a:cubicBezTo>
                    <a:pt x="804" y="1263"/>
                    <a:pt x="820" y="1258"/>
                    <a:pt x="835" y="1253"/>
                  </a:cubicBezTo>
                  <a:cubicBezTo>
                    <a:pt x="827" y="1253"/>
                    <a:pt x="827" y="1253"/>
                    <a:pt x="827" y="1253"/>
                  </a:cubicBezTo>
                  <a:cubicBezTo>
                    <a:pt x="825" y="1252"/>
                    <a:pt x="824" y="1251"/>
                    <a:pt x="821" y="1251"/>
                  </a:cubicBezTo>
                  <a:cubicBezTo>
                    <a:pt x="821" y="1252"/>
                    <a:pt x="821" y="1253"/>
                    <a:pt x="822" y="1253"/>
                  </a:cubicBezTo>
                  <a:cubicBezTo>
                    <a:pt x="813" y="1253"/>
                    <a:pt x="813" y="1253"/>
                    <a:pt x="813" y="1253"/>
                  </a:cubicBezTo>
                  <a:cubicBezTo>
                    <a:pt x="788" y="1261"/>
                    <a:pt x="762" y="1266"/>
                    <a:pt x="737" y="1270"/>
                  </a:cubicBezTo>
                  <a:cubicBezTo>
                    <a:pt x="732" y="1270"/>
                    <a:pt x="727" y="1271"/>
                    <a:pt x="722" y="1271"/>
                  </a:cubicBezTo>
                  <a:cubicBezTo>
                    <a:pt x="722" y="1271"/>
                    <a:pt x="722" y="1271"/>
                    <a:pt x="722" y="1271"/>
                  </a:cubicBezTo>
                  <a:cubicBezTo>
                    <a:pt x="720" y="1272"/>
                    <a:pt x="718" y="1273"/>
                    <a:pt x="716" y="1272"/>
                  </a:cubicBezTo>
                  <a:cubicBezTo>
                    <a:pt x="713" y="1272"/>
                    <a:pt x="710" y="1272"/>
                    <a:pt x="707" y="1273"/>
                  </a:cubicBezTo>
                  <a:cubicBezTo>
                    <a:pt x="706" y="1274"/>
                    <a:pt x="705" y="1275"/>
                    <a:pt x="704" y="1275"/>
                  </a:cubicBezTo>
                  <a:cubicBezTo>
                    <a:pt x="702" y="1275"/>
                    <a:pt x="700" y="1275"/>
                    <a:pt x="699" y="1274"/>
                  </a:cubicBezTo>
                  <a:cubicBezTo>
                    <a:pt x="699" y="1273"/>
                    <a:pt x="699" y="1273"/>
                    <a:pt x="699" y="1273"/>
                  </a:cubicBezTo>
                  <a:cubicBezTo>
                    <a:pt x="699" y="1273"/>
                    <a:pt x="698" y="1273"/>
                    <a:pt x="697" y="1273"/>
                  </a:cubicBezTo>
                  <a:cubicBezTo>
                    <a:pt x="696" y="1278"/>
                    <a:pt x="693" y="1281"/>
                    <a:pt x="687" y="1279"/>
                  </a:cubicBezTo>
                  <a:cubicBezTo>
                    <a:pt x="687" y="1277"/>
                    <a:pt x="686" y="1275"/>
                    <a:pt x="685" y="1274"/>
                  </a:cubicBezTo>
                  <a:cubicBezTo>
                    <a:pt x="683" y="1274"/>
                    <a:pt x="681" y="1274"/>
                    <a:pt x="680" y="1274"/>
                  </a:cubicBezTo>
                  <a:cubicBezTo>
                    <a:pt x="678" y="1276"/>
                    <a:pt x="674" y="1277"/>
                    <a:pt x="670" y="1277"/>
                  </a:cubicBezTo>
                  <a:cubicBezTo>
                    <a:pt x="672" y="1279"/>
                    <a:pt x="680" y="1278"/>
                    <a:pt x="683" y="1280"/>
                  </a:cubicBezTo>
                  <a:cubicBezTo>
                    <a:pt x="698" y="1280"/>
                    <a:pt x="712" y="1279"/>
                    <a:pt x="726" y="1277"/>
                  </a:cubicBezTo>
                  <a:cubicBezTo>
                    <a:pt x="726" y="1277"/>
                    <a:pt x="727" y="1277"/>
                    <a:pt x="727" y="1277"/>
                  </a:cubicBezTo>
                  <a:cubicBezTo>
                    <a:pt x="726" y="1275"/>
                    <a:pt x="726" y="1273"/>
                    <a:pt x="725" y="1271"/>
                  </a:cubicBezTo>
                  <a:cubicBezTo>
                    <a:pt x="741" y="1271"/>
                    <a:pt x="741" y="1271"/>
                    <a:pt x="741" y="1271"/>
                  </a:cubicBezTo>
                  <a:cubicBezTo>
                    <a:pt x="741" y="1271"/>
                    <a:pt x="741" y="1271"/>
                    <a:pt x="741" y="1271"/>
                  </a:cubicBezTo>
                  <a:cubicBezTo>
                    <a:pt x="745" y="1272"/>
                    <a:pt x="744" y="1274"/>
                    <a:pt x="742" y="1275"/>
                  </a:cubicBezTo>
                  <a:cubicBezTo>
                    <a:pt x="208" y="1206"/>
                    <a:pt x="209" y="1207"/>
                    <a:pt x="210" y="1209"/>
                  </a:cubicBezTo>
                  <a:cubicBezTo>
                    <a:pt x="217" y="1201"/>
                    <a:pt x="223" y="1192"/>
                    <a:pt x="229" y="1183"/>
                  </a:cubicBezTo>
                  <a:cubicBezTo>
                    <a:pt x="229" y="1183"/>
                    <a:pt x="228" y="1183"/>
                    <a:pt x="227" y="1183"/>
                  </a:cubicBezTo>
                  <a:cubicBezTo>
                    <a:pt x="228" y="1180"/>
                    <a:pt x="228" y="1178"/>
                    <a:pt x="230" y="1177"/>
                  </a:cubicBezTo>
                  <a:cubicBezTo>
                    <a:pt x="231" y="1177"/>
                    <a:pt x="232" y="1178"/>
                    <a:pt x="232" y="1178"/>
                  </a:cubicBezTo>
                  <a:cubicBezTo>
                    <a:pt x="238" y="1170"/>
                    <a:pt x="242" y="1161"/>
                    <a:pt x="246" y="1151"/>
                  </a:cubicBezTo>
                  <a:cubicBezTo>
                    <a:pt x="241" y="1151"/>
                    <a:pt x="241" y="1151"/>
                    <a:pt x="241" y="1151"/>
                  </a:cubicBezTo>
                  <a:cubicBezTo>
                    <a:pt x="241" y="1151"/>
                    <a:pt x="240" y="1150"/>
                    <a:pt x="240" y="1149"/>
                  </a:cubicBezTo>
                  <a:cubicBezTo>
                    <a:pt x="235" y="1160"/>
                    <a:pt x="229" y="1171"/>
                    <a:pt x="223" y="1181"/>
                  </a:cubicBezTo>
                  <a:cubicBezTo>
                    <a:pt x="224" y="1181"/>
                    <a:pt x="224" y="1181"/>
                    <a:pt x="225" y="1181"/>
                  </a:cubicBezTo>
                  <a:cubicBezTo>
                    <a:pt x="225" y="1183"/>
                    <a:pt x="225" y="1185"/>
                    <a:pt x="226" y="1187"/>
                  </a:cubicBezTo>
                  <a:cubicBezTo>
                    <a:pt x="218" y="1187"/>
                    <a:pt x="218" y="1187"/>
                    <a:pt x="218" y="1187"/>
                  </a:cubicBezTo>
                  <a:cubicBezTo>
                    <a:pt x="214" y="1193"/>
                    <a:pt x="209" y="1199"/>
                    <a:pt x="205" y="1205"/>
                  </a:cubicBezTo>
                  <a:cubicBezTo>
                    <a:pt x="497" y="185"/>
                    <a:pt x="497" y="185"/>
                    <a:pt x="496" y="185"/>
                  </a:cubicBezTo>
                  <a:cubicBezTo>
                    <a:pt x="520" y="189"/>
                    <a:pt x="544" y="193"/>
                    <a:pt x="569" y="197"/>
                  </a:cubicBezTo>
                  <a:cubicBezTo>
                    <a:pt x="582" y="199"/>
                    <a:pt x="596" y="202"/>
                    <a:pt x="610" y="203"/>
                  </a:cubicBezTo>
                  <a:cubicBezTo>
                    <a:pt x="610" y="203"/>
                    <a:pt x="610" y="203"/>
                    <a:pt x="611" y="203"/>
                  </a:cubicBezTo>
                  <a:cubicBezTo>
                    <a:pt x="616" y="203"/>
                    <a:pt x="616" y="203"/>
                    <a:pt x="616" y="203"/>
                  </a:cubicBezTo>
                  <a:cubicBezTo>
                    <a:pt x="617" y="203"/>
                    <a:pt x="617" y="204"/>
                    <a:pt x="617" y="205"/>
                  </a:cubicBezTo>
                  <a:cubicBezTo>
                    <a:pt x="618" y="205"/>
                    <a:pt x="618" y="205"/>
                    <a:pt x="619" y="205"/>
                  </a:cubicBezTo>
                  <a:cubicBezTo>
                    <a:pt x="619" y="204"/>
                    <a:pt x="620" y="203"/>
                    <a:pt x="620" y="203"/>
                  </a:cubicBezTo>
                  <a:cubicBezTo>
                    <a:pt x="641" y="202"/>
                    <a:pt x="641" y="202"/>
                    <a:pt x="641" y="202"/>
                  </a:cubicBezTo>
                  <a:cubicBezTo>
                    <a:pt x="641" y="204"/>
                    <a:pt x="641" y="205"/>
                    <a:pt x="641" y="206"/>
                  </a:cubicBezTo>
                  <a:cubicBezTo>
                    <a:pt x="643" y="206"/>
                    <a:pt x="642" y="204"/>
                    <a:pt x="645" y="204"/>
                  </a:cubicBezTo>
                  <a:cubicBezTo>
                    <a:pt x="645" y="203"/>
                    <a:pt x="645" y="203"/>
                    <a:pt x="644" y="202"/>
                  </a:cubicBezTo>
                  <a:cubicBezTo>
                    <a:pt x="652" y="202"/>
                    <a:pt x="652" y="202"/>
                    <a:pt x="652" y="202"/>
                  </a:cubicBezTo>
                  <a:cubicBezTo>
                    <a:pt x="622" y="199"/>
                    <a:pt x="592" y="194"/>
                    <a:pt x="563" y="189"/>
                  </a:cubicBezTo>
                  <a:cubicBezTo>
                    <a:pt x="556" y="188"/>
                    <a:pt x="549" y="187"/>
                    <a:pt x="542" y="186"/>
                  </a:cubicBezTo>
                  <a:cubicBezTo>
                    <a:pt x="516" y="186"/>
                    <a:pt x="516" y="186"/>
                    <a:pt x="516" y="186"/>
                  </a:cubicBezTo>
                  <a:cubicBezTo>
                    <a:pt x="519" y="186"/>
                    <a:pt x="522" y="186"/>
                    <a:pt x="524" y="186"/>
                  </a:cubicBezTo>
                  <a:cubicBezTo>
                    <a:pt x="527" y="184"/>
                    <a:pt x="517" y="186"/>
                    <a:pt x="516" y="184"/>
                  </a:cubicBezTo>
                  <a:cubicBezTo>
                    <a:pt x="517" y="183"/>
                    <a:pt x="517" y="183"/>
                    <a:pt x="517" y="182"/>
                  </a:cubicBezTo>
                  <a:cubicBezTo>
                    <a:pt x="516" y="182"/>
                    <a:pt x="515" y="182"/>
                    <a:pt x="514" y="181"/>
                  </a:cubicBezTo>
                  <a:cubicBezTo>
                    <a:pt x="514" y="182"/>
                    <a:pt x="513" y="184"/>
                    <a:pt x="513" y="185"/>
                  </a:cubicBezTo>
                  <a:cubicBezTo>
                    <a:pt x="508" y="185"/>
                    <a:pt x="506" y="183"/>
                    <a:pt x="505" y="180"/>
                  </a:cubicBezTo>
                  <a:cubicBezTo>
                    <a:pt x="505" y="180"/>
                    <a:pt x="504" y="180"/>
                    <a:pt x="503" y="180"/>
                  </a:cubicBezTo>
                  <a:cubicBezTo>
                    <a:pt x="503" y="181"/>
                    <a:pt x="502" y="182"/>
                    <a:pt x="500" y="181"/>
                  </a:cubicBezTo>
                  <a:cubicBezTo>
                    <a:pt x="500" y="181"/>
                    <a:pt x="500" y="180"/>
                    <a:pt x="500" y="179"/>
                  </a:cubicBezTo>
                  <a:cubicBezTo>
                    <a:pt x="497" y="179"/>
                    <a:pt x="494" y="178"/>
                    <a:pt x="491" y="178"/>
                  </a:cubicBezTo>
                  <a:cubicBezTo>
                    <a:pt x="489" y="178"/>
                    <a:pt x="487" y="179"/>
                    <a:pt x="485" y="178"/>
                  </a:cubicBezTo>
                  <a:cubicBezTo>
                    <a:pt x="487" y="178"/>
                    <a:pt x="494" y="182"/>
                    <a:pt x="497" y="184"/>
                  </a:cubicBezTo>
                  <a:cubicBezTo>
                    <a:pt x="1142" y="1153"/>
                    <a:pt x="1136" y="1157"/>
                    <a:pt x="1131" y="1161"/>
                  </a:cubicBezTo>
                  <a:cubicBezTo>
                    <a:pt x="1133" y="1161"/>
                    <a:pt x="1133" y="1161"/>
                    <a:pt x="1133" y="1161"/>
                  </a:cubicBezTo>
                  <a:cubicBezTo>
                    <a:pt x="1132" y="1162"/>
                    <a:pt x="1130" y="1164"/>
                    <a:pt x="1129" y="1167"/>
                  </a:cubicBezTo>
                  <a:cubicBezTo>
                    <a:pt x="1126" y="1169"/>
                    <a:pt x="1124" y="1164"/>
                    <a:pt x="1123" y="1167"/>
                  </a:cubicBezTo>
                  <a:cubicBezTo>
                    <a:pt x="1125" y="1168"/>
                    <a:pt x="1127" y="1168"/>
                    <a:pt x="1126" y="1171"/>
                  </a:cubicBezTo>
                  <a:cubicBezTo>
                    <a:pt x="1123" y="1172"/>
                    <a:pt x="1122" y="1170"/>
                    <a:pt x="1120" y="1169"/>
                  </a:cubicBezTo>
                  <a:cubicBezTo>
                    <a:pt x="1119" y="1169"/>
                    <a:pt x="1119" y="1169"/>
                    <a:pt x="1119" y="1169"/>
                  </a:cubicBezTo>
                  <a:cubicBezTo>
                    <a:pt x="1118" y="1173"/>
                    <a:pt x="1120" y="1174"/>
                    <a:pt x="1122" y="1176"/>
                  </a:cubicBezTo>
                  <a:cubicBezTo>
                    <a:pt x="1132" y="1169"/>
                    <a:pt x="1142" y="1162"/>
                    <a:pt x="1150" y="1153"/>
                  </a:cubicBezTo>
                  <a:cubicBezTo>
                    <a:pt x="1154" y="1151"/>
                    <a:pt x="1150" y="1145"/>
                    <a:pt x="1146" y="1148"/>
                  </a:cubicBezTo>
                  <a:cubicBezTo>
                    <a:pt x="482" y="146"/>
                    <a:pt x="479" y="150"/>
                    <a:pt x="483" y="149"/>
                  </a:cubicBezTo>
                  <a:cubicBezTo>
                    <a:pt x="484" y="146"/>
                    <a:pt x="481" y="145"/>
                    <a:pt x="480" y="144"/>
                  </a:cubicBezTo>
                  <a:cubicBezTo>
                    <a:pt x="479" y="144"/>
                    <a:pt x="478" y="143"/>
                    <a:pt x="477" y="143"/>
                  </a:cubicBezTo>
                  <a:cubicBezTo>
                    <a:pt x="476" y="145"/>
                    <a:pt x="476" y="148"/>
                    <a:pt x="476" y="150"/>
                  </a:cubicBezTo>
                  <a:cubicBezTo>
                    <a:pt x="478" y="150"/>
                    <a:pt x="477" y="148"/>
                    <a:pt x="477" y="147"/>
                  </a:cubicBezTo>
                  <a:cubicBezTo>
                    <a:pt x="1131" y="1198"/>
                    <a:pt x="1131" y="1197"/>
                    <a:pt x="1131" y="1197"/>
                  </a:cubicBezTo>
                  <a:cubicBezTo>
                    <a:pt x="1131" y="1198"/>
                    <a:pt x="1131" y="1198"/>
                    <a:pt x="1130" y="1198"/>
                  </a:cubicBezTo>
                  <a:cubicBezTo>
                    <a:pt x="1131" y="1198"/>
                    <a:pt x="1131" y="1198"/>
                    <a:pt x="1131" y="1198"/>
                  </a:cubicBezTo>
                  <a:cubicBezTo>
                    <a:pt x="947" y="1223"/>
                    <a:pt x="935" y="1228"/>
                    <a:pt x="923" y="1234"/>
                  </a:cubicBezTo>
                  <a:cubicBezTo>
                    <a:pt x="929" y="1234"/>
                    <a:pt x="929" y="1234"/>
                    <a:pt x="929" y="1234"/>
                  </a:cubicBezTo>
                  <a:cubicBezTo>
                    <a:pt x="928" y="1235"/>
                    <a:pt x="927" y="1235"/>
                    <a:pt x="926" y="1236"/>
                  </a:cubicBezTo>
                  <a:cubicBezTo>
                    <a:pt x="928" y="1237"/>
                    <a:pt x="928" y="1238"/>
                    <a:pt x="929" y="1239"/>
                  </a:cubicBezTo>
                  <a:cubicBezTo>
                    <a:pt x="931" y="1238"/>
                    <a:pt x="933" y="1237"/>
                    <a:pt x="936" y="1236"/>
                  </a:cubicBezTo>
                  <a:cubicBezTo>
                    <a:pt x="935" y="1236"/>
                    <a:pt x="934" y="1235"/>
                    <a:pt x="934" y="1234"/>
                  </a:cubicBezTo>
                  <a:cubicBezTo>
                    <a:pt x="941" y="1234"/>
                    <a:pt x="941" y="1234"/>
                    <a:pt x="941" y="1234"/>
                  </a:cubicBezTo>
                  <a:cubicBezTo>
                    <a:pt x="953" y="1228"/>
                    <a:pt x="964" y="1222"/>
                    <a:pt x="976" y="1216"/>
                  </a:cubicBezTo>
                  <a:cubicBezTo>
                    <a:pt x="1050" y="1141"/>
                    <a:pt x="1051" y="1143"/>
                    <a:pt x="1052" y="1143"/>
                  </a:cubicBezTo>
                  <a:cubicBezTo>
                    <a:pt x="1052" y="1143"/>
                    <a:pt x="1052" y="1143"/>
                    <a:pt x="1053" y="1143"/>
                  </a:cubicBezTo>
                  <a:cubicBezTo>
                    <a:pt x="1053" y="1143"/>
                    <a:pt x="1053" y="1142"/>
                    <a:pt x="1053" y="1142"/>
                  </a:cubicBezTo>
                  <a:cubicBezTo>
                    <a:pt x="1051" y="1140"/>
                    <a:pt x="1049" y="1140"/>
                    <a:pt x="1047" y="1139"/>
                  </a:cubicBezTo>
                  <a:cubicBezTo>
                    <a:pt x="1045" y="1140"/>
                    <a:pt x="1043" y="1142"/>
                    <a:pt x="1041" y="1143"/>
                  </a:cubicBezTo>
                  <a:cubicBezTo>
                    <a:pt x="1042" y="1143"/>
                    <a:pt x="1043" y="1144"/>
                    <a:pt x="1044" y="1144"/>
                  </a:cubicBezTo>
                  <a:cubicBezTo>
                    <a:pt x="1039" y="1144"/>
                    <a:pt x="1039" y="1144"/>
                    <a:pt x="1039" y="1144"/>
                  </a:cubicBezTo>
                  <a:cubicBezTo>
                    <a:pt x="1029" y="1150"/>
                    <a:pt x="1020" y="1156"/>
                    <a:pt x="1011" y="1162"/>
                  </a:cubicBezTo>
                  <a:cubicBezTo>
                    <a:pt x="1020" y="1162"/>
                    <a:pt x="1020" y="1162"/>
                    <a:pt x="1020" y="1162"/>
                  </a:cubicBezTo>
                  <a:cubicBezTo>
                    <a:pt x="1020" y="1162"/>
                    <a:pt x="1020" y="1163"/>
                    <a:pt x="1020" y="1164"/>
                  </a:cubicBezTo>
                  <a:cubicBezTo>
                    <a:pt x="1022" y="1163"/>
                    <a:pt x="1025" y="1161"/>
                    <a:pt x="1027" y="1160"/>
                  </a:cubicBezTo>
                  <a:cubicBezTo>
                    <a:pt x="1035" y="1154"/>
                    <a:pt x="1043" y="1149"/>
                    <a:pt x="1052" y="1143"/>
                  </a:cubicBezTo>
                  <a:cubicBezTo>
                    <a:pt x="1050" y="1143"/>
                    <a:pt x="1049" y="1143"/>
                    <a:pt x="1047" y="1143"/>
                  </a:cubicBezTo>
                  <a:cubicBezTo>
                    <a:pt x="1047" y="1143"/>
                    <a:pt x="1048" y="1142"/>
                    <a:pt x="1049" y="1142"/>
                  </a:cubicBezTo>
                  <a:cubicBezTo>
                    <a:pt x="723" y="215"/>
                    <a:pt x="725" y="215"/>
                    <a:pt x="727" y="216"/>
                  </a:cubicBezTo>
                  <a:cubicBezTo>
                    <a:pt x="725" y="215"/>
                    <a:pt x="723" y="214"/>
                    <a:pt x="721" y="213"/>
                  </a:cubicBezTo>
                  <a:cubicBezTo>
                    <a:pt x="720" y="214"/>
                    <a:pt x="721" y="215"/>
                    <a:pt x="721" y="215"/>
                  </a:cubicBezTo>
                  <a:cubicBezTo>
                    <a:pt x="1094" y="1105"/>
                    <a:pt x="1094" y="1105"/>
                    <a:pt x="1093" y="1105"/>
                  </a:cubicBezTo>
                  <a:cubicBezTo>
                    <a:pt x="1084" y="1112"/>
                    <a:pt x="1075" y="1119"/>
                    <a:pt x="1066" y="1126"/>
                  </a:cubicBezTo>
                  <a:cubicBezTo>
                    <a:pt x="1069" y="1126"/>
                    <a:pt x="1069" y="1126"/>
                    <a:pt x="1069" y="1126"/>
                  </a:cubicBezTo>
                  <a:cubicBezTo>
                    <a:pt x="1069" y="1127"/>
                    <a:pt x="1069" y="1128"/>
                    <a:pt x="1069" y="1129"/>
                  </a:cubicBezTo>
                  <a:cubicBezTo>
                    <a:pt x="1069" y="1129"/>
                    <a:pt x="1070" y="1130"/>
                    <a:pt x="1071" y="1130"/>
                  </a:cubicBezTo>
                  <a:cubicBezTo>
                    <a:pt x="1072" y="1129"/>
                    <a:pt x="1073" y="1128"/>
                    <a:pt x="1074" y="1127"/>
                  </a:cubicBezTo>
                  <a:cubicBezTo>
                    <a:pt x="1073" y="1127"/>
                    <a:pt x="1072" y="1127"/>
                    <a:pt x="1072" y="1126"/>
                  </a:cubicBezTo>
                  <a:cubicBezTo>
                    <a:pt x="1077" y="1126"/>
                    <a:pt x="1077" y="1126"/>
                    <a:pt x="1077" y="1126"/>
                  </a:cubicBezTo>
                  <a:cubicBezTo>
                    <a:pt x="1085" y="1120"/>
                    <a:pt x="1092" y="1114"/>
                    <a:pt x="1100" y="1108"/>
                  </a:cubicBezTo>
                  <a:cubicBezTo>
                    <a:pt x="1093" y="1108"/>
                    <a:pt x="1093" y="1108"/>
                    <a:pt x="1093" y="1108"/>
                  </a:cubicBezTo>
                  <a:cubicBezTo>
                    <a:pt x="1094" y="1107"/>
                    <a:pt x="1094" y="1106"/>
                    <a:pt x="1095" y="1106"/>
                  </a:cubicBezTo>
                  <a:cubicBezTo>
                    <a:pt x="1095" y="1106"/>
                    <a:pt x="1095" y="1105"/>
                    <a:pt x="1094" y="1105"/>
                  </a:cubicBezTo>
                  <a:cubicBezTo>
                    <a:pt x="949" y="1181"/>
                    <a:pt x="949" y="1181"/>
                    <a:pt x="949" y="1181"/>
                  </a:cubicBezTo>
                  <a:cubicBezTo>
                    <a:pt x="949" y="1180"/>
                    <a:pt x="949" y="1179"/>
                    <a:pt x="949" y="1178"/>
                  </a:cubicBezTo>
                  <a:cubicBezTo>
                    <a:pt x="933" y="1186"/>
                    <a:pt x="916" y="1193"/>
                    <a:pt x="900" y="1200"/>
                  </a:cubicBezTo>
                  <a:cubicBezTo>
                    <a:pt x="900" y="1202"/>
                    <a:pt x="901" y="1204"/>
                    <a:pt x="903" y="1206"/>
                  </a:cubicBezTo>
                  <a:cubicBezTo>
                    <a:pt x="916" y="1200"/>
                    <a:pt x="928" y="1195"/>
                    <a:pt x="940" y="1189"/>
                  </a:cubicBezTo>
                  <a:cubicBezTo>
                    <a:pt x="946" y="1186"/>
                    <a:pt x="952" y="1184"/>
                    <a:pt x="958" y="1181"/>
                  </a:cubicBezTo>
                  <a:cubicBezTo>
                    <a:pt x="1133" y="1100"/>
                    <a:pt x="1134" y="1100"/>
                    <a:pt x="1136" y="1101"/>
                  </a:cubicBezTo>
                  <a:cubicBezTo>
                    <a:pt x="1136" y="1101"/>
                    <a:pt x="1136" y="1102"/>
                    <a:pt x="1136" y="1103"/>
                  </a:cubicBezTo>
                  <a:cubicBezTo>
                    <a:pt x="1136" y="1103"/>
                    <a:pt x="1137" y="1103"/>
                    <a:pt x="1137" y="1103"/>
                  </a:cubicBezTo>
                  <a:cubicBezTo>
                    <a:pt x="1138" y="1103"/>
                    <a:pt x="1138" y="1102"/>
                    <a:pt x="1139" y="1102"/>
                  </a:cubicBezTo>
                  <a:cubicBezTo>
                    <a:pt x="1138" y="1101"/>
                    <a:pt x="1138" y="1101"/>
                    <a:pt x="1137" y="1101"/>
                  </a:cubicBezTo>
                  <a:cubicBezTo>
                    <a:pt x="1137" y="1099"/>
                    <a:pt x="1138" y="1098"/>
                    <a:pt x="1139" y="1097"/>
                  </a:cubicBezTo>
                  <a:cubicBezTo>
                    <a:pt x="1139" y="1097"/>
                    <a:pt x="1138" y="1096"/>
                    <a:pt x="1137" y="1096"/>
                  </a:cubicBezTo>
                  <a:cubicBezTo>
                    <a:pt x="1137" y="1094"/>
                    <a:pt x="1137" y="1094"/>
                    <a:pt x="1137" y="1094"/>
                  </a:cubicBezTo>
                  <a:cubicBezTo>
                    <a:pt x="1136" y="1096"/>
                    <a:pt x="1134" y="1097"/>
                    <a:pt x="1132" y="1099"/>
                  </a:cubicBezTo>
                  <a:cubicBezTo>
                    <a:pt x="1126" y="1108"/>
                    <a:pt x="1126" y="1108"/>
                    <a:pt x="1126" y="1108"/>
                  </a:cubicBezTo>
                  <a:cubicBezTo>
                    <a:pt x="1126" y="1107"/>
                    <a:pt x="1125" y="1106"/>
                    <a:pt x="1125" y="1105"/>
                  </a:cubicBezTo>
                  <a:cubicBezTo>
                    <a:pt x="1125" y="1106"/>
                    <a:pt x="1125" y="1107"/>
                    <a:pt x="1125" y="1108"/>
                  </a:cubicBezTo>
                  <a:cubicBezTo>
                    <a:pt x="750" y="210"/>
                    <a:pt x="750" y="210"/>
                    <a:pt x="749" y="210"/>
                  </a:cubicBezTo>
                  <a:cubicBezTo>
                    <a:pt x="749" y="210"/>
                    <a:pt x="749" y="210"/>
                    <a:pt x="749" y="211"/>
                  </a:cubicBezTo>
                  <a:cubicBezTo>
                    <a:pt x="749" y="211"/>
                    <a:pt x="749" y="211"/>
                    <a:pt x="749" y="211"/>
                  </a:cubicBezTo>
                  <a:cubicBezTo>
                    <a:pt x="751" y="213"/>
                    <a:pt x="753" y="215"/>
                    <a:pt x="755" y="216"/>
                  </a:cubicBezTo>
                  <a:cubicBezTo>
                    <a:pt x="756" y="216"/>
                    <a:pt x="756" y="216"/>
                    <a:pt x="756" y="216"/>
                  </a:cubicBezTo>
                  <a:cubicBezTo>
                    <a:pt x="756" y="213"/>
                    <a:pt x="758" y="211"/>
                    <a:pt x="760" y="210"/>
                  </a:cubicBezTo>
                  <a:cubicBezTo>
                    <a:pt x="758" y="210"/>
                    <a:pt x="756" y="210"/>
                    <a:pt x="754" y="210"/>
                  </a:cubicBezTo>
                  <a:cubicBezTo>
                    <a:pt x="754" y="211"/>
                    <a:pt x="754" y="212"/>
                    <a:pt x="752" y="213"/>
                  </a:cubicBezTo>
                  <a:cubicBezTo>
                    <a:pt x="751" y="212"/>
                    <a:pt x="751" y="211"/>
                    <a:pt x="751" y="210"/>
                  </a:cubicBezTo>
                  <a:cubicBezTo>
                    <a:pt x="601" y="1237"/>
                    <a:pt x="601" y="1237"/>
                    <a:pt x="601" y="1237"/>
                  </a:cubicBezTo>
                  <a:cubicBezTo>
                    <a:pt x="610" y="1237"/>
                    <a:pt x="610" y="1237"/>
                    <a:pt x="610" y="1237"/>
                  </a:cubicBezTo>
                  <a:cubicBezTo>
                    <a:pt x="610" y="1238"/>
                    <a:pt x="610" y="1239"/>
                    <a:pt x="610" y="1240"/>
                  </a:cubicBezTo>
                  <a:cubicBezTo>
                    <a:pt x="614" y="1240"/>
                    <a:pt x="617" y="1240"/>
                    <a:pt x="620" y="1241"/>
                  </a:cubicBezTo>
                  <a:cubicBezTo>
                    <a:pt x="626" y="1241"/>
                    <a:pt x="631" y="1241"/>
                    <a:pt x="637" y="1242"/>
                  </a:cubicBezTo>
                  <a:cubicBezTo>
                    <a:pt x="636" y="1241"/>
                    <a:pt x="636" y="1241"/>
                    <a:pt x="635" y="1240"/>
                  </a:cubicBezTo>
                  <a:cubicBezTo>
                    <a:pt x="636" y="1239"/>
                    <a:pt x="637" y="1237"/>
                    <a:pt x="639" y="1236"/>
                  </a:cubicBezTo>
                  <a:cubicBezTo>
                    <a:pt x="642" y="1236"/>
                    <a:pt x="642" y="1236"/>
                    <a:pt x="642" y="1236"/>
                  </a:cubicBezTo>
                  <a:cubicBezTo>
                    <a:pt x="642" y="1238"/>
                    <a:pt x="643" y="1240"/>
                    <a:pt x="642" y="1242"/>
                  </a:cubicBezTo>
                  <a:cubicBezTo>
                    <a:pt x="644" y="1242"/>
                    <a:pt x="647" y="1242"/>
                    <a:pt x="650" y="1242"/>
                  </a:cubicBezTo>
                  <a:cubicBezTo>
                    <a:pt x="650" y="1242"/>
                    <a:pt x="650" y="1242"/>
                    <a:pt x="650" y="1242"/>
                  </a:cubicBezTo>
                  <a:cubicBezTo>
                    <a:pt x="652" y="1241"/>
                    <a:pt x="654" y="1240"/>
                    <a:pt x="657" y="1241"/>
                  </a:cubicBezTo>
                  <a:cubicBezTo>
                    <a:pt x="657" y="1241"/>
                    <a:pt x="657" y="1242"/>
                    <a:pt x="657" y="1242"/>
                  </a:cubicBezTo>
                  <a:cubicBezTo>
                    <a:pt x="674" y="1242"/>
                    <a:pt x="691" y="1241"/>
                    <a:pt x="708" y="1240"/>
                  </a:cubicBezTo>
                  <a:cubicBezTo>
                    <a:pt x="708" y="1238"/>
                    <a:pt x="709" y="1236"/>
                    <a:pt x="711" y="1236"/>
                  </a:cubicBezTo>
                  <a:cubicBezTo>
                    <a:pt x="713" y="1236"/>
                    <a:pt x="713" y="1236"/>
                    <a:pt x="713" y="1236"/>
                  </a:cubicBezTo>
                  <a:cubicBezTo>
                    <a:pt x="713" y="1237"/>
                    <a:pt x="715" y="1238"/>
                    <a:pt x="716" y="1239"/>
                  </a:cubicBezTo>
                  <a:cubicBezTo>
                    <a:pt x="721" y="1238"/>
                    <a:pt x="727" y="1237"/>
                    <a:pt x="732" y="1237"/>
                  </a:cubicBezTo>
                  <a:cubicBezTo>
                    <a:pt x="732" y="1236"/>
                    <a:pt x="732" y="1236"/>
                    <a:pt x="732" y="1236"/>
                  </a:cubicBezTo>
                  <a:cubicBezTo>
                    <a:pt x="737" y="1236"/>
                    <a:pt x="737" y="1236"/>
                    <a:pt x="737" y="1236"/>
                  </a:cubicBezTo>
                  <a:cubicBezTo>
                    <a:pt x="737" y="1236"/>
                    <a:pt x="738" y="1236"/>
                    <a:pt x="738" y="1236"/>
                  </a:cubicBezTo>
                  <a:cubicBezTo>
                    <a:pt x="767" y="1231"/>
                    <a:pt x="796" y="1224"/>
                    <a:pt x="825" y="1216"/>
                  </a:cubicBezTo>
                  <a:cubicBezTo>
                    <a:pt x="825" y="1215"/>
                    <a:pt x="826" y="1214"/>
                    <a:pt x="826" y="1213"/>
                  </a:cubicBezTo>
                  <a:cubicBezTo>
                    <a:pt x="834" y="1215"/>
                    <a:pt x="835" y="1208"/>
                    <a:pt x="839" y="1204"/>
                  </a:cubicBezTo>
                  <a:cubicBezTo>
                    <a:pt x="842" y="1204"/>
                    <a:pt x="840" y="1206"/>
                    <a:pt x="843" y="1206"/>
                  </a:cubicBezTo>
                  <a:cubicBezTo>
                    <a:pt x="846" y="1204"/>
                    <a:pt x="847" y="1202"/>
                    <a:pt x="847" y="1199"/>
                  </a:cubicBezTo>
                  <a:cubicBezTo>
                    <a:pt x="860" y="1199"/>
                    <a:pt x="860" y="1199"/>
                    <a:pt x="860" y="1199"/>
                  </a:cubicBezTo>
                  <a:cubicBezTo>
                    <a:pt x="858" y="1201"/>
                    <a:pt x="856" y="1203"/>
                    <a:pt x="852" y="1202"/>
                  </a:cubicBezTo>
                  <a:cubicBezTo>
                    <a:pt x="852" y="1204"/>
                    <a:pt x="851" y="1206"/>
                    <a:pt x="852" y="1207"/>
                  </a:cubicBezTo>
                  <a:cubicBezTo>
                    <a:pt x="857" y="1205"/>
                    <a:pt x="863" y="1203"/>
                    <a:pt x="868" y="1201"/>
                  </a:cubicBezTo>
                  <a:cubicBezTo>
                    <a:pt x="866" y="1201"/>
                    <a:pt x="864" y="1200"/>
                    <a:pt x="863" y="1199"/>
                  </a:cubicBezTo>
                  <a:cubicBezTo>
                    <a:pt x="873" y="1199"/>
                    <a:pt x="873" y="1199"/>
                    <a:pt x="873" y="1199"/>
                  </a:cubicBezTo>
                  <a:cubicBezTo>
                    <a:pt x="872" y="1199"/>
                    <a:pt x="872" y="1199"/>
                    <a:pt x="872" y="1199"/>
                  </a:cubicBezTo>
                  <a:cubicBezTo>
                    <a:pt x="880" y="1196"/>
                    <a:pt x="888" y="1193"/>
                    <a:pt x="896" y="1190"/>
                  </a:cubicBezTo>
                  <a:cubicBezTo>
                    <a:pt x="903" y="1187"/>
                    <a:pt x="910" y="1184"/>
                    <a:pt x="917" y="1182"/>
                  </a:cubicBezTo>
                  <a:cubicBezTo>
                    <a:pt x="918" y="1181"/>
                    <a:pt x="919" y="1180"/>
                    <a:pt x="919" y="1180"/>
                  </a:cubicBezTo>
                  <a:cubicBezTo>
                    <a:pt x="920" y="1179"/>
                    <a:pt x="922" y="1178"/>
                    <a:pt x="923" y="1177"/>
                  </a:cubicBezTo>
                  <a:cubicBezTo>
                    <a:pt x="923" y="1177"/>
                    <a:pt x="924" y="1177"/>
                    <a:pt x="924" y="1176"/>
                  </a:cubicBezTo>
                  <a:cubicBezTo>
                    <a:pt x="924" y="1176"/>
                    <a:pt x="925" y="1176"/>
                    <a:pt x="925" y="1176"/>
                  </a:cubicBezTo>
                  <a:cubicBezTo>
                    <a:pt x="927" y="1176"/>
                    <a:pt x="928" y="1175"/>
                    <a:pt x="930" y="1174"/>
                  </a:cubicBezTo>
                  <a:cubicBezTo>
                    <a:pt x="928" y="1173"/>
                    <a:pt x="925" y="1172"/>
                    <a:pt x="922" y="1171"/>
                  </a:cubicBezTo>
                  <a:cubicBezTo>
                    <a:pt x="922" y="1171"/>
                    <a:pt x="922" y="1171"/>
                    <a:pt x="922" y="1170"/>
                  </a:cubicBezTo>
                  <a:cubicBezTo>
                    <a:pt x="913" y="1175"/>
                    <a:pt x="903" y="1179"/>
                    <a:pt x="893" y="1184"/>
                  </a:cubicBezTo>
                  <a:cubicBezTo>
                    <a:pt x="873" y="1191"/>
                    <a:pt x="852" y="1197"/>
                    <a:pt x="831" y="1201"/>
                  </a:cubicBezTo>
                  <a:cubicBezTo>
                    <a:pt x="833" y="1202"/>
                    <a:pt x="834" y="1204"/>
                    <a:pt x="834" y="1206"/>
                  </a:cubicBezTo>
                  <a:cubicBezTo>
                    <a:pt x="832" y="1208"/>
                    <a:pt x="829" y="1211"/>
                    <a:pt x="825" y="1212"/>
                  </a:cubicBezTo>
                  <a:cubicBezTo>
                    <a:pt x="823" y="1212"/>
                    <a:pt x="822" y="1211"/>
                    <a:pt x="821" y="1210"/>
                  </a:cubicBezTo>
                  <a:cubicBezTo>
                    <a:pt x="819" y="1211"/>
                    <a:pt x="816" y="1211"/>
                    <a:pt x="814" y="1212"/>
                  </a:cubicBezTo>
                  <a:cubicBezTo>
                    <a:pt x="814" y="1214"/>
                    <a:pt x="813" y="1216"/>
                    <a:pt x="813" y="1218"/>
                  </a:cubicBezTo>
                  <a:cubicBezTo>
                    <a:pt x="800" y="1218"/>
                    <a:pt x="800" y="1218"/>
                    <a:pt x="800" y="1218"/>
                  </a:cubicBezTo>
                  <a:cubicBezTo>
                    <a:pt x="799" y="1217"/>
                    <a:pt x="799" y="1217"/>
                    <a:pt x="799" y="1216"/>
                  </a:cubicBezTo>
                  <a:cubicBezTo>
                    <a:pt x="799" y="1216"/>
                    <a:pt x="798" y="1216"/>
                    <a:pt x="798" y="1216"/>
                  </a:cubicBezTo>
                  <a:cubicBezTo>
                    <a:pt x="750" y="1229"/>
                    <a:pt x="700" y="1235"/>
                    <a:pt x="650" y="1235"/>
                  </a:cubicBezTo>
                  <a:cubicBezTo>
                    <a:pt x="650" y="1234"/>
                    <a:pt x="649" y="1233"/>
                    <a:pt x="648" y="1233"/>
                  </a:cubicBezTo>
                  <a:cubicBezTo>
                    <a:pt x="630" y="1230"/>
                    <a:pt x="613" y="1226"/>
                    <a:pt x="595" y="1219"/>
                  </a:cubicBezTo>
                  <a:cubicBezTo>
                    <a:pt x="587" y="1220"/>
                    <a:pt x="587" y="1220"/>
                    <a:pt x="587" y="1220"/>
                  </a:cubicBezTo>
                  <a:cubicBezTo>
                    <a:pt x="585" y="1218"/>
                    <a:pt x="584" y="1217"/>
                    <a:pt x="583" y="1215"/>
                  </a:cubicBezTo>
                  <a:cubicBezTo>
                    <a:pt x="582" y="1215"/>
                    <a:pt x="582" y="1214"/>
                    <a:pt x="581" y="1214"/>
                  </a:cubicBezTo>
                  <a:cubicBezTo>
                    <a:pt x="580" y="1215"/>
                    <a:pt x="580" y="1217"/>
                    <a:pt x="580" y="1218"/>
                  </a:cubicBezTo>
                  <a:cubicBezTo>
                    <a:pt x="579" y="1219"/>
                    <a:pt x="577" y="1219"/>
                    <a:pt x="575" y="1219"/>
                  </a:cubicBezTo>
                  <a:cubicBezTo>
                    <a:pt x="575" y="1219"/>
                    <a:pt x="575" y="1219"/>
                    <a:pt x="575" y="1219"/>
                  </a:cubicBezTo>
                  <a:cubicBezTo>
                    <a:pt x="588" y="1224"/>
                    <a:pt x="602" y="1229"/>
                    <a:pt x="616" y="1233"/>
                  </a:cubicBezTo>
                  <a:cubicBezTo>
                    <a:pt x="593" y="1231"/>
                    <a:pt x="571" y="1228"/>
                    <a:pt x="548" y="1223"/>
                  </a:cubicBezTo>
                  <a:cubicBezTo>
                    <a:pt x="548" y="1223"/>
                    <a:pt x="548" y="1223"/>
                    <a:pt x="547" y="1223"/>
                  </a:cubicBezTo>
                  <a:cubicBezTo>
                    <a:pt x="544" y="1222"/>
                    <a:pt x="541" y="1221"/>
                    <a:pt x="538" y="1220"/>
                  </a:cubicBezTo>
                  <a:cubicBezTo>
                    <a:pt x="522" y="1220"/>
                    <a:pt x="522" y="1220"/>
                    <a:pt x="522" y="1220"/>
                  </a:cubicBezTo>
                  <a:cubicBezTo>
                    <a:pt x="522" y="1219"/>
                    <a:pt x="522" y="1217"/>
                    <a:pt x="524" y="1215"/>
                  </a:cubicBezTo>
                  <a:cubicBezTo>
                    <a:pt x="517" y="1213"/>
                    <a:pt x="511" y="1210"/>
                    <a:pt x="504" y="1207"/>
                  </a:cubicBezTo>
                  <a:cubicBezTo>
                    <a:pt x="502" y="1208"/>
                    <a:pt x="499" y="1209"/>
                    <a:pt x="496" y="1208"/>
                  </a:cubicBezTo>
                  <a:cubicBezTo>
                    <a:pt x="496" y="1208"/>
                    <a:pt x="496" y="1209"/>
                    <a:pt x="496" y="1209"/>
                  </a:cubicBezTo>
                  <a:cubicBezTo>
                    <a:pt x="496" y="1209"/>
                    <a:pt x="497" y="1209"/>
                    <a:pt x="497" y="1209"/>
                  </a:cubicBezTo>
                  <a:cubicBezTo>
                    <a:pt x="497" y="1209"/>
                    <a:pt x="496" y="1209"/>
                    <a:pt x="496" y="1209"/>
                  </a:cubicBezTo>
                  <a:cubicBezTo>
                    <a:pt x="497" y="1212"/>
                    <a:pt x="498" y="1214"/>
                    <a:pt x="498" y="1217"/>
                  </a:cubicBezTo>
                  <a:cubicBezTo>
                    <a:pt x="531" y="1227"/>
                    <a:pt x="564" y="1234"/>
                    <a:pt x="598" y="1238"/>
                  </a:cubicBezTo>
                  <a:cubicBezTo>
                    <a:pt x="599" y="1238"/>
                    <a:pt x="600" y="1238"/>
                    <a:pt x="601" y="1238"/>
                  </a:cubicBezTo>
                  <a:cubicBezTo>
                    <a:pt x="728" y="1236"/>
                    <a:pt x="728" y="1236"/>
                    <a:pt x="728" y="1236"/>
                  </a:cubicBezTo>
                  <a:cubicBezTo>
                    <a:pt x="726" y="1236"/>
                    <a:pt x="723" y="1237"/>
                    <a:pt x="720" y="1237"/>
                  </a:cubicBezTo>
                  <a:cubicBezTo>
                    <a:pt x="720" y="1236"/>
                    <a:pt x="720" y="1236"/>
                    <a:pt x="720" y="1236"/>
                  </a:cubicBezTo>
                  <a:cubicBezTo>
                    <a:pt x="679" y="1236"/>
                    <a:pt x="679" y="1236"/>
                    <a:pt x="679" y="1236"/>
                  </a:cubicBezTo>
                  <a:cubicBezTo>
                    <a:pt x="680" y="1237"/>
                    <a:pt x="680" y="1237"/>
                    <a:pt x="679" y="1239"/>
                  </a:cubicBezTo>
                  <a:cubicBezTo>
                    <a:pt x="677" y="1239"/>
                    <a:pt x="675" y="1240"/>
                    <a:pt x="673" y="1238"/>
                  </a:cubicBezTo>
                  <a:cubicBezTo>
                    <a:pt x="673" y="1237"/>
                    <a:pt x="674" y="1237"/>
                    <a:pt x="674" y="1236"/>
                  </a:cubicBezTo>
                  <a:cubicBezTo>
                    <a:pt x="975" y="1212"/>
                    <a:pt x="978" y="1213"/>
                    <a:pt x="981" y="1213"/>
                  </a:cubicBezTo>
                  <a:cubicBezTo>
                    <a:pt x="984" y="1212"/>
                    <a:pt x="987" y="1210"/>
                    <a:pt x="990" y="1208"/>
                  </a:cubicBezTo>
                  <a:cubicBezTo>
                    <a:pt x="985" y="1207"/>
                    <a:pt x="979" y="1213"/>
                    <a:pt x="976" y="1208"/>
                  </a:cubicBezTo>
                  <a:cubicBezTo>
                    <a:pt x="974" y="1208"/>
                    <a:pt x="973" y="1209"/>
                    <a:pt x="972" y="1210"/>
                  </a:cubicBezTo>
                  <a:cubicBezTo>
                    <a:pt x="484" y="1210"/>
                    <a:pt x="488" y="1210"/>
                    <a:pt x="492" y="1209"/>
                  </a:cubicBezTo>
                  <a:cubicBezTo>
                    <a:pt x="497" y="1209"/>
                    <a:pt x="490" y="1207"/>
                    <a:pt x="488" y="1207"/>
                  </a:cubicBezTo>
                  <a:cubicBezTo>
                    <a:pt x="487" y="1207"/>
                    <a:pt x="487" y="1206"/>
                    <a:pt x="486" y="1205"/>
                  </a:cubicBezTo>
                  <a:cubicBezTo>
                    <a:pt x="485" y="1205"/>
                    <a:pt x="484" y="1204"/>
                    <a:pt x="482" y="1204"/>
                  </a:cubicBezTo>
                  <a:cubicBezTo>
                    <a:pt x="482" y="1207"/>
                    <a:pt x="480" y="1208"/>
                    <a:pt x="477" y="1208"/>
                  </a:cubicBezTo>
                  <a:cubicBezTo>
                    <a:pt x="476" y="1206"/>
                    <a:pt x="475" y="1204"/>
                    <a:pt x="476" y="1202"/>
                  </a:cubicBezTo>
                  <a:cubicBezTo>
                    <a:pt x="478" y="1202"/>
                    <a:pt x="478" y="1202"/>
                    <a:pt x="478" y="1202"/>
                  </a:cubicBezTo>
                  <a:cubicBezTo>
                    <a:pt x="472" y="1200"/>
                    <a:pt x="466" y="1198"/>
                    <a:pt x="460" y="1195"/>
                  </a:cubicBezTo>
                  <a:cubicBezTo>
                    <a:pt x="453" y="1192"/>
                    <a:pt x="445" y="1189"/>
                    <a:pt x="438" y="1185"/>
                  </a:cubicBezTo>
                  <a:cubicBezTo>
                    <a:pt x="425" y="1185"/>
                    <a:pt x="425" y="1185"/>
                    <a:pt x="425" y="1185"/>
                  </a:cubicBezTo>
                  <a:cubicBezTo>
                    <a:pt x="434" y="1191"/>
                    <a:pt x="444" y="1196"/>
                    <a:pt x="455" y="1200"/>
                  </a:cubicBezTo>
                  <a:cubicBezTo>
                    <a:pt x="456" y="1201"/>
                    <a:pt x="458" y="1202"/>
                    <a:pt x="460" y="1202"/>
                  </a:cubicBezTo>
                  <a:cubicBezTo>
                    <a:pt x="469" y="1202"/>
                    <a:pt x="469" y="1202"/>
                    <a:pt x="469" y="1202"/>
                  </a:cubicBezTo>
                  <a:cubicBezTo>
                    <a:pt x="468" y="1203"/>
                    <a:pt x="467" y="1204"/>
                    <a:pt x="465" y="1205"/>
                  </a:cubicBezTo>
                  <a:cubicBezTo>
                    <a:pt x="470" y="1207"/>
                    <a:pt x="476" y="1209"/>
                    <a:pt x="481" y="1211"/>
                  </a:cubicBezTo>
                  <a:cubicBezTo>
                    <a:pt x="398" y="1183"/>
                    <a:pt x="400" y="1182"/>
                    <a:pt x="402" y="1181"/>
                  </a:cubicBezTo>
                  <a:cubicBezTo>
                    <a:pt x="400" y="1179"/>
                    <a:pt x="398" y="1177"/>
                    <a:pt x="395" y="1175"/>
                  </a:cubicBezTo>
                  <a:cubicBezTo>
                    <a:pt x="394" y="1176"/>
                    <a:pt x="394" y="1177"/>
                    <a:pt x="393" y="1179"/>
                  </a:cubicBezTo>
                  <a:cubicBezTo>
                    <a:pt x="396" y="1179"/>
                    <a:pt x="395" y="1181"/>
                    <a:pt x="395" y="1183"/>
                  </a:cubicBezTo>
                  <a:cubicBezTo>
                    <a:pt x="395" y="1184"/>
                    <a:pt x="396" y="1184"/>
                    <a:pt x="397" y="1185"/>
                  </a:cubicBezTo>
                  <a:cubicBezTo>
                    <a:pt x="208" y="1169"/>
                    <a:pt x="208" y="1169"/>
                    <a:pt x="208" y="1169"/>
                  </a:cubicBezTo>
                  <a:cubicBezTo>
                    <a:pt x="209" y="1170"/>
                    <a:pt x="210" y="1170"/>
                    <a:pt x="210" y="1171"/>
                  </a:cubicBezTo>
                  <a:cubicBezTo>
                    <a:pt x="223" y="1150"/>
                    <a:pt x="233" y="1125"/>
                    <a:pt x="239" y="1100"/>
                  </a:cubicBezTo>
                  <a:cubicBezTo>
                    <a:pt x="238" y="1099"/>
                    <a:pt x="238" y="1098"/>
                    <a:pt x="238" y="1098"/>
                  </a:cubicBezTo>
                  <a:cubicBezTo>
                    <a:pt x="237" y="1098"/>
                    <a:pt x="236" y="1098"/>
                    <a:pt x="236" y="1097"/>
                  </a:cubicBezTo>
                  <a:cubicBezTo>
                    <a:pt x="239" y="1097"/>
                    <a:pt x="239" y="1097"/>
                    <a:pt x="239" y="1097"/>
                  </a:cubicBezTo>
                  <a:cubicBezTo>
                    <a:pt x="240" y="1092"/>
                    <a:pt x="241" y="1086"/>
                    <a:pt x="242" y="1080"/>
                  </a:cubicBezTo>
                  <a:cubicBezTo>
                    <a:pt x="236" y="1080"/>
                    <a:pt x="236" y="1080"/>
                    <a:pt x="236" y="1080"/>
                  </a:cubicBezTo>
                  <a:cubicBezTo>
                    <a:pt x="236" y="1080"/>
                    <a:pt x="236" y="1080"/>
                    <a:pt x="236" y="1080"/>
                  </a:cubicBezTo>
                  <a:cubicBezTo>
                    <a:pt x="237" y="1078"/>
                    <a:pt x="238" y="1077"/>
                    <a:pt x="240" y="1077"/>
                  </a:cubicBezTo>
                  <a:cubicBezTo>
                    <a:pt x="240" y="1076"/>
                    <a:pt x="240" y="1074"/>
                    <a:pt x="242" y="1074"/>
                  </a:cubicBezTo>
                  <a:cubicBezTo>
                    <a:pt x="242" y="1074"/>
                    <a:pt x="242" y="1075"/>
                    <a:pt x="243" y="1075"/>
                  </a:cubicBezTo>
                  <a:cubicBezTo>
                    <a:pt x="243" y="1071"/>
                    <a:pt x="244" y="1067"/>
                    <a:pt x="244" y="1063"/>
                  </a:cubicBezTo>
                  <a:cubicBezTo>
                    <a:pt x="244" y="1063"/>
                    <a:pt x="243" y="1063"/>
                    <a:pt x="243" y="1063"/>
                  </a:cubicBezTo>
                  <a:cubicBezTo>
                    <a:pt x="243" y="1062"/>
                    <a:pt x="243" y="1062"/>
                    <a:pt x="243" y="1062"/>
                  </a:cubicBezTo>
                  <a:cubicBezTo>
                    <a:pt x="244" y="1062"/>
                    <a:pt x="244" y="1062"/>
                    <a:pt x="244" y="1062"/>
                  </a:cubicBezTo>
                  <a:cubicBezTo>
                    <a:pt x="245" y="1054"/>
                    <a:pt x="245" y="1047"/>
                    <a:pt x="245" y="1040"/>
                  </a:cubicBezTo>
                  <a:cubicBezTo>
                    <a:pt x="242" y="1041"/>
                    <a:pt x="237" y="1038"/>
                    <a:pt x="240" y="1034"/>
                  </a:cubicBezTo>
                  <a:cubicBezTo>
                    <a:pt x="242" y="1034"/>
                    <a:pt x="243" y="1035"/>
                    <a:pt x="245" y="1036"/>
                  </a:cubicBezTo>
                  <a:cubicBezTo>
                    <a:pt x="244" y="1031"/>
                    <a:pt x="244" y="1027"/>
                    <a:pt x="244" y="1023"/>
                  </a:cubicBezTo>
                  <a:cubicBezTo>
                    <a:pt x="243" y="1018"/>
                    <a:pt x="237" y="1019"/>
                    <a:pt x="237" y="1023"/>
                  </a:cubicBezTo>
                  <a:cubicBezTo>
                    <a:pt x="238" y="1029"/>
                    <a:pt x="238" y="1036"/>
                    <a:pt x="238" y="1042"/>
                  </a:cubicBezTo>
                  <a:cubicBezTo>
                    <a:pt x="239" y="1042"/>
                    <a:pt x="240" y="1041"/>
                    <a:pt x="241" y="1041"/>
                  </a:cubicBezTo>
                  <a:cubicBezTo>
                    <a:pt x="242" y="1042"/>
                    <a:pt x="242" y="1043"/>
                    <a:pt x="242" y="1044"/>
                  </a:cubicBezTo>
                  <a:cubicBezTo>
                    <a:pt x="238" y="1044"/>
                    <a:pt x="238" y="1044"/>
                    <a:pt x="238" y="1044"/>
                  </a:cubicBezTo>
                  <a:cubicBezTo>
                    <a:pt x="238" y="1062"/>
                    <a:pt x="236" y="1080"/>
                    <a:pt x="232" y="1097"/>
                  </a:cubicBezTo>
                  <a:cubicBezTo>
                    <a:pt x="234" y="1097"/>
                    <a:pt x="234" y="1097"/>
                    <a:pt x="234" y="1097"/>
                  </a:cubicBezTo>
                  <a:cubicBezTo>
                    <a:pt x="234" y="1098"/>
                    <a:pt x="234" y="1100"/>
                    <a:pt x="233" y="1100"/>
                  </a:cubicBezTo>
                  <a:cubicBezTo>
                    <a:pt x="233" y="1100"/>
                    <a:pt x="233" y="1100"/>
                    <a:pt x="233" y="1100"/>
                  </a:cubicBezTo>
                  <a:cubicBezTo>
                    <a:pt x="234" y="1103"/>
                    <a:pt x="234" y="1105"/>
                    <a:pt x="230" y="1105"/>
                  </a:cubicBezTo>
                  <a:cubicBezTo>
                    <a:pt x="230" y="1107"/>
                    <a:pt x="229" y="1109"/>
                    <a:pt x="229" y="1111"/>
                  </a:cubicBezTo>
                  <a:cubicBezTo>
                    <a:pt x="230" y="1111"/>
                    <a:pt x="230" y="1111"/>
                    <a:pt x="231" y="1111"/>
                  </a:cubicBezTo>
                  <a:cubicBezTo>
                    <a:pt x="231" y="1112"/>
                    <a:pt x="231" y="1114"/>
                    <a:pt x="231" y="1116"/>
                  </a:cubicBezTo>
                  <a:cubicBezTo>
                    <a:pt x="227" y="1116"/>
                    <a:pt x="227" y="1116"/>
                    <a:pt x="227" y="1116"/>
                  </a:cubicBezTo>
                  <a:cubicBezTo>
                    <a:pt x="222" y="1135"/>
                    <a:pt x="214" y="1153"/>
                    <a:pt x="203" y="1169"/>
                  </a:cubicBezTo>
                  <a:cubicBezTo>
                    <a:pt x="749" y="1251"/>
                    <a:pt x="756" y="1250"/>
                    <a:pt x="763" y="1249"/>
                  </a:cubicBezTo>
                  <a:cubicBezTo>
                    <a:pt x="760" y="1248"/>
                    <a:pt x="758" y="1246"/>
                    <a:pt x="758" y="1244"/>
                  </a:cubicBezTo>
                  <a:cubicBezTo>
                    <a:pt x="762" y="1242"/>
                    <a:pt x="766" y="1245"/>
                    <a:pt x="766" y="1248"/>
                  </a:cubicBezTo>
                  <a:cubicBezTo>
                    <a:pt x="771" y="1247"/>
                    <a:pt x="777" y="1246"/>
                    <a:pt x="782" y="1245"/>
                  </a:cubicBezTo>
                  <a:cubicBezTo>
                    <a:pt x="785" y="1243"/>
                    <a:pt x="789" y="1241"/>
                    <a:pt x="793" y="1242"/>
                  </a:cubicBezTo>
                  <a:cubicBezTo>
                    <a:pt x="794" y="1239"/>
                    <a:pt x="793" y="1237"/>
                    <a:pt x="791" y="1235"/>
                  </a:cubicBezTo>
                  <a:cubicBezTo>
                    <a:pt x="786" y="1236"/>
                    <a:pt x="782" y="1238"/>
                    <a:pt x="777" y="1239"/>
                  </a:cubicBezTo>
                  <a:cubicBezTo>
                    <a:pt x="769" y="1241"/>
                    <a:pt x="760" y="1242"/>
                    <a:pt x="751" y="1244"/>
                  </a:cubicBezTo>
                  <a:cubicBezTo>
                    <a:pt x="751" y="1244"/>
                    <a:pt x="751" y="1244"/>
                    <a:pt x="751" y="1244"/>
                  </a:cubicBezTo>
                  <a:cubicBezTo>
                    <a:pt x="750" y="1245"/>
                    <a:pt x="749" y="1245"/>
                    <a:pt x="748" y="1245"/>
                  </a:cubicBezTo>
                  <a:cubicBezTo>
                    <a:pt x="746" y="1245"/>
                    <a:pt x="745" y="1245"/>
                    <a:pt x="744" y="1245"/>
                  </a:cubicBezTo>
                  <a:cubicBezTo>
                    <a:pt x="744" y="1247"/>
                    <a:pt x="746" y="1247"/>
                    <a:pt x="745" y="1250"/>
                  </a:cubicBezTo>
                  <a:cubicBezTo>
                    <a:pt x="744" y="1250"/>
                    <a:pt x="743" y="1251"/>
                    <a:pt x="742" y="1252"/>
                  </a:cubicBezTo>
                  <a:cubicBezTo>
                    <a:pt x="438" y="1203"/>
                    <a:pt x="439" y="1204"/>
                    <a:pt x="440" y="1204"/>
                  </a:cubicBezTo>
                  <a:cubicBezTo>
                    <a:pt x="430" y="1198"/>
                    <a:pt x="419" y="1192"/>
                    <a:pt x="409" y="1185"/>
                  </a:cubicBezTo>
                  <a:cubicBezTo>
                    <a:pt x="397" y="1186"/>
                    <a:pt x="397" y="1186"/>
                    <a:pt x="397" y="1186"/>
                  </a:cubicBezTo>
                  <a:cubicBezTo>
                    <a:pt x="406" y="1192"/>
                    <a:pt x="414" y="1197"/>
                    <a:pt x="423" y="1203"/>
                  </a:cubicBezTo>
                  <a:cubicBezTo>
                    <a:pt x="433" y="1203"/>
                    <a:pt x="433" y="1203"/>
                    <a:pt x="433" y="1203"/>
                  </a:cubicBezTo>
                  <a:cubicBezTo>
                    <a:pt x="433" y="1204"/>
                    <a:pt x="432" y="1206"/>
                    <a:pt x="432" y="1208"/>
                  </a:cubicBezTo>
                  <a:cubicBezTo>
                    <a:pt x="433" y="1208"/>
                    <a:pt x="434" y="1209"/>
                    <a:pt x="435" y="1209"/>
                  </a:cubicBezTo>
                  <a:cubicBezTo>
                    <a:pt x="435" y="1209"/>
                    <a:pt x="434" y="1208"/>
                    <a:pt x="434" y="1208"/>
                  </a:cubicBezTo>
                  <a:cubicBezTo>
                    <a:pt x="434" y="1205"/>
                    <a:pt x="436" y="1206"/>
                    <a:pt x="436" y="1203"/>
                  </a:cubicBezTo>
                  <a:cubicBezTo>
                    <a:pt x="401" y="1232"/>
                    <a:pt x="382" y="1226"/>
                    <a:pt x="367" y="1215"/>
                  </a:cubicBezTo>
                  <a:cubicBezTo>
                    <a:pt x="363" y="1213"/>
                    <a:pt x="359" y="1218"/>
                    <a:pt x="362" y="1220"/>
                  </a:cubicBezTo>
                  <a:cubicBezTo>
                    <a:pt x="375" y="1229"/>
                    <a:pt x="389" y="1235"/>
                    <a:pt x="404" y="1238"/>
                  </a:cubicBezTo>
                  <a:cubicBezTo>
                    <a:pt x="404" y="1238"/>
                    <a:pt x="404" y="1238"/>
                    <a:pt x="404" y="1238"/>
                  </a:cubicBezTo>
                  <a:cubicBezTo>
                    <a:pt x="404" y="1239"/>
                    <a:pt x="404" y="1239"/>
                    <a:pt x="404" y="1239"/>
                  </a:cubicBezTo>
                  <a:cubicBezTo>
                    <a:pt x="405" y="1239"/>
                    <a:pt x="406" y="1239"/>
                    <a:pt x="407" y="1239"/>
                  </a:cubicBezTo>
                  <a:cubicBezTo>
                    <a:pt x="408" y="1239"/>
                    <a:pt x="408" y="1239"/>
                    <a:pt x="409" y="1239"/>
                  </a:cubicBezTo>
                  <a:cubicBezTo>
                    <a:pt x="409" y="1239"/>
                    <a:pt x="409" y="1239"/>
                    <a:pt x="409" y="1238"/>
                  </a:cubicBezTo>
                  <a:cubicBezTo>
                    <a:pt x="423" y="1238"/>
                    <a:pt x="423" y="1238"/>
                    <a:pt x="423" y="1238"/>
                  </a:cubicBezTo>
                  <a:cubicBezTo>
                    <a:pt x="423" y="1237"/>
                    <a:pt x="422" y="1235"/>
                    <a:pt x="420" y="1235"/>
                  </a:cubicBezTo>
                  <a:cubicBezTo>
                    <a:pt x="408" y="1210"/>
                    <a:pt x="407" y="1209"/>
                    <a:pt x="405" y="1208"/>
                  </a:cubicBezTo>
                  <a:cubicBezTo>
                    <a:pt x="405" y="1210"/>
                    <a:pt x="404" y="1212"/>
                    <a:pt x="402" y="1214"/>
                  </a:cubicBezTo>
                  <a:cubicBezTo>
                    <a:pt x="403" y="1215"/>
                    <a:pt x="404" y="1216"/>
                    <a:pt x="406" y="1216"/>
                  </a:cubicBezTo>
                  <a:cubicBezTo>
                    <a:pt x="407" y="1214"/>
                    <a:pt x="408" y="1212"/>
                    <a:pt x="409" y="1210"/>
                  </a:cubicBezTo>
                  <a:cubicBezTo>
                    <a:pt x="306" y="1066"/>
                    <a:pt x="307" y="1068"/>
                    <a:pt x="307" y="1070"/>
                  </a:cubicBezTo>
                  <a:cubicBezTo>
                    <a:pt x="307" y="1069"/>
                    <a:pt x="308" y="1068"/>
                    <a:pt x="308" y="1068"/>
                  </a:cubicBezTo>
                  <a:cubicBezTo>
                    <a:pt x="311" y="1068"/>
                    <a:pt x="313" y="1068"/>
                    <a:pt x="315" y="1068"/>
                  </a:cubicBezTo>
                  <a:cubicBezTo>
                    <a:pt x="313" y="1064"/>
                    <a:pt x="311" y="1059"/>
                    <a:pt x="310" y="1054"/>
                  </a:cubicBezTo>
                  <a:cubicBezTo>
                    <a:pt x="310" y="1053"/>
                    <a:pt x="309" y="1051"/>
                    <a:pt x="309" y="1050"/>
                  </a:cubicBezTo>
                  <a:cubicBezTo>
                    <a:pt x="308" y="1046"/>
                    <a:pt x="302" y="1048"/>
                    <a:pt x="302" y="1052"/>
                  </a:cubicBezTo>
                  <a:cubicBezTo>
                    <a:pt x="303" y="1052"/>
                    <a:pt x="303" y="1052"/>
                    <a:pt x="303" y="1052"/>
                  </a:cubicBezTo>
                  <a:cubicBezTo>
                    <a:pt x="303" y="1053"/>
                    <a:pt x="303" y="1053"/>
                    <a:pt x="303" y="1053"/>
                  </a:cubicBezTo>
                  <a:cubicBezTo>
                    <a:pt x="303" y="1055"/>
                    <a:pt x="304" y="1058"/>
                    <a:pt x="305" y="1061"/>
                  </a:cubicBezTo>
                  <a:cubicBezTo>
                    <a:pt x="308" y="1061"/>
                    <a:pt x="308" y="1061"/>
                    <a:pt x="308" y="1061"/>
                  </a:cubicBezTo>
                  <a:cubicBezTo>
                    <a:pt x="308" y="1062"/>
                    <a:pt x="308" y="1063"/>
                    <a:pt x="308" y="1064"/>
                  </a:cubicBezTo>
                  <a:cubicBezTo>
                    <a:pt x="307" y="1064"/>
                    <a:pt x="306" y="1064"/>
                    <a:pt x="306" y="1064"/>
                  </a:cubicBezTo>
                  <a:cubicBezTo>
                    <a:pt x="294" y="1285"/>
                    <a:pt x="295" y="1286"/>
                    <a:pt x="296" y="1287"/>
                  </a:cubicBezTo>
                  <a:cubicBezTo>
                    <a:pt x="301" y="1284"/>
                    <a:pt x="305" y="1281"/>
                    <a:pt x="309" y="1278"/>
                  </a:cubicBezTo>
                  <a:cubicBezTo>
                    <a:pt x="309" y="1277"/>
                    <a:pt x="308" y="1277"/>
                    <a:pt x="308" y="1277"/>
                  </a:cubicBezTo>
                  <a:cubicBezTo>
                    <a:pt x="305" y="1282"/>
                    <a:pt x="297" y="1281"/>
                    <a:pt x="293" y="1284"/>
                  </a:cubicBezTo>
                  <a:cubicBezTo>
                    <a:pt x="269" y="1140"/>
                    <a:pt x="268" y="1140"/>
                    <a:pt x="268" y="1139"/>
                  </a:cubicBezTo>
                  <a:cubicBezTo>
                    <a:pt x="268" y="1141"/>
                    <a:pt x="268" y="1142"/>
                    <a:pt x="268" y="1143"/>
                  </a:cubicBezTo>
                  <a:cubicBezTo>
                    <a:pt x="269" y="1143"/>
                    <a:pt x="269" y="1142"/>
                    <a:pt x="269" y="1141"/>
                  </a:cubicBezTo>
                  <a:cubicBezTo>
                    <a:pt x="330" y="1285"/>
                    <a:pt x="329" y="1286"/>
                    <a:pt x="328" y="1288"/>
                  </a:cubicBezTo>
                  <a:cubicBezTo>
                    <a:pt x="329" y="1287"/>
                    <a:pt x="330" y="1286"/>
                    <a:pt x="332" y="1286"/>
                  </a:cubicBezTo>
                  <a:cubicBezTo>
                    <a:pt x="253" y="1115"/>
                    <a:pt x="253" y="1115"/>
                    <a:pt x="253" y="1115"/>
                  </a:cubicBezTo>
                  <a:cubicBezTo>
                    <a:pt x="253" y="1114"/>
                    <a:pt x="252" y="1112"/>
                    <a:pt x="251" y="1111"/>
                  </a:cubicBezTo>
                  <a:cubicBezTo>
                    <a:pt x="250" y="1112"/>
                    <a:pt x="250" y="1112"/>
                    <a:pt x="249" y="1113"/>
                  </a:cubicBezTo>
                  <a:cubicBezTo>
                    <a:pt x="248" y="1122"/>
                    <a:pt x="246" y="1132"/>
                    <a:pt x="243" y="1142"/>
                  </a:cubicBezTo>
                  <a:cubicBezTo>
                    <a:pt x="244" y="1145"/>
                    <a:pt x="246" y="1148"/>
                    <a:pt x="246" y="1151"/>
                  </a:cubicBezTo>
                  <a:cubicBezTo>
                    <a:pt x="248" y="1146"/>
                    <a:pt x="250" y="1142"/>
                    <a:pt x="251" y="1138"/>
                  </a:cubicBezTo>
                  <a:cubicBezTo>
                    <a:pt x="251" y="1152"/>
                    <a:pt x="248" y="1166"/>
                    <a:pt x="244" y="1179"/>
                  </a:cubicBezTo>
                  <a:cubicBezTo>
                    <a:pt x="245" y="1179"/>
                    <a:pt x="245" y="1179"/>
                    <a:pt x="246" y="1179"/>
                  </a:cubicBezTo>
                  <a:cubicBezTo>
                    <a:pt x="246" y="1181"/>
                    <a:pt x="247" y="1182"/>
                    <a:pt x="246" y="1185"/>
                  </a:cubicBezTo>
                  <a:cubicBezTo>
                    <a:pt x="245" y="1185"/>
                    <a:pt x="244" y="1184"/>
                    <a:pt x="243" y="1185"/>
                  </a:cubicBezTo>
                  <a:cubicBezTo>
                    <a:pt x="243" y="1185"/>
                    <a:pt x="242" y="1185"/>
                    <a:pt x="242" y="1185"/>
                  </a:cubicBezTo>
                  <a:cubicBezTo>
                    <a:pt x="240" y="1191"/>
                    <a:pt x="237" y="1198"/>
                    <a:pt x="233" y="1204"/>
                  </a:cubicBezTo>
                  <a:cubicBezTo>
                    <a:pt x="238" y="1204"/>
                    <a:pt x="238" y="1204"/>
                    <a:pt x="238" y="1204"/>
                  </a:cubicBezTo>
                  <a:cubicBezTo>
                    <a:pt x="237" y="1205"/>
                    <a:pt x="235" y="1205"/>
                    <a:pt x="234" y="1205"/>
                  </a:cubicBezTo>
                  <a:cubicBezTo>
                    <a:pt x="233" y="1210"/>
                    <a:pt x="233" y="1213"/>
                    <a:pt x="234" y="1216"/>
                  </a:cubicBezTo>
                  <a:cubicBezTo>
                    <a:pt x="242" y="1204"/>
                    <a:pt x="248" y="1189"/>
                    <a:pt x="252" y="1175"/>
                  </a:cubicBezTo>
                  <a:cubicBezTo>
                    <a:pt x="251" y="1173"/>
                    <a:pt x="251" y="1171"/>
                    <a:pt x="250" y="1169"/>
                  </a:cubicBezTo>
                  <a:cubicBezTo>
                    <a:pt x="254" y="1168"/>
                    <a:pt x="254" y="1168"/>
                    <a:pt x="254" y="1168"/>
                  </a:cubicBezTo>
                  <a:cubicBezTo>
                    <a:pt x="258" y="1151"/>
                    <a:pt x="259" y="1133"/>
                    <a:pt x="257" y="1115"/>
                  </a:cubicBezTo>
                  <a:cubicBezTo>
                    <a:pt x="734" y="1251"/>
                    <a:pt x="736" y="1248"/>
                    <a:pt x="737" y="1246"/>
                  </a:cubicBezTo>
                  <a:cubicBezTo>
                    <a:pt x="735" y="1247"/>
                    <a:pt x="733" y="1247"/>
                    <a:pt x="731" y="1247"/>
                  </a:cubicBezTo>
                  <a:cubicBezTo>
                    <a:pt x="731" y="1247"/>
                    <a:pt x="731" y="1247"/>
                    <a:pt x="731" y="1247"/>
                  </a:cubicBezTo>
                  <a:cubicBezTo>
                    <a:pt x="730" y="1248"/>
                    <a:pt x="728" y="1248"/>
                    <a:pt x="727" y="1248"/>
                  </a:cubicBezTo>
                  <a:cubicBezTo>
                    <a:pt x="726" y="1248"/>
                    <a:pt x="724" y="1248"/>
                    <a:pt x="722" y="1248"/>
                  </a:cubicBezTo>
                  <a:cubicBezTo>
                    <a:pt x="724" y="1249"/>
                    <a:pt x="725" y="1250"/>
                    <a:pt x="727" y="1250"/>
                  </a:cubicBezTo>
                  <a:cubicBezTo>
                    <a:pt x="726" y="1252"/>
                    <a:pt x="726" y="1253"/>
                    <a:pt x="726" y="1254"/>
                  </a:cubicBezTo>
                  <a:cubicBezTo>
                    <a:pt x="712" y="1254"/>
                    <a:pt x="712" y="1254"/>
                    <a:pt x="712" y="1254"/>
                  </a:cubicBezTo>
                  <a:cubicBezTo>
                    <a:pt x="711" y="1253"/>
                    <a:pt x="711" y="1251"/>
                    <a:pt x="712" y="1249"/>
                  </a:cubicBezTo>
                  <a:cubicBezTo>
                    <a:pt x="704" y="1250"/>
                    <a:pt x="695" y="1251"/>
                    <a:pt x="687" y="1251"/>
                  </a:cubicBezTo>
                  <a:cubicBezTo>
                    <a:pt x="686" y="1253"/>
                    <a:pt x="682" y="1253"/>
                    <a:pt x="679" y="1254"/>
                  </a:cubicBezTo>
                  <a:cubicBezTo>
                    <a:pt x="679" y="1254"/>
                    <a:pt x="679" y="1254"/>
                    <a:pt x="679" y="1254"/>
                  </a:cubicBezTo>
                  <a:cubicBezTo>
                    <a:pt x="679" y="1252"/>
                    <a:pt x="680" y="1252"/>
                    <a:pt x="680" y="1251"/>
                  </a:cubicBezTo>
                  <a:cubicBezTo>
                    <a:pt x="666" y="1252"/>
                    <a:pt x="652" y="1252"/>
                    <a:pt x="638" y="1251"/>
                  </a:cubicBezTo>
                  <a:cubicBezTo>
                    <a:pt x="638" y="1251"/>
                    <a:pt x="638" y="1252"/>
                    <a:pt x="638" y="1253"/>
                  </a:cubicBezTo>
                  <a:cubicBezTo>
                    <a:pt x="635" y="1254"/>
                    <a:pt x="630" y="1253"/>
                    <a:pt x="631" y="1251"/>
                  </a:cubicBezTo>
                  <a:cubicBezTo>
                    <a:pt x="630" y="1250"/>
                    <a:pt x="629" y="1250"/>
                    <a:pt x="629" y="1250"/>
                  </a:cubicBezTo>
                  <a:cubicBezTo>
                    <a:pt x="629" y="1252"/>
                    <a:pt x="629" y="1253"/>
                    <a:pt x="628" y="1255"/>
                  </a:cubicBezTo>
                  <a:cubicBezTo>
                    <a:pt x="619" y="1255"/>
                    <a:pt x="619" y="1255"/>
                    <a:pt x="619" y="1255"/>
                  </a:cubicBezTo>
                  <a:cubicBezTo>
                    <a:pt x="619" y="1253"/>
                    <a:pt x="620" y="1251"/>
                    <a:pt x="622" y="1250"/>
                  </a:cubicBezTo>
                  <a:cubicBezTo>
                    <a:pt x="620" y="1250"/>
                    <a:pt x="618" y="1250"/>
                    <a:pt x="616" y="1249"/>
                  </a:cubicBezTo>
                  <a:cubicBezTo>
                    <a:pt x="617" y="1252"/>
                    <a:pt x="618" y="1253"/>
                    <a:pt x="618" y="1255"/>
                  </a:cubicBezTo>
                  <a:cubicBezTo>
                    <a:pt x="603" y="1255"/>
                    <a:pt x="603" y="1255"/>
                    <a:pt x="603" y="1255"/>
                  </a:cubicBezTo>
                  <a:cubicBezTo>
                    <a:pt x="603" y="1255"/>
                    <a:pt x="603" y="1255"/>
                    <a:pt x="603" y="1255"/>
                  </a:cubicBezTo>
                  <a:cubicBezTo>
                    <a:pt x="603" y="1252"/>
                    <a:pt x="607" y="1254"/>
                    <a:pt x="607" y="1251"/>
                  </a:cubicBezTo>
                  <a:cubicBezTo>
                    <a:pt x="607" y="1250"/>
                    <a:pt x="606" y="1249"/>
                    <a:pt x="606" y="1248"/>
                  </a:cubicBezTo>
                  <a:cubicBezTo>
                    <a:pt x="604" y="1248"/>
                    <a:pt x="603" y="1248"/>
                    <a:pt x="601" y="1248"/>
                  </a:cubicBezTo>
                  <a:cubicBezTo>
                    <a:pt x="599" y="1250"/>
                    <a:pt x="597" y="1253"/>
                    <a:pt x="594" y="1255"/>
                  </a:cubicBezTo>
                  <a:cubicBezTo>
                    <a:pt x="637" y="1260"/>
                    <a:pt x="680" y="1260"/>
                    <a:pt x="723" y="1255"/>
                  </a:cubicBezTo>
                  <a:cubicBezTo>
                    <a:pt x="726" y="1255"/>
                    <a:pt x="730" y="1254"/>
                    <a:pt x="734" y="1254"/>
                  </a:cubicBezTo>
                  <a:cubicBezTo>
                    <a:pt x="654" y="1253"/>
                    <a:pt x="654" y="1252"/>
                    <a:pt x="656" y="1252"/>
                  </a:cubicBezTo>
                  <a:cubicBezTo>
                    <a:pt x="656" y="1254"/>
                    <a:pt x="658" y="1254"/>
                    <a:pt x="659" y="1255"/>
                  </a:cubicBezTo>
                  <a:cubicBezTo>
                    <a:pt x="698" y="1254"/>
                    <a:pt x="698" y="1254"/>
                    <a:pt x="698" y="1254"/>
                  </a:cubicBezTo>
                  <a:cubicBezTo>
                    <a:pt x="699" y="1251"/>
                    <a:pt x="701" y="1250"/>
                    <a:pt x="704" y="1252"/>
                  </a:cubicBezTo>
                  <a:cubicBezTo>
                    <a:pt x="705" y="1253"/>
                    <a:pt x="705" y="1253"/>
                    <a:pt x="705" y="1254"/>
                  </a:cubicBezTo>
                  <a:cubicBezTo>
                    <a:pt x="669" y="1274"/>
                    <a:pt x="668" y="1274"/>
                    <a:pt x="668" y="1274"/>
                  </a:cubicBezTo>
                  <a:cubicBezTo>
                    <a:pt x="668" y="1274"/>
                    <a:pt x="668" y="1274"/>
                    <a:pt x="668" y="1274"/>
                  </a:cubicBezTo>
                  <a:cubicBezTo>
                    <a:pt x="669" y="1274"/>
                    <a:pt x="669" y="1274"/>
                    <a:pt x="669" y="1274"/>
                  </a:cubicBezTo>
                  <a:cubicBezTo>
                    <a:pt x="406" y="1244"/>
                    <a:pt x="405" y="1243"/>
                    <a:pt x="405" y="1243"/>
                  </a:cubicBezTo>
                  <a:cubicBezTo>
                    <a:pt x="402" y="1243"/>
                    <a:pt x="399" y="1243"/>
                    <a:pt x="396" y="1243"/>
                  </a:cubicBezTo>
                  <a:cubicBezTo>
                    <a:pt x="394" y="1245"/>
                    <a:pt x="389" y="1242"/>
                    <a:pt x="387" y="1244"/>
                  </a:cubicBezTo>
                  <a:cubicBezTo>
                    <a:pt x="386" y="1246"/>
                    <a:pt x="387" y="1248"/>
                    <a:pt x="388" y="1250"/>
                  </a:cubicBezTo>
                  <a:cubicBezTo>
                    <a:pt x="389" y="1250"/>
                    <a:pt x="390" y="1250"/>
                    <a:pt x="392" y="1250"/>
                  </a:cubicBezTo>
                  <a:cubicBezTo>
                    <a:pt x="399" y="1249"/>
                    <a:pt x="406" y="1250"/>
                    <a:pt x="413" y="1250"/>
                  </a:cubicBezTo>
                  <a:cubicBezTo>
                    <a:pt x="412" y="1248"/>
                    <a:pt x="412" y="1247"/>
                    <a:pt x="415" y="1245"/>
                  </a:cubicBezTo>
                  <a:cubicBezTo>
                    <a:pt x="413" y="1245"/>
                    <a:pt x="412" y="1244"/>
                    <a:pt x="412" y="1244"/>
                  </a:cubicBezTo>
                  <a:cubicBezTo>
                    <a:pt x="411" y="1244"/>
                    <a:pt x="409" y="1243"/>
                    <a:pt x="408" y="1243"/>
                  </a:cubicBezTo>
                  <a:cubicBezTo>
                    <a:pt x="408" y="1245"/>
                    <a:pt x="408" y="1246"/>
                    <a:pt x="408" y="1248"/>
                  </a:cubicBezTo>
                  <a:cubicBezTo>
                    <a:pt x="407" y="1249"/>
                    <a:pt x="406" y="1249"/>
                    <a:pt x="406" y="1249"/>
                  </a:cubicBezTo>
                  <a:cubicBezTo>
                    <a:pt x="403" y="1249"/>
                    <a:pt x="404" y="1247"/>
                    <a:pt x="401" y="1247"/>
                  </a:cubicBezTo>
                  <a:cubicBezTo>
                    <a:pt x="401" y="1244"/>
                    <a:pt x="404" y="1245"/>
                    <a:pt x="406" y="1244"/>
                  </a:cubicBezTo>
                  <a:cubicBezTo>
                    <a:pt x="150" y="288"/>
                    <a:pt x="150" y="290"/>
                    <a:pt x="150" y="291"/>
                  </a:cubicBezTo>
                  <a:cubicBezTo>
                    <a:pt x="151" y="290"/>
                    <a:pt x="153" y="289"/>
                    <a:pt x="154" y="288"/>
                  </a:cubicBezTo>
                  <a:cubicBezTo>
                    <a:pt x="154" y="286"/>
                    <a:pt x="155" y="283"/>
                    <a:pt x="158" y="284"/>
                  </a:cubicBezTo>
                  <a:cubicBezTo>
                    <a:pt x="158" y="284"/>
                    <a:pt x="159" y="285"/>
                    <a:pt x="159" y="285"/>
                  </a:cubicBezTo>
                  <a:cubicBezTo>
                    <a:pt x="161" y="284"/>
                    <a:pt x="164" y="283"/>
                    <a:pt x="166" y="281"/>
                  </a:cubicBezTo>
                  <a:cubicBezTo>
                    <a:pt x="165" y="280"/>
                    <a:pt x="163" y="279"/>
                    <a:pt x="162" y="278"/>
                  </a:cubicBezTo>
                  <a:cubicBezTo>
                    <a:pt x="171" y="278"/>
                    <a:pt x="171" y="278"/>
                    <a:pt x="171" y="278"/>
                  </a:cubicBezTo>
                  <a:cubicBezTo>
                    <a:pt x="171" y="278"/>
                    <a:pt x="171" y="278"/>
                    <a:pt x="171" y="278"/>
                  </a:cubicBezTo>
                  <a:cubicBezTo>
                    <a:pt x="209" y="257"/>
                    <a:pt x="249" y="241"/>
                    <a:pt x="292" y="233"/>
                  </a:cubicBezTo>
                  <a:cubicBezTo>
                    <a:pt x="361" y="220"/>
                    <a:pt x="433" y="224"/>
                    <a:pt x="502" y="239"/>
                  </a:cubicBezTo>
                  <a:cubicBezTo>
                    <a:pt x="513" y="239"/>
                    <a:pt x="513" y="239"/>
                    <a:pt x="513" y="239"/>
                  </a:cubicBezTo>
                  <a:cubicBezTo>
                    <a:pt x="513" y="240"/>
                    <a:pt x="513" y="241"/>
                    <a:pt x="513" y="242"/>
                  </a:cubicBezTo>
                  <a:cubicBezTo>
                    <a:pt x="515" y="242"/>
                    <a:pt x="517" y="243"/>
                    <a:pt x="520" y="243"/>
                  </a:cubicBezTo>
                  <a:cubicBezTo>
                    <a:pt x="523" y="244"/>
                    <a:pt x="526" y="245"/>
                    <a:pt x="530" y="246"/>
                  </a:cubicBezTo>
                  <a:cubicBezTo>
                    <a:pt x="530" y="246"/>
                    <a:pt x="530" y="246"/>
                    <a:pt x="531" y="246"/>
                  </a:cubicBezTo>
                  <a:cubicBezTo>
                    <a:pt x="532" y="243"/>
                    <a:pt x="528" y="244"/>
                    <a:pt x="529" y="241"/>
                  </a:cubicBezTo>
                  <a:cubicBezTo>
                    <a:pt x="527" y="243"/>
                    <a:pt x="524" y="242"/>
                    <a:pt x="522" y="241"/>
                  </a:cubicBezTo>
                  <a:cubicBezTo>
                    <a:pt x="523" y="240"/>
                    <a:pt x="524" y="240"/>
                    <a:pt x="524" y="239"/>
                  </a:cubicBezTo>
                  <a:cubicBezTo>
                    <a:pt x="529" y="239"/>
                    <a:pt x="529" y="239"/>
                    <a:pt x="529" y="239"/>
                  </a:cubicBezTo>
                  <a:cubicBezTo>
                    <a:pt x="499" y="233"/>
                    <a:pt x="469" y="226"/>
                    <a:pt x="438" y="223"/>
                  </a:cubicBezTo>
                  <a:cubicBezTo>
                    <a:pt x="384" y="223"/>
                    <a:pt x="384" y="223"/>
                    <a:pt x="384" y="223"/>
                  </a:cubicBezTo>
                  <a:cubicBezTo>
                    <a:pt x="384" y="223"/>
                    <a:pt x="384" y="223"/>
                    <a:pt x="384" y="223"/>
                  </a:cubicBezTo>
                  <a:cubicBezTo>
                    <a:pt x="381" y="222"/>
                    <a:pt x="380" y="219"/>
                    <a:pt x="375" y="220"/>
                  </a:cubicBezTo>
                  <a:cubicBezTo>
                    <a:pt x="375" y="220"/>
                    <a:pt x="375" y="219"/>
                    <a:pt x="375" y="219"/>
                  </a:cubicBezTo>
                  <a:cubicBezTo>
                    <a:pt x="371" y="219"/>
                    <a:pt x="368" y="219"/>
                    <a:pt x="365" y="219"/>
                  </a:cubicBezTo>
                  <a:cubicBezTo>
                    <a:pt x="365" y="220"/>
                    <a:pt x="365" y="222"/>
                    <a:pt x="365" y="223"/>
                  </a:cubicBezTo>
                  <a:cubicBezTo>
                    <a:pt x="356" y="223"/>
                    <a:pt x="356" y="223"/>
                    <a:pt x="356" y="223"/>
                  </a:cubicBezTo>
                  <a:cubicBezTo>
                    <a:pt x="356" y="222"/>
                    <a:pt x="356" y="221"/>
                    <a:pt x="356" y="219"/>
                  </a:cubicBezTo>
                  <a:cubicBezTo>
                    <a:pt x="355" y="219"/>
                    <a:pt x="355" y="219"/>
                    <a:pt x="354" y="219"/>
                  </a:cubicBezTo>
                  <a:cubicBezTo>
                    <a:pt x="353" y="221"/>
                    <a:pt x="352" y="222"/>
                    <a:pt x="350" y="223"/>
                  </a:cubicBezTo>
                  <a:cubicBezTo>
                    <a:pt x="348" y="223"/>
                    <a:pt x="348" y="223"/>
                    <a:pt x="348" y="223"/>
                  </a:cubicBezTo>
                  <a:cubicBezTo>
                    <a:pt x="348" y="222"/>
                    <a:pt x="348" y="221"/>
                    <a:pt x="347" y="220"/>
                  </a:cubicBezTo>
                  <a:cubicBezTo>
                    <a:pt x="346" y="220"/>
                    <a:pt x="345" y="220"/>
                    <a:pt x="344" y="220"/>
                  </a:cubicBezTo>
                  <a:cubicBezTo>
                    <a:pt x="344" y="221"/>
                    <a:pt x="343" y="222"/>
                    <a:pt x="343" y="223"/>
                  </a:cubicBezTo>
                  <a:cubicBezTo>
                    <a:pt x="340" y="223"/>
                    <a:pt x="338" y="222"/>
                    <a:pt x="337" y="220"/>
                  </a:cubicBezTo>
                  <a:cubicBezTo>
                    <a:pt x="333" y="221"/>
                    <a:pt x="329" y="221"/>
                    <a:pt x="325" y="222"/>
                  </a:cubicBezTo>
                  <a:cubicBezTo>
                    <a:pt x="327" y="222"/>
                    <a:pt x="328" y="223"/>
                    <a:pt x="330" y="223"/>
                  </a:cubicBezTo>
                  <a:cubicBezTo>
                    <a:pt x="321" y="224"/>
                    <a:pt x="321" y="224"/>
                    <a:pt x="321" y="224"/>
                  </a:cubicBezTo>
                  <a:cubicBezTo>
                    <a:pt x="321" y="223"/>
                    <a:pt x="321" y="222"/>
                    <a:pt x="321" y="222"/>
                  </a:cubicBezTo>
                  <a:cubicBezTo>
                    <a:pt x="284" y="226"/>
                    <a:pt x="248" y="235"/>
                    <a:pt x="214" y="249"/>
                  </a:cubicBezTo>
                  <a:cubicBezTo>
                    <a:pt x="214" y="250"/>
                    <a:pt x="213" y="251"/>
                    <a:pt x="212" y="252"/>
                  </a:cubicBezTo>
                  <a:cubicBezTo>
                    <a:pt x="210" y="252"/>
                    <a:pt x="208" y="252"/>
                    <a:pt x="206" y="252"/>
                  </a:cubicBezTo>
                  <a:cubicBezTo>
                    <a:pt x="204" y="253"/>
                    <a:pt x="203" y="254"/>
                    <a:pt x="201" y="255"/>
                  </a:cubicBezTo>
                  <a:cubicBezTo>
                    <a:pt x="201" y="256"/>
                    <a:pt x="202" y="257"/>
                    <a:pt x="203" y="258"/>
                  </a:cubicBezTo>
                  <a:cubicBezTo>
                    <a:pt x="202" y="258"/>
                    <a:pt x="200" y="259"/>
                    <a:pt x="198" y="258"/>
                  </a:cubicBezTo>
                  <a:cubicBezTo>
                    <a:pt x="197" y="258"/>
                    <a:pt x="197" y="257"/>
                    <a:pt x="197" y="256"/>
                  </a:cubicBezTo>
                  <a:cubicBezTo>
                    <a:pt x="195" y="258"/>
                    <a:pt x="192" y="259"/>
                    <a:pt x="190" y="260"/>
                  </a:cubicBezTo>
                  <a:cubicBezTo>
                    <a:pt x="190" y="260"/>
                    <a:pt x="190" y="260"/>
                    <a:pt x="189" y="260"/>
                  </a:cubicBezTo>
                  <a:cubicBezTo>
                    <a:pt x="189" y="260"/>
                    <a:pt x="189" y="260"/>
                    <a:pt x="189" y="260"/>
                  </a:cubicBezTo>
                  <a:cubicBezTo>
                    <a:pt x="189" y="260"/>
                    <a:pt x="189" y="260"/>
                    <a:pt x="189" y="260"/>
                  </a:cubicBezTo>
                  <a:cubicBezTo>
                    <a:pt x="174" y="268"/>
                    <a:pt x="160" y="276"/>
                    <a:pt x="146" y="285"/>
                  </a:cubicBezTo>
                  <a:cubicBezTo>
                    <a:pt x="148" y="286"/>
                    <a:pt x="150" y="286"/>
                    <a:pt x="150" y="287"/>
                  </a:cubicBezTo>
                  <a:cubicBezTo>
                    <a:pt x="226" y="1223"/>
                    <a:pt x="226" y="1223"/>
                    <a:pt x="226" y="1223"/>
                  </a:cubicBezTo>
                  <a:cubicBezTo>
                    <a:pt x="227" y="1222"/>
                    <a:pt x="228" y="1221"/>
                    <a:pt x="229" y="1219"/>
                  </a:cubicBezTo>
                  <a:cubicBezTo>
                    <a:pt x="228" y="1218"/>
                    <a:pt x="228" y="1215"/>
                    <a:pt x="228" y="1213"/>
                  </a:cubicBezTo>
                  <a:cubicBezTo>
                    <a:pt x="221" y="1223"/>
                    <a:pt x="213" y="1232"/>
                    <a:pt x="203" y="1240"/>
                  </a:cubicBezTo>
                  <a:cubicBezTo>
                    <a:pt x="203" y="1240"/>
                    <a:pt x="203" y="1240"/>
                    <a:pt x="202" y="1240"/>
                  </a:cubicBezTo>
                  <a:cubicBezTo>
                    <a:pt x="213" y="1240"/>
                    <a:pt x="213" y="1240"/>
                    <a:pt x="213" y="1240"/>
                  </a:cubicBezTo>
                  <a:cubicBezTo>
                    <a:pt x="219" y="1235"/>
                    <a:pt x="224" y="1229"/>
                    <a:pt x="229" y="1223"/>
                  </a:cubicBezTo>
                  <a:cubicBezTo>
                    <a:pt x="526" y="214"/>
                    <a:pt x="526" y="214"/>
                    <a:pt x="526" y="214"/>
                  </a:cubicBezTo>
                  <a:cubicBezTo>
                    <a:pt x="526" y="216"/>
                    <a:pt x="522" y="214"/>
                    <a:pt x="520" y="215"/>
                  </a:cubicBezTo>
                  <a:cubicBezTo>
                    <a:pt x="520" y="218"/>
                    <a:pt x="521" y="217"/>
                    <a:pt x="520" y="219"/>
                  </a:cubicBezTo>
                  <a:cubicBezTo>
                    <a:pt x="523" y="220"/>
                    <a:pt x="526" y="220"/>
                    <a:pt x="529" y="221"/>
                  </a:cubicBezTo>
                  <a:cubicBezTo>
                    <a:pt x="528" y="219"/>
                    <a:pt x="526" y="217"/>
                    <a:pt x="526" y="214"/>
                  </a:cubicBezTo>
                  <a:cubicBezTo>
                    <a:pt x="526" y="214"/>
                    <a:pt x="526" y="214"/>
                    <a:pt x="526" y="214"/>
                  </a:cubicBezTo>
                  <a:cubicBezTo>
                    <a:pt x="613" y="256"/>
                    <a:pt x="613" y="256"/>
                    <a:pt x="612" y="257"/>
                  </a:cubicBezTo>
                  <a:cubicBezTo>
                    <a:pt x="605" y="257"/>
                    <a:pt x="605" y="257"/>
                    <a:pt x="605" y="257"/>
                  </a:cubicBezTo>
                  <a:cubicBezTo>
                    <a:pt x="605" y="256"/>
                    <a:pt x="605" y="256"/>
                    <a:pt x="605" y="256"/>
                  </a:cubicBezTo>
                  <a:cubicBezTo>
                    <a:pt x="606" y="255"/>
                    <a:pt x="610" y="257"/>
                    <a:pt x="611" y="255"/>
                  </a:cubicBezTo>
                  <a:cubicBezTo>
                    <a:pt x="611" y="255"/>
                    <a:pt x="611" y="255"/>
                    <a:pt x="611" y="255"/>
                  </a:cubicBezTo>
                  <a:cubicBezTo>
                    <a:pt x="610" y="255"/>
                    <a:pt x="609" y="255"/>
                    <a:pt x="609" y="255"/>
                  </a:cubicBezTo>
                  <a:cubicBezTo>
                    <a:pt x="607" y="255"/>
                    <a:pt x="605" y="255"/>
                    <a:pt x="604" y="254"/>
                  </a:cubicBezTo>
                  <a:cubicBezTo>
                    <a:pt x="604" y="254"/>
                    <a:pt x="604" y="254"/>
                    <a:pt x="604" y="254"/>
                  </a:cubicBezTo>
                  <a:cubicBezTo>
                    <a:pt x="604" y="255"/>
                    <a:pt x="603" y="256"/>
                    <a:pt x="603" y="257"/>
                  </a:cubicBezTo>
                  <a:cubicBezTo>
                    <a:pt x="599" y="257"/>
                    <a:pt x="599" y="257"/>
                    <a:pt x="599" y="257"/>
                  </a:cubicBezTo>
                  <a:cubicBezTo>
                    <a:pt x="598" y="256"/>
                    <a:pt x="598" y="255"/>
                    <a:pt x="596" y="255"/>
                  </a:cubicBezTo>
                  <a:cubicBezTo>
                    <a:pt x="596" y="256"/>
                    <a:pt x="595" y="256"/>
                    <a:pt x="595" y="257"/>
                  </a:cubicBezTo>
                  <a:cubicBezTo>
                    <a:pt x="587" y="257"/>
                    <a:pt x="587" y="257"/>
                    <a:pt x="587" y="257"/>
                  </a:cubicBezTo>
                  <a:cubicBezTo>
                    <a:pt x="588" y="255"/>
                    <a:pt x="594" y="256"/>
                    <a:pt x="594" y="253"/>
                  </a:cubicBezTo>
                  <a:cubicBezTo>
                    <a:pt x="587" y="251"/>
                    <a:pt x="580" y="250"/>
                    <a:pt x="574" y="249"/>
                  </a:cubicBezTo>
                  <a:cubicBezTo>
                    <a:pt x="574" y="251"/>
                    <a:pt x="574" y="254"/>
                    <a:pt x="572" y="255"/>
                  </a:cubicBezTo>
                  <a:cubicBezTo>
                    <a:pt x="622" y="265"/>
                    <a:pt x="673" y="271"/>
                    <a:pt x="724" y="274"/>
                  </a:cubicBezTo>
                  <a:cubicBezTo>
                    <a:pt x="724" y="273"/>
                    <a:pt x="724" y="273"/>
                    <a:pt x="724" y="273"/>
                  </a:cubicBezTo>
                  <a:cubicBezTo>
                    <a:pt x="729" y="273"/>
                    <a:pt x="729" y="273"/>
                    <a:pt x="729" y="273"/>
                  </a:cubicBezTo>
                  <a:cubicBezTo>
                    <a:pt x="729" y="273"/>
                    <a:pt x="729" y="273"/>
                    <a:pt x="729" y="274"/>
                  </a:cubicBezTo>
                  <a:cubicBezTo>
                    <a:pt x="730" y="274"/>
                    <a:pt x="730" y="274"/>
                    <a:pt x="731" y="274"/>
                  </a:cubicBezTo>
                  <a:cubicBezTo>
                    <a:pt x="731" y="274"/>
                    <a:pt x="730" y="273"/>
                    <a:pt x="730" y="273"/>
                  </a:cubicBezTo>
                  <a:cubicBezTo>
                    <a:pt x="785" y="272"/>
                    <a:pt x="785" y="272"/>
                    <a:pt x="785" y="272"/>
                  </a:cubicBezTo>
                  <a:cubicBezTo>
                    <a:pt x="793" y="272"/>
                    <a:pt x="800" y="270"/>
                    <a:pt x="807" y="268"/>
                  </a:cubicBezTo>
                  <a:cubicBezTo>
                    <a:pt x="811" y="267"/>
                    <a:pt x="809" y="261"/>
                    <a:pt x="805" y="262"/>
                  </a:cubicBezTo>
                  <a:cubicBezTo>
                    <a:pt x="777" y="269"/>
                    <a:pt x="747" y="268"/>
                    <a:pt x="719" y="267"/>
                  </a:cubicBezTo>
                  <a:cubicBezTo>
                    <a:pt x="683" y="265"/>
                    <a:pt x="648" y="261"/>
                    <a:pt x="613" y="256"/>
                  </a:cubicBezTo>
                  <a:cubicBezTo>
                    <a:pt x="500" y="215"/>
                    <a:pt x="500" y="212"/>
                    <a:pt x="500" y="210"/>
                  </a:cubicBezTo>
                  <a:cubicBezTo>
                    <a:pt x="499" y="209"/>
                    <a:pt x="499" y="209"/>
                    <a:pt x="498" y="209"/>
                  </a:cubicBezTo>
                  <a:cubicBezTo>
                    <a:pt x="499" y="211"/>
                    <a:pt x="500" y="213"/>
                    <a:pt x="499" y="216"/>
                  </a:cubicBezTo>
                  <a:cubicBezTo>
                    <a:pt x="499" y="216"/>
                    <a:pt x="500" y="216"/>
                    <a:pt x="500" y="216"/>
                  </a:cubicBezTo>
                  <a:cubicBezTo>
                    <a:pt x="39" y="310"/>
                    <a:pt x="47" y="303"/>
                    <a:pt x="55" y="297"/>
                  </a:cubicBezTo>
                  <a:cubicBezTo>
                    <a:pt x="54" y="297"/>
                    <a:pt x="54" y="297"/>
                    <a:pt x="54" y="297"/>
                  </a:cubicBezTo>
                  <a:cubicBezTo>
                    <a:pt x="53" y="296"/>
                    <a:pt x="54" y="295"/>
                    <a:pt x="55" y="293"/>
                  </a:cubicBezTo>
                  <a:cubicBezTo>
                    <a:pt x="54" y="292"/>
                    <a:pt x="53" y="292"/>
                    <a:pt x="52" y="291"/>
                  </a:cubicBezTo>
                  <a:cubicBezTo>
                    <a:pt x="51" y="291"/>
                    <a:pt x="50" y="292"/>
                    <a:pt x="49" y="293"/>
                  </a:cubicBezTo>
                  <a:cubicBezTo>
                    <a:pt x="50" y="294"/>
                    <a:pt x="50" y="296"/>
                    <a:pt x="50" y="297"/>
                  </a:cubicBezTo>
                  <a:cubicBezTo>
                    <a:pt x="44" y="297"/>
                    <a:pt x="44" y="297"/>
                    <a:pt x="44" y="297"/>
                  </a:cubicBezTo>
                  <a:cubicBezTo>
                    <a:pt x="38" y="302"/>
                    <a:pt x="32" y="306"/>
                    <a:pt x="27" y="311"/>
                  </a:cubicBezTo>
                  <a:cubicBezTo>
                    <a:pt x="23" y="314"/>
                    <a:pt x="27" y="319"/>
                    <a:pt x="31" y="316"/>
                  </a:cubicBezTo>
                  <a:cubicBezTo>
                    <a:pt x="108" y="283"/>
                    <a:pt x="109" y="284"/>
                    <a:pt x="110" y="286"/>
                  </a:cubicBezTo>
                  <a:cubicBezTo>
                    <a:pt x="111" y="285"/>
                    <a:pt x="111" y="285"/>
                    <a:pt x="112" y="284"/>
                  </a:cubicBezTo>
                  <a:cubicBezTo>
                    <a:pt x="111" y="284"/>
                    <a:pt x="110" y="282"/>
                    <a:pt x="110" y="280"/>
                  </a:cubicBezTo>
                  <a:cubicBezTo>
                    <a:pt x="109" y="280"/>
                    <a:pt x="109" y="280"/>
                    <a:pt x="109" y="281"/>
                  </a:cubicBezTo>
                  <a:cubicBezTo>
                    <a:pt x="108" y="281"/>
                    <a:pt x="108" y="281"/>
                    <a:pt x="107" y="281"/>
                  </a:cubicBezTo>
                  <a:cubicBezTo>
                    <a:pt x="679" y="240"/>
                    <a:pt x="678" y="241"/>
                    <a:pt x="674" y="240"/>
                  </a:cubicBezTo>
                  <a:cubicBezTo>
                    <a:pt x="675" y="242"/>
                    <a:pt x="674" y="243"/>
                    <a:pt x="673" y="243"/>
                  </a:cubicBezTo>
                  <a:cubicBezTo>
                    <a:pt x="675" y="243"/>
                    <a:pt x="677" y="244"/>
                    <a:pt x="678" y="244"/>
                  </a:cubicBezTo>
                  <a:cubicBezTo>
                    <a:pt x="678" y="244"/>
                    <a:pt x="678" y="244"/>
                    <a:pt x="678" y="244"/>
                  </a:cubicBezTo>
                  <a:cubicBezTo>
                    <a:pt x="682" y="244"/>
                    <a:pt x="682" y="243"/>
                    <a:pt x="685" y="243"/>
                  </a:cubicBezTo>
                  <a:cubicBezTo>
                    <a:pt x="685" y="243"/>
                    <a:pt x="685" y="244"/>
                    <a:pt x="686" y="245"/>
                  </a:cubicBezTo>
                  <a:cubicBezTo>
                    <a:pt x="687" y="245"/>
                    <a:pt x="688" y="245"/>
                    <a:pt x="690" y="245"/>
                  </a:cubicBezTo>
                  <a:cubicBezTo>
                    <a:pt x="690" y="245"/>
                    <a:pt x="690" y="245"/>
                    <a:pt x="690" y="245"/>
                  </a:cubicBezTo>
                  <a:cubicBezTo>
                    <a:pt x="690" y="245"/>
                    <a:pt x="690" y="245"/>
                    <a:pt x="690" y="245"/>
                  </a:cubicBezTo>
                  <a:cubicBezTo>
                    <a:pt x="691" y="245"/>
                    <a:pt x="691" y="245"/>
                    <a:pt x="692" y="245"/>
                  </a:cubicBezTo>
                  <a:cubicBezTo>
                    <a:pt x="689" y="243"/>
                    <a:pt x="689" y="242"/>
                    <a:pt x="690" y="239"/>
                  </a:cubicBezTo>
                  <a:cubicBezTo>
                    <a:pt x="686" y="239"/>
                    <a:pt x="683" y="239"/>
                    <a:pt x="680" y="238"/>
                  </a:cubicBezTo>
                  <a:cubicBezTo>
                    <a:pt x="928" y="1251"/>
                    <a:pt x="926" y="1250"/>
                    <a:pt x="925" y="1249"/>
                  </a:cubicBezTo>
                  <a:cubicBezTo>
                    <a:pt x="923" y="1250"/>
                    <a:pt x="921" y="1251"/>
                    <a:pt x="920" y="1252"/>
                  </a:cubicBezTo>
                  <a:cubicBezTo>
                    <a:pt x="920" y="1252"/>
                    <a:pt x="920" y="1252"/>
                    <a:pt x="920" y="1252"/>
                  </a:cubicBezTo>
                  <a:cubicBezTo>
                    <a:pt x="918" y="1252"/>
                    <a:pt x="918" y="1252"/>
                    <a:pt x="918" y="1252"/>
                  </a:cubicBezTo>
                  <a:cubicBezTo>
                    <a:pt x="916" y="1253"/>
                    <a:pt x="914" y="1254"/>
                    <a:pt x="913" y="1255"/>
                  </a:cubicBezTo>
                  <a:cubicBezTo>
                    <a:pt x="901" y="1260"/>
                    <a:pt x="888" y="1266"/>
                    <a:pt x="876" y="1271"/>
                  </a:cubicBezTo>
                  <a:cubicBezTo>
                    <a:pt x="874" y="1274"/>
                    <a:pt x="873" y="1276"/>
                    <a:pt x="874" y="1279"/>
                  </a:cubicBezTo>
                  <a:cubicBezTo>
                    <a:pt x="874" y="1279"/>
                    <a:pt x="875" y="1279"/>
                    <a:pt x="875" y="1279"/>
                  </a:cubicBezTo>
                  <a:cubicBezTo>
                    <a:pt x="876" y="1277"/>
                    <a:pt x="877" y="1274"/>
                    <a:pt x="879" y="1273"/>
                  </a:cubicBezTo>
                  <a:cubicBezTo>
                    <a:pt x="881" y="1273"/>
                    <a:pt x="882" y="1273"/>
                    <a:pt x="884" y="1274"/>
                  </a:cubicBezTo>
                  <a:cubicBezTo>
                    <a:pt x="885" y="1274"/>
                    <a:pt x="885" y="1274"/>
                    <a:pt x="885" y="1275"/>
                  </a:cubicBezTo>
                  <a:cubicBezTo>
                    <a:pt x="903" y="1268"/>
                    <a:pt x="920" y="1260"/>
                    <a:pt x="937" y="1252"/>
                  </a:cubicBezTo>
                  <a:cubicBezTo>
                    <a:pt x="884" y="1273"/>
                    <a:pt x="881" y="1272"/>
                    <a:pt x="880" y="1270"/>
                  </a:cubicBezTo>
                  <a:cubicBezTo>
                    <a:pt x="891" y="1270"/>
                    <a:pt x="891" y="1270"/>
                    <a:pt x="891" y="1270"/>
                  </a:cubicBezTo>
                  <a:cubicBezTo>
                    <a:pt x="890" y="1271"/>
                    <a:pt x="889" y="1272"/>
                    <a:pt x="888" y="1273"/>
                  </a:cubicBezTo>
                  <a:cubicBezTo>
                    <a:pt x="549" y="1386"/>
                    <a:pt x="549" y="1386"/>
                    <a:pt x="549" y="1386"/>
                  </a:cubicBezTo>
                  <a:cubicBezTo>
                    <a:pt x="548" y="1386"/>
                    <a:pt x="548" y="1387"/>
                    <a:pt x="547" y="1387"/>
                  </a:cubicBezTo>
                  <a:cubicBezTo>
                    <a:pt x="545" y="1388"/>
                    <a:pt x="544" y="1387"/>
                    <a:pt x="543" y="1387"/>
                  </a:cubicBezTo>
                  <a:cubicBezTo>
                    <a:pt x="542" y="1387"/>
                    <a:pt x="541" y="1387"/>
                    <a:pt x="539" y="1387"/>
                  </a:cubicBezTo>
                  <a:cubicBezTo>
                    <a:pt x="540" y="1390"/>
                    <a:pt x="541" y="1392"/>
                    <a:pt x="542" y="1394"/>
                  </a:cubicBezTo>
                  <a:cubicBezTo>
                    <a:pt x="547" y="1393"/>
                    <a:pt x="553" y="1392"/>
                    <a:pt x="558" y="1391"/>
                  </a:cubicBezTo>
                  <a:cubicBezTo>
                    <a:pt x="559" y="1390"/>
                    <a:pt x="559" y="1388"/>
                    <a:pt x="560" y="1388"/>
                  </a:cubicBezTo>
                  <a:cubicBezTo>
                    <a:pt x="564" y="1388"/>
                    <a:pt x="565" y="1389"/>
                    <a:pt x="567" y="1390"/>
                  </a:cubicBezTo>
                  <a:cubicBezTo>
                    <a:pt x="568" y="1390"/>
                    <a:pt x="570" y="1390"/>
                    <a:pt x="572" y="1389"/>
                  </a:cubicBezTo>
                  <a:cubicBezTo>
                    <a:pt x="575" y="1386"/>
                    <a:pt x="583" y="1385"/>
                    <a:pt x="586" y="1388"/>
                  </a:cubicBezTo>
                  <a:cubicBezTo>
                    <a:pt x="587" y="1388"/>
                    <a:pt x="588" y="1388"/>
                    <a:pt x="589" y="1387"/>
                  </a:cubicBezTo>
                  <a:cubicBezTo>
                    <a:pt x="591" y="1385"/>
                    <a:pt x="595" y="1384"/>
                    <a:pt x="599" y="1384"/>
                  </a:cubicBezTo>
                  <a:cubicBezTo>
                    <a:pt x="600" y="1382"/>
                    <a:pt x="600" y="1381"/>
                    <a:pt x="600" y="1379"/>
                  </a:cubicBezTo>
                  <a:cubicBezTo>
                    <a:pt x="655" y="1379"/>
                    <a:pt x="655" y="1379"/>
                    <a:pt x="655" y="1379"/>
                  </a:cubicBezTo>
                  <a:cubicBezTo>
                    <a:pt x="654" y="1380"/>
                    <a:pt x="653" y="1381"/>
                    <a:pt x="651" y="1381"/>
                  </a:cubicBezTo>
                  <a:cubicBezTo>
                    <a:pt x="654" y="1381"/>
                    <a:pt x="658" y="1381"/>
                    <a:pt x="661" y="1380"/>
                  </a:cubicBezTo>
                  <a:cubicBezTo>
                    <a:pt x="691" y="1376"/>
                    <a:pt x="720" y="1370"/>
                    <a:pt x="750" y="1363"/>
                  </a:cubicBezTo>
                  <a:cubicBezTo>
                    <a:pt x="753" y="1363"/>
                    <a:pt x="757" y="1362"/>
                    <a:pt x="761" y="1361"/>
                  </a:cubicBezTo>
                  <a:cubicBezTo>
                    <a:pt x="760" y="1361"/>
                    <a:pt x="760" y="1361"/>
                    <a:pt x="760" y="1361"/>
                  </a:cubicBezTo>
                  <a:cubicBezTo>
                    <a:pt x="764" y="1360"/>
                    <a:pt x="768" y="1360"/>
                    <a:pt x="770" y="1356"/>
                  </a:cubicBezTo>
                  <a:cubicBezTo>
                    <a:pt x="768" y="1354"/>
                    <a:pt x="767" y="1354"/>
                    <a:pt x="764" y="1355"/>
                  </a:cubicBezTo>
                  <a:cubicBezTo>
                    <a:pt x="763" y="1354"/>
                    <a:pt x="763" y="1354"/>
                    <a:pt x="763" y="1353"/>
                  </a:cubicBezTo>
                  <a:cubicBezTo>
                    <a:pt x="761" y="1354"/>
                    <a:pt x="759" y="1354"/>
                    <a:pt x="758" y="1355"/>
                  </a:cubicBezTo>
                  <a:cubicBezTo>
                    <a:pt x="758" y="1355"/>
                    <a:pt x="758" y="1355"/>
                    <a:pt x="759" y="1355"/>
                  </a:cubicBezTo>
                  <a:cubicBezTo>
                    <a:pt x="760" y="1357"/>
                    <a:pt x="759" y="1360"/>
                    <a:pt x="754" y="1359"/>
                  </a:cubicBezTo>
                  <a:cubicBezTo>
                    <a:pt x="753" y="1358"/>
                    <a:pt x="753" y="1356"/>
                    <a:pt x="754" y="1355"/>
                  </a:cubicBezTo>
                  <a:cubicBezTo>
                    <a:pt x="748" y="1357"/>
                    <a:pt x="742" y="1358"/>
                    <a:pt x="736" y="1360"/>
                  </a:cubicBezTo>
                  <a:cubicBezTo>
                    <a:pt x="688" y="1371"/>
                    <a:pt x="639" y="1375"/>
                    <a:pt x="590" y="1380"/>
                  </a:cubicBezTo>
                  <a:cubicBezTo>
                    <a:pt x="589" y="1382"/>
                    <a:pt x="588" y="1383"/>
                    <a:pt x="587" y="1384"/>
                  </a:cubicBezTo>
                  <a:cubicBezTo>
                    <a:pt x="585" y="1383"/>
                    <a:pt x="583" y="1382"/>
                    <a:pt x="582" y="1381"/>
                  </a:cubicBezTo>
                  <a:cubicBezTo>
                    <a:pt x="579" y="1382"/>
                    <a:pt x="577" y="1382"/>
                    <a:pt x="574" y="1382"/>
                  </a:cubicBezTo>
                  <a:cubicBezTo>
                    <a:pt x="574" y="1383"/>
                    <a:pt x="573" y="1385"/>
                    <a:pt x="572" y="1384"/>
                  </a:cubicBezTo>
                  <a:cubicBezTo>
                    <a:pt x="571" y="1384"/>
                    <a:pt x="571" y="1383"/>
                    <a:pt x="572" y="1383"/>
                  </a:cubicBezTo>
                  <a:cubicBezTo>
                    <a:pt x="564" y="1384"/>
                    <a:pt x="557" y="1385"/>
                    <a:pt x="549" y="1386"/>
                  </a:cubicBezTo>
                  <a:cubicBezTo>
                    <a:pt x="745" y="1360"/>
                    <a:pt x="746" y="1359"/>
                    <a:pt x="747" y="1359"/>
                  </a:cubicBezTo>
                  <a:cubicBezTo>
                    <a:pt x="748" y="1360"/>
                    <a:pt x="748" y="1360"/>
                    <a:pt x="749" y="1361"/>
                  </a:cubicBezTo>
                  <a:cubicBezTo>
                    <a:pt x="742" y="1361"/>
                    <a:pt x="742" y="1361"/>
                    <a:pt x="742" y="1361"/>
                  </a:cubicBezTo>
                  <a:cubicBezTo>
                    <a:pt x="742" y="1361"/>
                    <a:pt x="743" y="1360"/>
                    <a:pt x="743" y="1359"/>
                  </a:cubicBezTo>
                  <a:cubicBezTo>
                    <a:pt x="779" y="1380"/>
                    <a:pt x="778" y="1381"/>
                    <a:pt x="778" y="1384"/>
                  </a:cubicBezTo>
                  <a:cubicBezTo>
                    <a:pt x="780" y="1385"/>
                    <a:pt x="783" y="1386"/>
                    <a:pt x="782" y="1389"/>
                  </a:cubicBezTo>
                  <a:cubicBezTo>
                    <a:pt x="785" y="1388"/>
                    <a:pt x="785" y="1385"/>
                    <a:pt x="788" y="1386"/>
                  </a:cubicBezTo>
                  <a:cubicBezTo>
                    <a:pt x="790" y="1387"/>
                    <a:pt x="788" y="1389"/>
                    <a:pt x="789" y="1390"/>
                  </a:cubicBezTo>
                  <a:cubicBezTo>
                    <a:pt x="789" y="1390"/>
                    <a:pt x="789" y="1390"/>
                    <a:pt x="789" y="1390"/>
                  </a:cubicBezTo>
                  <a:cubicBezTo>
                    <a:pt x="791" y="1386"/>
                    <a:pt x="796" y="1389"/>
                    <a:pt x="797" y="1384"/>
                  </a:cubicBezTo>
                  <a:cubicBezTo>
                    <a:pt x="792" y="1382"/>
                    <a:pt x="784" y="1383"/>
                    <a:pt x="784" y="1378"/>
                  </a:cubicBezTo>
                  <a:cubicBezTo>
                    <a:pt x="783" y="1378"/>
                    <a:pt x="781" y="1379"/>
                    <a:pt x="780" y="1379"/>
                  </a:cubicBezTo>
                  <a:cubicBezTo>
                    <a:pt x="127" y="109"/>
                    <a:pt x="125" y="109"/>
                    <a:pt x="123" y="110"/>
                  </a:cubicBezTo>
                  <a:cubicBezTo>
                    <a:pt x="126" y="110"/>
                    <a:pt x="128" y="110"/>
                    <a:pt x="131" y="109"/>
                  </a:cubicBezTo>
                  <a:cubicBezTo>
                    <a:pt x="131" y="109"/>
                    <a:pt x="130" y="109"/>
                    <a:pt x="129" y="108"/>
                  </a:cubicBezTo>
                  <a:cubicBezTo>
                    <a:pt x="126" y="116"/>
                    <a:pt x="130" y="115"/>
                    <a:pt x="134" y="114"/>
                  </a:cubicBezTo>
                  <a:cubicBezTo>
                    <a:pt x="128" y="114"/>
                    <a:pt x="123" y="114"/>
                    <a:pt x="117" y="114"/>
                  </a:cubicBezTo>
                  <a:cubicBezTo>
                    <a:pt x="118" y="116"/>
                    <a:pt x="119" y="117"/>
                    <a:pt x="122" y="117"/>
                  </a:cubicBezTo>
                  <a:cubicBezTo>
                    <a:pt x="402" y="1381"/>
                    <a:pt x="402" y="1381"/>
                    <a:pt x="401" y="1381"/>
                  </a:cubicBezTo>
                  <a:cubicBezTo>
                    <a:pt x="403" y="1381"/>
                    <a:pt x="403" y="1381"/>
                    <a:pt x="403" y="1381"/>
                  </a:cubicBezTo>
                  <a:cubicBezTo>
                    <a:pt x="436" y="1372"/>
                    <a:pt x="469" y="1366"/>
                    <a:pt x="502" y="1364"/>
                  </a:cubicBezTo>
                  <a:cubicBezTo>
                    <a:pt x="526" y="1363"/>
                    <a:pt x="551" y="1365"/>
                    <a:pt x="575" y="1364"/>
                  </a:cubicBezTo>
                  <a:cubicBezTo>
                    <a:pt x="596" y="1364"/>
                    <a:pt x="618" y="1363"/>
                    <a:pt x="639" y="1361"/>
                  </a:cubicBezTo>
                  <a:cubicBezTo>
                    <a:pt x="639" y="1360"/>
                    <a:pt x="640" y="1360"/>
                    <a:pt x="640" y="1360"/>
                  </a:cubicBezTo>
                  <a:cubicBezTo>
                    <a:pt x="638" y="1358"/>
                    <a:pt x="634" y="1357"/>
                    <a:pt x="631" y="1355"/>
                  </a:cubicBezTo>
                  <a:cubicBezTo>
                    <a:pt x="628" y="1355"/>
                    <a:pt x="624" y="1355"/>
                    <a:pt x="620" y="1356"/>
                  </a:cubicBezTo>
                  <a:cubicBezTo>
                    <a:pt x="620" y="1357"/>
                    <a:pt x="622" y="1358"/>
                    <a:pt x="623" y="1359"/>
                  </a:cubicBezTo>
                  <a:cubicBezTo>
                    <a:pt x="623" y="1360"/>
                    <a:pt x="622" y="1361"/>
                    <a:pt x="622" y="1362"/>
                  </a:cubicBezTo>
                  <a:cubicBezTo>
                    <a:pt x="617" y="1362"/>
                    <a:pt x="617" y="1362"/>
                    <a:pt x="617" y="1362"/>
                  </a:cubicBezTo>
                  <a:cubicBezTo>
                    <a:pt x="617" y="1361"/>
                    <a:pt x="617" y="1359"/>
                    <a:pt x="618" y="1358"/>
                  </a:cubicBezTo>
                  <a:cubicBezTo>
                    <a:pt x="615" y="1358"/>
                    <a:pt x="613" y="1358"/>
                    <a:pt x="611" y="1357"/>
                  </a:cubicBezTo>
                  <a:cubicBezTo>
                    <a:pt x="613" y="1360"/>
                    <a:pt x="610" y="1363"/>
                    <a:pt x="606" y="1361"/>
                  </a:cubicBezTo>
                  <a:cubicBezTo>
                    <a:pt x="604" y="1358"/>
                    <a:pt x="609" y="1358"/>
                    <a:pt x="611" y="1356"/>
                  </a:cubicBezTo>
                  <a:cubicBezTo>
                    <a:pt x="602" y="1357"/>
                    <a:pt x="593" y="1357"/>
                    <a:pt x="584" y="1357"/>
                  </a:cubicBezTo>
                  <a:cubicBezTo>
                    <a:pt x="586" y="1359"/>
                    <a:pt x="589" y="1360"/>
                    <a:pt x="590" y="1362"/>
                  </a:cubicBezTo>
                  <a:cubicBezTo>
                    <a:pt x="576" y="1362"/>
                    <a:pt x="576" y="1362"/>
                    <a:pt x="576" y="1362"/>
                  </a:cubicBezTo>
                  <a:cubicBezTo>
                    <a:pt x="577" y="1361"/>
                    <a:pt x="578" y="1359"/>
                    <a:pt x="579" y="1357"/>
                  </a:cubicBezTo>
                  <a:cubicBezTo>
                    <a:pt x="571" y="1358"/>
                    <a:pt x="564" y="1358"/>
                    <a:pt x="556" y="1358"/>
                  </a:cubicBezTo>
                  <a:cubicBezTo>
                    <a:pt x="556" y="1358"/>
                    <a:pt x="555" y="1359"/>
                    <a:pt x="555" y="1359"/>
                  </a:cubicBezTo>
                  <a:cubicBezTo>
                    <a:pt x="554" y="1359"/>
                    <a:pt x="554" y="1358"/>
                    <a:pt x="553" y="1358"/>
                  </a:cubicBezTo>
                  <a:cubicBezTo>
                    <a:pt x="545" y="1358"/>
                    <a:pt x="538" y="1358"/>
                    <a:pt x="530" y="1358"/>
                  </a:cubicBezTo>
                  <a:cubicBezTo>
                    <a:pt x="524" y="1357"/>
                    <a:pt x="517" y="1358"/>
                    <a:pt x="511" y="1358"/>
                  </a:cubicBezTo>
                  <a:cubicBezTo>
                    <a:pt x="511" y="1358"/>
                    <a:pt x="511" y="1359"/>
                    <a:pt x="511" y="1359"/>
                  </a:cubicBezTo>
                  <a:cubicBezTo>
                    <a:pt x="514" y="1361"/>
                    <a:pt x="519" y="1356"/>
                    <a:pt x="525" y="1359"/>
                  </a:cubicBezTo>
                  <a:cubicBezTo>
                    <a:pt x="527" y="1360"/>
                    <a:pt x="526" y="1361"/>
                    <a:pt x="525" y="1363"/>
                  </a:cubicBezTo>
                  <a:cubicBezTo>
                    <a:pt x="492" y="1363"/>
                    <a:pt x="492" y="1363"/>
                    <a:pt x="492" y="1363"/>
                  </a:cubicBezTo>
                  <a:cubicBezTo>
                    <a:pt x="489" y="1362"/>
                    <a:pt x="487" y="1360"/>
                    <a:pt x="484" y="1359"/>
                  </a:cubicBezTo>
                  <a:cubicBezTo>
                    <a:pt x="438" y="1364"/>
                    <a:pt x="392" y="1375"/>
                    <a:pt x="349" y="1393"/>
                  </a:cubicBezTo>
                  <a:cubicBezTo>
                    <a:pt x="349" y="1395"/>
                    <a:pt x="348" y="1396"/>
                    <a:pt x="346" y="1397"/>
                  </a:cubicBezTo>
                  <a:cubicBezTo>
                    <a:pt x="347" y="1396"/>
                    <a:pt x="347" y="1395"/>
                    <a:pt x="346" y="1394"/>
                  </a:cubicBezTo>
                  <a:cubicBezTo>
                    <a:pt x="343" y="1395"/>
                    <a:pt x="340" y="1397"/>
                    <a:pt x="336" y="1398"/>
                  </a:cubicBezTo>
                  <a:cubicBezTo>
                    <a:pt x="332" y="1400"/>
                    <a:pt x="335" y="1406"/>
                    <a:pt x="339" y="1404"/>
                  </a:cubicBezTo>
                  <a:cubicBezTo>
                    <a:pt x="359" y="1395"/>
                    <a:pt x="381" y="1388"/>
                    <a:pt x="402" y="1381"/>
                  </a:cubicBezTo>
                  <a:cubicBezTo>
                    <a:pt x="402" y="1381"/>
                    <a:pt x="402" y="1381"/>
                    <a:pt x="402" y="1381"/>
                  </a:cubicBezTo>
                  <a:cubicBezTo>
                    <a:pt x="600" y="1361"/>
                    <a:pt x="603" y="1361"/>
                    <a:pt x="604" y="1362"/>
                  </a:cubicBezTo>
                  <a:cubicBezTo>
                    <a:pt x="596" y="1362"/>
                    <a:pt x="596" y="1362"/>
                    <a:pt x="596" y="1362"/>
                  </a:cubicBezTo>
                  <a:cubicBezTo>
                    <a:pt x="597" y="1361"/>
                    <a:pt x="599" y="1361"/>
                    <a:pt x="600" y="1359"/>
                  </a:cubicBezTo>
                  <a:cubicBezTo>
                    <a:pt x="704" y="1387"/>
                    <a:pt x="703" y="1385"/>
                    <a:pt x="700" y="1385"/>
                  </a:cubicBezTo>
                  <a:cubicBezTo>
                    <a:pt x="700" y="1384"/>
                    <a:pt x="701" y="1383"/>
                    <a:pt x="701" y="1382"/>
                  </a:cubicBezTo>
                  <a:cubicBezTo>
                    <a:pt x="701" y="1382"/>
                    <a:pt x="700" y="1382"/>
                    <a:pt x="700" y="1383"/>
                  </a:cubicBezTo>
                  <a:cubicBezTo>
                    <a:pt x="700" y="1383"/>
                    <a:pt x="700" y="1384"/>
                    <a:pt x="699" y="1385"/>
                  </a:cubicBezTo>
                  <a:cubicBezTo>
                    <a:pt x="696" y="1385"/>
                    <a:pt x="695" y="1386"/>
                    <a:pt x="692" y="1386"/>
                  </a:cubicBezTo>
                  <a:cubicBezTo>
                    <a:pt x="691" y="1386"/>
                    <a:pt x="691" y="1385"/>
                    <a:pt x="691" y="1384"/>
                  </a:cubicBezTo>
                  <a:cubicBezTo>
                    <a:pt x="682" y="1386"/>
                    <a:pt x="673" y="1387"/>
                    <a:pt x="664" y="1388"/>
                  </a:cubicBezTo>
                  <a:cubicBezTo>
                    <a:pt x="662" y="1392"/>
                    <a:pt x="665" y="1391"/>
                    <a:pt x="667" y="1393"/>
                  </a:cubicBezTo>
                  <a:cubicBezTo>
                    <a:pt x="667" y="1393"/>
                    <a:pt x="667" y="1394"/>
                    <a:pt x="667" y="1394"/>
                  </a:cubicBezTo>
                  <a:cubicBezTo>
                    <a:pt x="680" y="1393"/>
                    <a:pt x="693" y="1391"/>
                    <a:pt x="706" y="1388"/>
                  </a:cubicBezTo>
                  <a:cubicBezTo>
                    <a:pt x="818" y="1359"/>
                    <a:pt x="818" y="1357"/>
                    <a:pt x="820" y="1356"/>
                  </a:cubicBezTo>
                  <a:cubicBezTo>
                    <a:pt x="817" y="1358"/>
                    <a:pt x="814" y="1359"/>
                    <a:pt x="810" y="1360"/>
                  </a:cubicBezTo>
                  <a:cubicBezTo>
                    <a:pt x="797" y="1360"/>
                    <a:pt x="797" y="1360"/>
                    <a:pt x="797" y="1360"/>
                  </a:cubicBezTo>
                  <a:cubicBezTo>
                    <a:pt x="772" y="1367"/>
                    <a:pt x="747" y="1373"/>
                    <a:pt x="721" y="1378"/>
                  </a:cubicBezTo>
                  <a:cubicBezTo>
                    <a:pt x="737" y="1378"/>
                    <a:pt x="737" y="1378"/>
                    <a:pt x="737" y="1378"/>
                  </a:cubicBezTo>
                  <a:cubicBezTo>
                    <a:pt x="738" y="1379"/>
                    <a:pt x="739" y="1380"/>
                    <a:pt x="739" y="1381"/>
                  </a:cubicBezTo>
                  <a:cubicBezTo>
                    <a:pt x="741" y="1381"/>
                    <a:pt x="743" y="1381"/>
                    <a:pt x="745" y="1380"/>
                  </a:cubicBezTo>
                  <a:cubicBezTo>
                    <a:pt x="745" y="1380"/>
                    <a:pt x="745" y="1379"/>
                    <a:pt x="745" y="1379"/>
                  </a:cubicBezTo>
                  <a:cubicBezTo>
                    <a:pt x="745" y="1378"/>
                    <a:pt x="744" y="1378"/>
                    <a:pt x="744" y="1378"/>
                  </a:cubicBezTo>
                  <a:cubicBezTo>
                    <a:pt x="749" y="1378"/>
                    <a:pt x="749" y="1378"/>
                    <a:pt x="749" y="1378"/>
                  </a:cubicBezTo>
                  <a:cubicBezTo>
                    <a:pt x="749" y="1378"/>
                    <a:pt x="749" y="1379"/>
                    <a:pt x="750" y="1379"/>
                  </a:cubicBezTo>
                  <a:cubicBezTo>
                    <a:pt x="774" y="1374"/>
                    <a:pt x="799" y="1367"/>
                    <a:pt x="823" y="1360"/>
                  </a:cubicBezTo>
                  <a:cubicBezTo>
                    <a:pt x="723" y="1385"/>
                    <a:pt x="727" y="1384"/>
                    <a:pt x="731" y="1383"/>
                  </a:cubicBezTo>
                  <a:cubicBezTo>
                    <a:pt x="731" y="1381"/>
                    <a:pt x="734" y="1379"/>
                    <a:pt x="732" y="1379"/>
                  </a:cubicBezTo>
                  <a:cubicBezTo>
                    <a:pt x="728" y="1382"/>
                    <a:pt x="723" y="1381"/>
                    <a:pt x="720" y="1385"/>
                  </a:cubicBezTo>
                  <a:cubicBezTo>
                    <a:pt x="717" y="1385"/>
                    <a:pt x="719" y="1383"/>
                    <a:pt x="716" y="1383"/>
                  </a:cubicBezTo>
                  <a:cubicBezTo>
                    <a:pt x="716" y="1385"/>
                    <a:pt x="715" y="1386"/>
                    <a:pt x="714" y="1387"/>
                  </a:cubicBezTo>
                  <a:cubicBezTo>
                    <a:pt x="716" y="1386"/>
                    <a:pt x="718" y="1386"/>
                    <a:pt x="720" y="1386"/>
                  </a:cubicBezTo>
                  <a:cubicBezTo>
                    <a:pt x="485" y="72"/>
                    <a:pt x="484" y="73"/>
                    <a:pt x="478" y="73"/>
                  </a:cubicBezTo>
                  <a:cubicBezTo>
                    <a:pt x="477" y="71"/>
                    <a:pt x="476" y="69"/>
                    <a:pt x="475" y="67"/>
                  </a:cubicBezTo>
                  <a:cubicBezTo>
                    <a:pt x="474" y="67"/>
                    <a:pt x="472" y="67"/>
                    <a:pt x="471" y="67"/>
                  </a:cubicBezTo>
                  <a:cubicBezTo>
                    <a:pt x="472" y="69"/>
                    <a:pt x="474" y="70"/>
                    <a:pt x="474" y="73"/>
                  </a:cubicBezTo>
                  <a:cubicBezTo>
                    <a:pt x="481" y="74"/>
                    <a:pt x="488" y="74"/>
                    <a:pt x="494" y="74"/>
                  </a:cubicBezTo>
                  <a:cubicBezTo>
                    <a:pt x="494" y="73"/>
                    <a:pt x="493" y="72"/>
                    <a:pt x="493" y="70"/>
                  </a:cubicBezTo>
                  <a:cubicBezTo>
                    <a:pt x="497" y="70"/>
                    <a:pt x="500" y="68"/>
                    <a:pt x="503" y="67"/>
                  </a:cubicBezTo>
                  <a:cubicBezTo>
                    <a:pt x="498" y="67"/>
                    <a:pt x="493" y="67"/>
                    <a:pt x="488" y="67"/>
                  </a:cubicBezTo>
                  <a:cubicBezTo>
                    <a:pt x="488" y="67"/>
                    <a:pt x="488" y="68"/>
                    <a:pt x="488" y="68"/>
                  </a:cubicBezTo>
                  <a:cubicBezTo>
                    <a:pt x="491" y="69"/>
                    <a:pt x="490" y="67"/>
                    <a:pt x="493" y="68"/>
                  </a:cubicBezTo>
                  <a:cubicBezTo>
                    <a:pt x="495" y="72"/>
                    <a:pt x="489" y="70"/>
                    <a:pt x="490" y="73"/>
                  </a:cubicBezTo>
                  <a:cubicBezTo>
                    <a:pt x="848" y="1360"/>
                    <a:pt x="848" y="1360"/>
                    <a:pt x="848" y="1360"/>
                  </a:cubicBezTo>
                  <a:cubicBezTo>
                    <a:pt x="827" y="1366"/>
                    <a:pt x="806" y="1372"/>
                    <a:pt x="785" y="1378"/>
                  </a:cubicBezTo>
                  <a:cubicBezTo>
                    <a:pt x="813" y="1378"/>
                    <a:pt x="813" y="1378"/>
                    <a:pt x="813" y="1378"/>
                  </a:cubicBezTo>
                  <a:cubicBezTo>
                    <a:pt x="813" y="1378"/>
                    <a:pt x="813" y="1378"/>
                    <a:pt x="813" y="1378"/>
                  </a:cubicBezTo>
                  <a:cubicBezTo>
                    <a:pt x="813" y="1378"/>
                    <a:pt x="813" y="1378"/>
                    <a:pt x="813" y="1378"/>
                  </a:cubicBezTo>
                  <a:cubicBezTo>
                    <a:pt x="827" y="1377"/>
                    <a:pt x="827" y="1377"/>
                    <a:pt x="827" y="1377"/>
                  </a:cubicBezTo>
                  <a:cubicBezTo>
                    <a:pt x="837" y="1374"/>
                    <a:pt x="848" y="1371"/>
                    <a:pt x="858" y="1368"/>
                  </a:cubicBezTo>
                  <a:cubicBezTo>
                    <a:pt x="849" y="1371"/>
                    <a:pt x="841" y="1374"/>
                    <a:pt x="833" y="1377"/>
                  </a:cubicBezTo>
                  <a:cubicBezTo>
                    <a:pt x="852" y="1377"/>
                    <a:pt x="852" y="1377"/>
                    <a:pt x="852" y="1377"/>
                  </a:cubicBezTo>
                  <a:cubicBezTo>
                    <a:pt x="868" y="1371"/>
                    <a:pt x="883" y="1365"/>
                    <a:pt x="899" y="1359"/>
                  </a:cubicBezTo>
                  <a:cubicBezTo>
                    <a:pt x="782" y="1351"/>
                    <a:pt x="784" y="1352"/>
                    <a:pt x="785" y="1355"/>
                  </a:cubicBezTo>
                  <a:cubicBezTo>
                    <a:pt x="786" y="1354"/>
                    <a:pt x="787" y="1354"/>
                    <a:pt x="787" y="1354"/>
                  </a:cubicBezTo>
                  <a:cubicBezTo>
                    <a:pt x="786" y="1352"/>
                    <a:pt x="784" y="1350"/>
                    <a:pt x="784" y="1348"/>
                  </a:cubicBezTo>
                  <a:cubicBezTo>
                    <a:pt x="782" y="1348"/>
                    <a:pt x="781" y="1349"/>
                    <a:pt x="779" y="1349"/>
                  </a:cubicBezTo>
                  <a:cubicBezTo>
                    <a:pt x="830" y="1386"/>
                    <a:pt x="831" y="1385"/>
                    <a:pt x="832" y="1385"/>
                  </a:cubicBezTo>
                  <a:cubicBezTo>
                    <a:pt x="832" y="1385"/>
                    <a:pt x="831" y="1384"/>
                    <a:pt x="831" y="1384"/>
                  </a:cubicBezTo>
                  <a:cubicBezTo>
                    <a:pt x="830" y="1385"/>
                    <a:pt x="829" y="1385"/>
                    <a:pt x="829" y="1386"/>
                  </a:cubicBezTo>
                  <a:cubicBezTo>
                    <a:pt x="556" y="36"/>
                    <a:pt x="562" y="37"/>
                    <a:pt x="568" y="37"/>
                  </a:cubicBezTo>
                  <a:cubicBezTo>
                    <a:pt x="570" y="38"/>
                    <a:pt x="571" y="37"/>
                    <a:pt x="571" y="36"/>
                  </a:cubicBezTo>
                  <a:cubicBezTo>
                    <a:pt x="571" y="36"/>
                    <a:pt x="570" y="36"/>
                    <a:pt x="569" y="36"/>
                  </a:cubicBezTo>
                  <a:cubicBezTo>
                    <a:pt x="569" y="34"/>
                    <a:pt x="569" y="32"/>
                    <a:pt x="569" y="31"/>
                  </a:cubicBezTo>
                  <a:cubicBezTo>
                    <a:pt x="569" y="31"/>
                    <a:pt x="569" y="31"/>
                    <a:pt x="569" y="31"/>
                  </a:cubicBezTo>
                  <a:cubicBezTo>
                    <a:pt x="566" y="30"/>
                    <a:pt x="563" y="30"/>
                    <a:pt x="560" y="30"/>
                  </a:cubicBezTo>
                  <a:cubicBezTo>
                    <a:pt x="560" y="31"/>
                    <a:pt x="559" y="32"/>
                    <a:pt x="559" y="33"/>
                  </a:cubicBezTo>
                  <a:cubicBezTo>
                    <a:pt x="554" y="32"/>
                    <a:pt x="551" y="32"/>
                    <a:pt x="550" y="35"/>
                  </a:cubicBezTo>
                  <a:cubicBezTo>
                    <a:pt x="803" y="1323"/>
                    <a:pt x="803" y="1322"/>
                    <a:pt x="803" y="1322"/>
                  </a:cubicBezTo>
                  <a:cubicBezTo>
                    <a:pt x="806" y="1322"/>
                    <a:pt x="807" y="1321"/>
                    <a:pt x="809" y="1317"/>
                  </a:cubicBezTo>
                  <a:cubicBezTo>
                    <a:pt x="777" y="1328"/>
                    <a:pt x="745" y="1336"/>
                    <a:pt x="712" y="1343"/>
                  </a:cubicBezTo>
                  <a:cubicBezTo>
                    <a:pt x="713" y="1345"/>
                    <a:pt x="715" y="1347"/>
                    <a:pt x="716" y="1349"/>
                  </a:cubicBezTo>
                  <a:cubicBezTo>
                    <a:pt x="718" y="1349"/>
                    <a:pt x="720" y="1348"/>
                    <a:pt x="721" y="1348"/>
                  </a:cubicBezTo>
                  <a:cubicBezTo>
                    <a:pt x="721" y="1346"/>
                    <a:pt x="721" y="1344"/>
                    <a:pt x="723" y="1343"/>
                  </a:cubicBezTo>
                  <a:cubicBezTo>
                    <a:pt x="731" y="1343"/>
                    <a:pt x="731" y="1343"/>
                    <a:pt x="731" y="1343"/>
                  </a:cubicBezTo>
                  <a:cubicBezTo>
                    <a:pt x="731" y="1344"/>
                    <a:pt x="731" y="1345"/>
                    <a:pt x="730" y="1346"/>
                  </a:cubicBezTo>
                  <a:cubicBezTo>
                    <a:pt x="735" y="1345"/>
                    <a:pt x="740" y="1344"/>
                    <a:pt x="745" y="1343"/>
                  </a:cubicBezTo>
                  <a:cubicBezTo>
                    <a:pt x="745" y="1343"/>
                    <a:pt x="745" y="1343"/>
                    <a:pt x="745" y="1342"/>
                  </a:cubicBezTo>
                  <a:cubicBezTo>
                    <a:pt x="746" y="1342"/>
                    <a:pt x="746" y="1342"/>
                    <a:pt x="746" y="1342"/>
                  </a:cubicBezTo>
                  <a:cubicBezTo>
                    <a:pt x="768" y="1337"/>
                    <a:pt x="789" y="1331"/>
                    <a:pt x="811" y="1325"/>
                  </a:cubicBezTo>
                  <a:cubicBezTo>
                    <a:pt x="717" y="1345"/>
                    <a:pt x="717" y="1344"/>
                    <a:pt x="715" y="1343"/>
                  </a:cubicBezTo>
                  <a:cubicBezTo>
                    <a:pt x="715" y="1343"/>
                    <a:pt x="715" y="1343"/>
                    <a:pt x="715" y="1343"/>
                  </a:cubicBezTo>
                  <a:cubicBezTo>
                    <a:pt x="721" y="1343"/>
                    <a:pt x="721" y="1343"/>
                    <a:pt x="721" y="1343"/>
                  </a:cubicBezTo>
                  <a:cubicBezTo>
                    <a:pt x="721" y="1343"/>
                    <a:pt x="721" y="1344"/>
                    <a:pt x="720" y="1345"/>
                  </a:cubicBezTo>
                  <a:cubicBezTo>
                    <a:pt x="794" y="1322"/>
                    <a:pt x="798" y="1322"/>
                    <a:pt x="800" y="1325"/>
                  </a:cubicBezTo>
                  <a:cubicBezTo>
                    <a:pt x="611" y="78"/>
                    <a:pt x="611" y="78"/>
                    <a:pt x="612" y="78"/>
                  </a:cubicBezTo>
                  <a:cubicBezTo>
                    <a:pt x="603" y="76"/>
                    <a:pt x="594" y="75"/>
                    <a:pt x="584" y="74"/>
                  </a:cubicBezTo>
                  <a:cubicBezTo>
                    <a:pt x="584" y="75"/>
                    <a:pt x="584" y="76"/>
                    <a:pt x="583" y="76"/>
                  </a:cubicBezTo>
                  <a:cubicBezTo>
                    <a:pt x="582" y="76"/>
                    <a:pt x="581" y="76"/>
                    <a:pt x="580" y="76"/>
                  </a:cubicBezTo>
                  <a:cubicBezTo>
                    <a:pt x="579" y="75"/>
                    <a:pt x="579" y="74"/>
                    <a:pt x="579" y="73"/>
                  </a:cubicBezTo>
                  <a:cubicBezTo>
                    <a:pt x="579" y="73"/>
                    <a:pt x="579" y="73"/>
                    <a:pt x="578" y="73"/>
                  </a:cubicBezTo>
                  <a:cubicBezTo>
                    <a:pt x="578" y="76"/>
                    <a:pt x="576" y="78"/>
                    <a:pt x="573" y="79"/>
                  </a:cubicBezTo>
                  <a:cubicBezTo>
                    <a:pt x="570" y="79"/>
                    <a:pt x="570" y="79"/>
                    <a:pt x="570" y="79"/>
                  </a:cubicBezTo>
                  <a:cubicBezTo>
                    <a:pt x="594" y="81"/>
                    <a:pt x="617" y="85"/>
                    <a:pt x="641" y="90"/>
                  </a:cubicBezTo>
                  <a:cubicBezTo>
                    <a:pt x="645" y="90"/>
                    <a:pt x="646" y="84"/>
                    <a:pt x="642" y="83"/>
                  </a:cubicBezTo>
                  <a:cubicBezTo>
                    <a:pt x="634" y="81"/>
                    <a:pt x="625" y="80"/>
                    <a:pt x="617" y="78"/>
                  </a:cubicBezTo>
                  <a:cubicBezTo>
                    <a:pt x="500" y="72"/>
                    <a:pt x="500" y="73"/>
                    <a:pt x="499" y="74"/>
                  </a:cubicBezTo>
                  <a:cubicBezTo>
                    <a:pt x="507" y="74"/>
                    <a:pt x="514" y="74"/>
                    <a:pt x="521" y="75"/>
                  </a:cubicBezTo>
                  <a:cubicBezTo>
                    <a:pt x="521" y="75"/>
                    <a:pt x="521" y="74"/>
                    <a:pt x="521" y="74"/>
                  </a:cubicBezTo>
                  <a:cubicBezTo>
                    <a:pt x="523" y="74"/>
                    <a:pt x="524" y="74"/>
                    <a:pt x="525" y="75"/>
                  </a:cubicBezTo>
                  <a:cubicBezTo>
                    <a:pt x="528" y="75"/>
                    <a:pt x="532" y="75"/>
                    <a:pt x="535" y="76"/>
                  </a:cubicBezTo>
                  <a:cubicBezTo>
                    <a:pt x="535" y="74"/>
                    <a:pt x="536" y="71"/>
                    <a:pt x="538" y="69"/>
                  </a:cubicBezTo>
                  <a:cubicBezTo>
                    <a:pt x="538" y="69"/>
                    <a:pt x="538" y="69"/>
                    <a:pt x="538" y="69"/>
                  </a:cubicBezTo>
                  <a:cubicBezTo>
                    <a:pt x="535" y="69"/>
                    <a:pt x="532" y="69"/>
                    <a:pt x="529" y="69"/>
                  </a:cubicBezTo>
                  <a:cubicBezTo>
                    <a:pt x="529" y="69"/>
                    <a:pt x="529" y="69"/>
                    <a:pt x="529" y="69"/>
                  </a:cubicBezTo>
                  <a:cubicBezTo>
                    <a:pt x="530" y="72"/>
                    <a:pt x="528" y="72"/>
                    <a:pt x="528" y="74"/>
                  </a:cubicBezTo>
                  <a:cubicBezTo>
                    <a:pt x="522" y="75"/>
                    <a:pt x="520" y="73"/>
                    <a:pt x="521" y="68"/>
                  </a:cubicBezTo>
                  <a:cubicBezTo>
                    <a:pt x="515" y="68"/>
                    <a:pt x="510" y="68"/>
                    <a:pt x="504" y="67"/>
                  </a:cubicBezTo>
                  <a:cubicBezTo>
                    <a:pt x="506" y="69"/>
                    <a:pt x="504" y="72"/>
                    <a:pt x="504" y="74"/>
                  </a:cubicBezTo>
                  <a:cubicBezTo>
                    <a:pt x="500" y="74"/>
                    <a:pt x="502" y="71"/>
                    <a:pt x="500" y="71"/>
                  </a:cubicBezTo>
                  <a:cubicBezTo>
                    <a:pt x="1042" y="1312"/>
                    <a:pt x="1041" y="1312"/>
                    <a:pt x="1040" y="1312"/>
                  </a:cubicBezTo>
                  <a:cubicBezTo>
                    <a:pt x="1039" y="1314"/>
                    <a:pt x="1039" y="1317"/>
                    <a:pt x="1040" y="1319"/>
                  </a:cubicBezTo>
                  <a:cubicBezTo>
                    <a:pt x="1041" y="1319"/>
                    <a:pt x="1042" y="1319"/>
                    <a:pt x="1043" y="1318"/>
                  </a:cubicBezTo>
                  <a:cubicBezTo>
                    <a:pt x="1048" y="1318"/>
                    <a:pt x="1047" y="1311"/>
                    <a:pt x="1043" y="1312"/>
                  </a:cubicBezTo>
                  <a:cubicBezTo>
                    <a:pt x="560" y="1429"/>
                    <a:pt x="549" y="1431"/>
                    <a:pt x="539" y="1434"/>
                  </a:cubicBezTo>
                  <a:cubicBezTo>
                    <a:pt x="539" y="1434"/>
                    <a:pt x="539" y="1434"/>
                    <a:pt x="539" y="1434"/>
                  </a:cubicBezTo>
                  <a:cubicBezTo>
                    <a:pt x="538" y="1434"/>
                    <a:pt x="538" y="1434"/>
                    <a:pt x="538" y="1434"/>
                  </a:cubicBezTo>
                  <a:cubicBezTo>
                    <a:pt x="515" y="1440"/>
                    <a:pt x="491" y="1446"/>
                    <a:pt x="468" y="1452"/>
                  </a:cubicBezTo>
                  <a:cubicBezTo>
                    <a:pt x="476" y="1452"/>
                    <a:pt x="476" y="1452"/>
                    <a:pt x="476" y="1452"/>
                  </a:cubicBezTo>
                  <a:cubicBezTo>
                    <a:pt x="477" y="1453"/>
                    <a:pt x="478" y="1455"/>
                    <a:pt x="479" y="1456"/>
                  </a:cubicBezTo>
                  <a:cubicBezTo>
                    <a:pt x="484" y="1455"/>
                    <a:pt x="488" y="1453"/>
                    <a:pt x="493" y="1452"/>
                  </a:cubicBezTo>
                  <a:cubicBezTo>
                    <a:pt x="493" y="1452"/>
                    <a:pt x="493" y="1452"/>
                    <a:pt x="494" y="1452"/>
                  </a:cubicBezTo>
                  <a:cubicBezTo>
                    <a:pt x="496" y="1452"/>
                    <a:pt x="496" y="1452"/>
                    <a:pt x="496" y="1452"/>
                  </a:cubicBezTo>
                  <a:cubicBezTo>
                    <a:pt x="522" y="1445"/>
                    <a:pt x="549" y="1438"/>
                    <a:pt x="576" y="1432"/>
                  </a:cubicBezTo>
                  <a:cubicBezTo>
                    <a:pt x="575" y="1430"/>
                    <a:pt x="573" y="1428"/>
                    <a:pt x="571" y="1426"/>
                  </a:cubicBezTo>
                  <a:cubicBezTo>
                    <a:pt x="555" y="1434"/>
                    <a:pt x="555" y="1434"/>
                    <a:pt x="555" y="1434"/>
                  </a:cubicBezTo>
                  <a:cubicBezTo>
                    <a:pt x="555" y="1432"/>
                    <a:pt x="556" y="1430"/>
                    <a:pt x="558" y="1429"/>
                  </a:cubicBezTo>
                  <a:cubicBezTo>
                    <a:pt x="561" y="1431"/>
                    <a:pt x="562" y="1432"/>
                    <a:pt x="566" y="1430"/>
                  </a:cubicBezTo>
                  <a:cubicBezTo>
                    <a:pt x="566" y="1431"/>
                    <a:pt x="566" y="1432"/>
                    <a:pt x="567" y="1434"/>
                  </a:cubicBezTo>
                  <a:cubicBezTo>
                    <a:pt x="592" y="1405"/>
                    <a:pt x="623" y="1401"/>
                    <a:pt x="654" y="1396"/>
                  </a:cubicBezTo>
                  <a:cubicBezTo>
                    <a:pt x="655" y="1395"/>
                    <a:pt x="658" y="1396"/>
                    <a:pt x="658" y="1393"/>
                  </a:cubicBezTo>
                  <a:cubicBezTo>
                    <a:pt x="655" y="1394"/>
                    <a:pt x="656" y="1392"/>
                    <a:pt x="654" y="1391"/>
                  </a:cubicBezTo>
                  <a:cubicBezTo>
                    <a:pt x="654" y="1390"/>
                    <a:pt x="654" y="1390"/>
                    <a:pt x="654" y="1390"/>
                  </a:cubicBezTo>
                  <a:cubicBezTo>
                    <a:pt x="646" y="1391"/>
                    <a:pt x="637" y="1392"/>
                    <a:pt x="629" y="1394"/>
                  </a:cubicBezTo>
                  <a:cubicBezTo>
                    <a:pt x="627" y="1395"/>
                    <a:pt x="626" y="1396"/>
                    <a:pt x="625" y="1398"/>
                  </a:cubicBezTo>
                  <a:cubicBezTo>
                    <a:pt x="610" y="1398"/>
                    <a:pt x="610" y="1398"/>
                    <a:pt x="610" y="1398"/>
                  </a:cubicBezTo>
                  <a:cubicBezTo>
                    <a:pt x="611" y="1397"/>
                    <a:pt x="612" y="1396"/>
                    <a:pt x="613" y="1396"/>
                  </a:cubicBezTo>
                  <a:cubicBezTo>
                    <a:pt x="594" y="1399"/>
                    <a:pt x="575" y="1402"/>
                    <a:pt x="555" y="1406"/>
                  </a:cubicBezTo>
                  <a:cubicBezTo>
                    <a:pt x="531" y="1412"/>
                    <a:pt x="506" y="1418"/>
                    <a:pt x="482" y="1425"/>
                  </a:cubicBezTo>
                  <a:cubicBezTo>
                    <a:pt x="486" y="1426"/>
                    <a:pt x="490" y="1427"/>
                    <a:pt x="493" y="1429"/>
                  </a:cubicBezTo>
                  <a:cubicBezTo>
                    <a:pt x="499" y="1428"/>
                    <a:pt x="504" y="1426"/>
                    <a:pt x="510" y="1425"/>
                  </a:cubicBezTo>
                  <a:cubicBezTo>
                    <a:pt x="509" y="1424"/>
                    <a:pt x="509" y="1423"/>
                    <a:pt x="507" y="1423"/>
                  </a:cubicBezTo>
                  <a:cubicBezTo>
                    <a:pt x="509" y="1418"/>
                    <a:pt x="514" y="1417"/>
                    <a:pt x="519" y="1416"/>
                  </a:cubicBezTo>
                  <a:cubicBezTo>
                    <a:pt x="520" y="1416"/>
                    <a:pt x="522" y="1420"/>
                    <a:pt x="524" y="1418"/>
                  </a:cubicBezTo>
                  <a:cubicBezTo>
                    <a:pt x="523" y="1418"/>
                    <a:pt x="523" y="1417"/>
                    <a:pt x="522" y="1416"/>
                  </a:cubicBezTo>
                  <a:cubicBezTo>
                    <a:pt x="528" y="1416"/>
                    <a:pt x="528" y="1416"/>
                    <a:pt x="528" y="1416"/>
                  </a:cubicBezTo>
                  <a:cubicBezTo>
                    <a:pt x="528" y="1416"/>
                    <a:pt x="528" y="1417"/>
                    <a:pt x="527" y="1417"/>
                  </a:cubicBezTo>
                  <a:cubicBezTo>
                    <a:pt x="530" y="1419"/>
                    <a:pt x="530" y="1418"/>
                    <a:pt x="534" y="1418"/>
                  </a:cubicBezTo>
                  <a:cubicBezTo>
                    <a:pt x="534" y="1418"/>
                    <a:pt x="534" y="1418"/>
                    <a:pt x="534" y="1418"/>
                  </a:cubicBezTo>
                  <a:cubicBezTo>
                    <a:pt x="535" y="1418"/>
                    <a:pt x="536" y="1418"/>
                    <a:pt x="537" y="1418"/>
                  </a:cubicBezTo>
                  <a:cubicBezTo>
                    <a:pt x="537" y="1417"/>
                    <a:pt x="538" y="1416"/>
                    <a:pt x="538" y="1416"/>
                  </a:cubicBezTo>
                  <a:cubicBezTo>
                    <a:pt x="542" y="1416"/>
                    <a:pt x="542" y="1416"/>
                    <a:pt x="542" y="1416"/>
                  </a:cubicBezTo>
                  <a:cubicBezTo>
                    <a:pt x="542" y="1416"/>
                    <a:pt x="542" y="1416"/>
                    <a:pt x="542" y="1417"/>
                  </a:cubicBezTo>
                  <a:cubicBezTo>
                    <a:pt x="548" y="1415"/>
                    <a:pt x="554" y="1414"/>
                    <a:pt x="561" y="1412"/>
                  </a:cubicBezTo>
                  <a:cubicBezTo>
                    <a:pt x="437" y="1416"/>
                    <a:pt x="437" y="1416"/>
                    <a:pt x="437" y="1416"/>
                  </a:cubicBezTo>
                  <a:cubicBezTo>
                    <a:pt x="463" y="1409"/>
                    <a:pt x="489" y="1403"/>
                    <a:pt x="515" y="1398"/>
                  </a:cubicBezTo>
                  <a:cubicBezTo>
                    <a:pt x="504" y="1399"/>
                    <a:pt x="504" y="1399"/>
                    <a:pt x="504" y="1399"/>
                  </a:cubicBezTo>
                  <a:cubicBezTo>
                    <a:pt x="506" y="1397"/>
                    <a:pt x="508" y="1395"/>
                    <a:pt x="509" y="1394"/>
                  </a:cubicBezTo>
                  <a:cubicBezTo>
                    <a:pt x="515" y="1392"/>
                    <a:pt x="516" y="1398"/>
                    <a:pt x="521" y="1395"/>
                  </a:cubicBezTo>
                  <a:cubicBezTo>
                    <a:pt x="520" y="1394"/>
                    <a:pt x="518" y="1392"/>
                    <a:pt x="517" y="1391"/>
                  </a:cubicBezTo>
                  <a:cubicBezTo>
                    <a:pt x="472" y="1399"/>
                    <a:pt x="427" y="1411"/>
                    <a:pt x="383" y="1426"/>
                  </a:cubicBezTo>
                  <a:cubicBezTo>
                    <a:pt x="379" y="1427"/>
                    <a:pt x="382" y="1433"/>
                    <a:pt x="386" y="1432"/>
                  </a:cubicBezTo>
                  <a:cubicBezTo>
                    <a:pt x="402" y="1426"/>
                    <a:pt x="419" y="1421"/>
                    <a:pt x="436" y="1417"/>
                  </a:cubicBezTo>
                  <a:cubicBezTo>
                    <a:pt x="436" y="1417"/>
                    <a:pt x="436" y="1417"/>
                    <a:pt x="436" y="1416"/>
                  </a:cubicBezTo>
                  <a:cubicBezTo>
                    <a:pt x="742" y="1395"/>
                    <a:pt x="742" y="1395"/>
                    <a:pt x="743" y="1394"/>
                  </a:cubicBezTo>
                  <a:cubicBezTo>
                    <a:pt x="745" y="1393"/>
                    <a:pt x="746" y="1394"/>
                    <a:pt x="747" y="1394"/>
                  </a:cubicBezTo>
                  <a:cubicBezTo>
                    <a:pt x="750" y="1394"/>
                    <a:pt x="753" y="1393"/>
                    <a:pt x="757" y="1392"/>
                  </a:cubicBezTo>
                  <a:cubicBezTo>
                    <a:pt x="755" y="1390"/>
                    <a:pt x="753" y="1388"/>
                    <a:pt x="752" y="1386"/>
                  </a:cubicBezTo>
                  <a:cubicBezTo>
                    <a:pt x="749" y="1387"/>
                    <a:pt x="746" y="1388"/>
                    <a:pt x="743" y="1388"/>
                  </a:cubicBezTo>
                  <a:cubicBezTo>
                    <a:pt x="742" y="1389"/>
                    <a:pt x="741" y="1391"/>
                    <a:pt x="741" y="1393"/>
                  </a:cubicBezTo>
                  <a:cubicBezTo>
                    <a:pt x="739" y="1392"/>
                    <a:pt x="737" y="1391"/>
                    <a:pt x="736" y="1390"/>
                  </a:cubicBezTo>
                  <a:cubicBezTo>
                    <a:pt x="733" y="1391"/>
                    <a:pt x="730" y="1391"/>
                    <a:pt x="727" y="1392"/>
                  </a:cubicBezTo>
                  <a:cubicBezTo>
                    <a:pt x="727" y="1393"/>
                    <a:pt x="727" y="1394"/>
                    <a:pt x="727" y="1394"/>
                  </a:cubicBezTo>
                  <a:cubicBezTo>
                    <a:pt x="726" y="1395"/>
                    <a:pt x="724" y="1395"/>
                    <a:pt x="721" y="1394"/>
                  </a:cubicBezTo>
                  <a:cubicBezTo>
                    <a:pt x="721" y="1394"/>
                    <a:pt x="721" y="1394"/>
                    <a:pt x="721" y="1393"/>
                  </a:cubicBezTo>
                  <a:cubicBezTo>
                    <a:pt x="713" y="1395"/>
                    <a:pt x="705" y="1397"/>
                    <a:pt x="697" y="1399"/>
                  </a:cubicBezTo>
                  <a:cubicBezTo>
                    <a:pt x="665" y="1405"/>
                    <a:pt x="634" y="1412"/>
                    <a:pt x="602" y="1419"/>
                  </a:cubicBezTo>
                  <a:cubicBezTo>
                    <a:pt x="598" y="1423"/>
                    <a:pt x="593" y="1426"/>
                    <a:pt x="588" y="1429"/>
                  </a:cubicBezTo>
                  <a:cubicBezTo>
                    <a:pt x="586" y="1428"/>
                    <a:pt x="584" y="1428"/>
                    <a:pt x="582" y="1428"/>
                  </a:cubicBezTo>
                  <a:cubicBezTo>
                    <a:pt x="581" y="1428"/>
                    <a:pt x="581" y="1430"/>
                    <a:pt x="580" y="1431"/>
                  </a:cubicBezTo>
                  <a:cubicBezTo>
                    <a:pt x="621" y="1421"/>
                    <a:pt x="661" y="1412"/>
                    <a:pt x="702" y="1404"/>
                  </a:cubicBezTo>
                  <a:cubicBezTo>
                    <a:pt x="715" y="1402"/>
                    <a:pt x="729" y="1399"/>
                    <a:pt x="742" y="1396"/>
                  </a:cubicBezTo>
                  <a:cubicBezTo>
                    <a:pt x="723" y="1396"/>
                    <a:pt x="725" y="1396"/>
                    <a:pt x="726" y="1397"/>
                  </a:cubicBezTo>
                  <a:cubicBezTo>
                    <a:pt x="720" y="1397"/>
                    <a:pt x="720" y="1397"/>
                    <a:pt x="720" y="1397"/>
                  </a:cubicBezTo>
                  <a:cubicBezTo>
                    <a:pt x="720" y="1396"/>
                    <a:pt x="720" y="1396"/>
                    <a:pt x="720" y="1396"/>
                  </a:cubicBezTo>
                  <a:cubicBezTo>
                    <a:pt x="788" y="1403"/>
                    <a:pt x="797" y="1399"/>
                    <a:pt x="805" y="1396"/>
                  </a:cubicBezTo>
                  <a:cubicBezTo>
                    <a:pt x="787" y="1396"/>
                    <a:pt x="787" y="1396"/>
                    <a:pt x="787" y="1396"/>
                  </a:cubicBezTo>
                  <a:cubicBezTo>
                    <a:pt x="786" y="1396"/>
                    <a:pt x="786" y="1396"/>
                    <a:pt x="785" y="1397"/>
                  </a:cubicBezTo>
                  <a:cubicBezTo>
                    <a:pt x="770" y="1403"/>
                    <a:pt x="755" y="1409"/>
                    <a:pt x="741" y="1416"/>
                  </a:cubicBezTo>
                  <a:cubicBezTo>
                    <a:pt x="743" y="1417"/>
                    <a:pt x="744" y="1419"/>
                    <a:pt x="745" y="1421"/>
                  </a:cubicBezTo>
                  <a:cubicBezTo>
                    <a:pt x="746" y="1421"/>
                    <a:pt x="747" y="1420"/>
                    <a:pt x="747" y="1420"/>
                  </a:cubicBezTo>
                  <a:cubicBezTo>
                    <a:pt x="746" y="1418"/>
                    <a:pt x="746" y="1416"/>
                    <a:pt x="749" y="1414"/>
                  </a:cubicBezTo>
                  <a:cubicBezTo>
                    <a:pt x="749" y="1414"/>
                    <a:pt x="748" y="1414"/>
                    <a:pt x="748" y="1414"/>
                  </a:cubicBezTo>
                  <a:cubicBezTo>
                    <a:pt x="762" y="1414"/>
                    <a:pt x="762" y="1414"/>
                    <a:pt x="762" y="1414"/>
                  </a:cubicBezTo>
                  <a:cubicBezTo>
                    <a:pt x="768" y="1411"/>
                    <a:pt x="774" y="1409"/>
                    <a:pt x="780" y="1406"/>
                  </a:cubicBezTo>
                  <a:cubicBezTo>
                    <a:pt x="780" y="1392"/>
                    <a:pt x="781" y="1391"/>
                    <a:pt x="781" y="1390"/>
                  </a:cubicBezTo>
                  <a:cubicBezTo>
                    <a:pt x="779" y="1389"/>
                    <a:pt x="777" y="1389"/>
                    <a:pt x="775" y="1389"/>
                  </a:cubicBezTo>
                  <a:cubicBezTo>
                    <a:pt x="777" y="1384"/>
                    <a:pt x="773" y="1383"/>
                    <a:pt x="771" y="1381"/>
                  </a:cubicBezTo>
                  <a:cubicBezTo>
                    <a:pt x="767" y="1383"/>
                    <a:pt x="763" y="1384"/>
                    <a:pt x="758" y="1385"/>
                  </a:cubicBezTo>
                  <a:cubicBezTo>
                    <a:pt x="761" y="1386"/>
                    <a:pt x="764" y="1388"/>
                    <a:pt x="766" y="1390"/>
                  </a:cubicBezTo>
                  <a:cubicBezTo>
                    <a:pt x="768" y="1389"/>
                    <a:pt x="770" y="1389"/>
                    <a:pt x="772" y="1388"/>
                  </a:cubicBezTo>
                  <a:cubicBezTo>
                    <a:pt x="770" y="1389"/>
                    <a:pt x="768" y="1389"/>
                    <a:pt x="767" y="1390"/>
                  </a:cubicBezTo>
                  <a:cubicBezTo>
                    <a:pt x="769" y="1392"/>
                    <a:pt x="770" y="1393"/>
                    <a:pt x="770" y="1396"/>
                  </a:cubicBezTo>
                  <a:cubicBezTo>
                    <a:pt x="773" y="1395"/>
                    <a:pt x="777" y="1394"/>
                    <a:pt x="780" y="1393"/>
                  </a:cubicBezTo>
                  <a:cubicBezTo>
                    <a:pt x="783" y="1425"/>
                    <a:pt x="785" y="1425"/>
                    <a:pt x="787" y="1426"/>
                  </a:cubicBezTo>
                  <a:cubicBezTo>
                    <a:pt x="789" y="1425"/>
                    <a:pt x="791" y="1424"/>
                    <a:pt x="792" y="1424"/>
                  </a:cubicBezTo>
                  <a:cubicBezTo>
                    <a:pt x="792" y="1422"/>
                    <a:pt x="792" y="1421"/>
                    <a:pt x="793" y="1418"/>
                  </a:cubicBezTo>
                  <a:cubicBezTo>
                    <a:pt x="794" y="1418"/>
                    <a:pt x="796" y="1417"/>
                    <a:pt x="797" y="1416"/>
                  </a:cubicBezTo>
                  <a:cubicBezTo>
                    <a:pt x="800" y="1417"/>
                    <a:pt x="801" y="1418"/>
                    <a:pt x="802" y="1419"/>
                  </a:cubicBezTo>
                  <a:cubicBezTo>
                    <a:pt x="804" y="1419"/>
                    <a:pt x="805" y="1418"/>
                    <a:pt x="807" y="1417"/>
                  </a:cubicBezTo>
                  <a:cubicBezTo>
                    <a:pt x="805" y="1417"/>
                    <a:pt x="805" y="1415"/>
                    <a:pt x="805" y="1413"/>
                  </a:cubicBezTo>
                  <a:cubicBezTo>
                    <a:pt x="816" y="1413"/>
                    <a:pt x="816" y="1413"/>
                    <a:pt x="816" y="1413"/>
                  </a:cubicBezTo>
                  <a:cubicBezTo>
                    <a:pt x="829" y="1407"/>
                    <a:pt x="843" y="1401"/>
                    <a:pt x="858" y="1395"/>
                  </a:cubicBezTo>
                  <a:cubicBezTo>
                    <a:pt x="840" y="1396"/>
                    <a:pt x="840" y="1396"/>
                    <a:pt x="840" y="1396"/>
                  </a:cubicBezTo>
                  <a:cubicBezTo>
                    <a:pt x="826" y="1401"/>
                    <a:pt x="812" y="1407"/>
                    <a:pt x="799" y="1413"/>
                  </a:cubicBezTo>
                  <a:cubicBezTo>
                    <a:pt x="804" y="1413"/>
                    <a:pt x="804" y="1413"/>
                    <a:pt x="804" y="1413"/>
                  </a:cubicBezTo>
                  <a:cubicBezTo>
                    <a:pt x="804" y="1414"/>
                    <a:pt x="803" y="1415"/>
                    <a:pt x="803" y="1415"/>
                  </a:cubicBezTo>
                  <a:cubicBezTo>
                    <a:pt x="800" y="1415"/>
                    <a:pt x="799" y="1415"/>
                    <a:pt x="798" y="1414"/>
                  </a:cubicBezTo>
                  <a:cubicBezTo>
                    <a:pt x="794" y="1416"/>
                    <a:pt x="790" y="1417"/>
                    <a:pt x="786" y="1419"/>
                  </a:cubicBezTo>
                  <a:cubicBezTo>
                    <a:pt x="785" y="1420"/>
                    <a:pt x="784" y="1421"/>
                    <a:pt x="783" y="1421"/>
                  </a:cubicBezTo>
                  <a:cubicBezTo>
                    <a:pt x="783" y="1421"/>
                    <a:pt x="782" y="1421"/>
                    <a:pt x="782" y="1421"/>
                  </a:cubicBezTo>
                  <a:cubicBezTo>
                    <a:pt x="779" y="1423"/>
                    <a:pt x="775" y="1424"/>
                    <a:pt x="771" y="1426"/>
                  </a:cubicBezTo>
                  <a:cubicBezTo>
                    <a:pt x="772" y="1427"/>
                    <a:pt x="772" y="1427"/>
                    <a:pt x="772" y="1428"/>
                  </a:cubicBezTo>
                  <a:cubicBezTo>
                    <a:pt x="771" y="1427"/>
                    <a:pt x="770" y="1427"/>
                    <a:pt x="769" y="1427"/>
                  </a:cubicBezTo>
                  <a:cubicBezTo>
                    <a:pt x="734" y="1444"/>
                    <a:pt x="699" y="1462"/>
                    <a:pt x="665" y="1480"/>
                  </a:cubicBezTo>
                  <a:cubicBezTo>
                    <a:pt x="661" y="1482"/>
                    <a:pt x="663" y="1489"/>
                    <a:pt x="667" y="1487"/>
                  </a:cubicBezTo>
                  <a:cubicBezTo>
                    <a:pt x="703" y="1467"/>
                    <a:pt x="740" y="1448"/>
                    <a:pt x="777" y="1431"/>
                  </a:cubicBezTo>
                  <a:cubicBezTo>
                    <a:pt x="778" y="1429"/>
                    <a:pt x="779" y="1427"/>
                    <a:pt x="780" y="1425"/>
                  </a:cubicBezTo>
                  <a:cubicBezTo>
                    <a:pt x="876" y="1388"/>
                    <a:pt x="877" y="1387"/>
                    <a:pt x="878" y="1386"/>
                  </a:cubicBezTo>
                  <a:cubicBezTo>
                    <a:pt x="878" y="1386"/>
                    <a:pt x="879" y="1387"/>
                    <a:pt x="879" y="1387"/>
                  </a:cubicBezTo>
                  <a:cubicBezTo>
                    <a:pt x="880" y="1387"/>
                    <a:pt x="881" y="1386"/>
                    <a:pt x="882" y="1386"/>
                  </a:cubicBezTo>
                  <a:cubicBezTo>
                    <a:pt x="881" y="1382"/>
                    <a:pt x="876" y="1384"/>
                    <a:pt x="870" y="1384"/>
                  </a:cubicBezTo>
                  <a:cubicBezTo>
                    <a:pt x="870" y="1386"/>
                    <a:pt x="869" y="1388"/>
                    <a:pt x="869" y="1390"/>
                  </a:cubicBezTo>
                  <a:cubicBezTo>
                    <a:pt x="866" y="1390"/>
                    <a:pt x="867" y="1388"/>
                    <a:pt x="864" y="1388"/>
                  </a:cubicBezTo>
                  <a:cubicBezTo>
                    <a:pt x="865" y="1389"/>
                    <a:pt x="866" y="1391"/>
                    <a:pt x="866" y="1392"/>
                  </a:cubicBezTo>
                  <a:cubicBezTo>
                    <a:pt x="869" y="1391"/>
                    <a:pt x="872" y="1390"/>
                    <a:pt x="875" y="1389"/>
                  </a:cubicBezTo>
                  <a:cubicBezTo>
                    <a:pt x="211" y="67"/>
                    <a:pt x="264" y="61"/>
                    <a:pt x="317" y="56"/>
                  </a:cubicBezTo>
                  <a:cubicBezTo>
                    <a:pt x="413" y="46"/>
                    <a:pt x="514" y="42"/>
                    <a:pt x="609" y="61"/>
                  </a:cubicBezTo>
                  <a:cubicBezTo>
                    <a:pt x="614" y="62"/>
                    <a:pt x="615" y="56"/>
                    <a:pt x="610" y="55"/>
                  </a:cubicBezTo>
                  <a:cubicBezTo>
                    <a:pt x="578" y="48"/>
                    <a:pt x="544" y="44"/>
                    <a:pt x="510" y="42"/>
                  </a:cubicBezTo>
                  <a:cubicBezTo>
                    <a:pt x="510" y="43"/>
                    <a:pt x="510" y="43"/>
                    <a:pt x="510" y="44"/>
                  </a:cubicBezTo>
                  <a:cubicBezTo>
                    <a:pt x="506" y="44"/>
                    <a:pt x="506" y="44"/>
                    <a:pt x="506" y="44"/>
                  </a:cubicBezTo>
                  <a:cubicBezTo>
                    <a:pt x="506" y="43"/>
                    <a:pt x="506" y="43"/>
                    <a:pt x="504" y="43"/>
                  </a:cubicBezTo>
                  <a:cubicBezTo>
                    <a:pt x="504" y="43"/>
                    <a:pt x="505" y="42"/>
                    <a:pt x="505" y="42"/>
                  </a:cubicBezTo>
                  <a:cubicBezTo>
                    <a:pt x="502" y="42"/>
                    <a:pt x="500" y="42"/>
                    <a:pt x="498" y="42"/>
                  </a:cubicBezTo>
                  <a:cubicBezTo>
                    <a:pt x="498" y="43"/>
                    <a:pt x="498" y="43"/>
                    <a:pt x="498" y="44"/>
                  </a:cubicBezTo>
                  <a:cubicBezTo>
                    <a:pt x="497" y="44"/>
                    <a:pt x="497" y="44"/>
                    <a:pt x="497" y="44"/>
                  </a:cubicBezTo>
                  <a:cubicBezTo>
                    <a:pt x="493" y="42"/>
                    <a:pt x="488" y="42"/>
                    <a:pt x="485" y="44"/>
                  </a:cubicBezTo>
                  <a:cubicBezTo>
                    <a:pt x="477" y="44"/>
                    <a:pt x="477" y="44"/>
                    <a:pt x="477" y="44"/>
                  </a:cubicBezTo>
                  <a:cubicBezTo>
                    <a:pt x="476" y="43"/>
                    <a:pt x="476" y="42"/>
                    <a:pt x="475" y="42"/>
                  </a:cubicBezTo>
                  <a:cubicBezTo>
                    <a:pt x="476" y="42"/>
                    <a:pt x="476" y="41"/>
                    <a:pt x="476" y="41"/>
                  </a:cubicBezTo>
                  <a:cubicBezTo>
                    <a:pt x="472" y="41"/>
                    <a:pt x="468" y="41"/>
                    <a:pt x="464" y="41"/>
                  </a:cubicBezTo>
                  <a:cubicBezTo>
                    <a:pt x="464" y="41"/>
                    <a:pt x="464" y="41"/>
                    <a:pt x="464" y="41"/>
                  </a:cubicBezTo>
                  <a:cubicBezTo>
                    <a:pt x="462" y="42"/>
                    <a:pt x="460" y="42"/>
                    <a:pt x="457" y="42"/>
                  </a:cubicBezTo>
                  <a:cubicBezTo>
                    <a:pt x="457" y="42"/>
                    <a:pt x="457" y="41"/>
                    <a:pt x="457" y="41"/>
                  </a:cubicBezTo>
                  <a:cubicBezTo>
                    <a:pt x="451" y="41"/>
                    <a:pt x="445" y="41"/>
                    <a:pt x="438" y="41"/>
                  </a:cubicBezTo>
                  <a:cubicBezTo>
                    <a:pt x="438" y="42"/>
                    <a:pt x="437" y="43"/>
                    <a:pt x="436" y="44"/>
                  </a:cubicBezTo>
                  <a:cubicBezTo>
                    <a:pt x="422" y="44"/>
                    <a:pt x="422" y="44"/>
                    <a:pt x="422" y="44"/>
                  </a:cubicBezTo>
                  <a:cubicBezTo>
                    <a:pt x="422" y="44"/>
                    <a:pt x="422" y="43"/>
                    <a:pt x="422" y="42"/>
                  </a:cubicBezTo>
                  <a:cubicBezTo>
                    <a:pt x="419" y="42"/>
                    <a:pt x="416" y="42"/>
                    <a:pt x="412" y="42"/>
                  </a:cubicBezTo>
                  <a:cubicBezTo>
                    <a:pt x="413" y="43"/>
                    <a:pt x="415" y="43"/>
                    <a:pt x="415" y="44"/>
                  </a:cubicBezTo>
                  <a:cubicBezTo>
                    <a:pt x="403" y="45"/>
                    <a:pt x="403" y="45"/>
                    <a:pt x="403" y="45"/>
                  </a:cubicBezTo>
                  <a:cubicBezTo>
                    <a:pt x="403" y="44"/>
                    <a:pt x="404" y="44"/>
                    <a:pt x="404" y="44"/>
                  </a:cubicBezTo>
                  <a:cubicBezTo>
                    <a:pt x="404" y="43"/>
                    <a:pt x="404" y="43"/>
                    <a:pt x="403" y="43"/>
                  </a:cubicBezTo>
                  <a:cubicBezTo>
                    <a:pt x="403" y="43"/>
                    <a:pt x="402" y="43"/>
                    <a:pt x="402" y="43"/>
                  </a:cubicBezTo>
                  <a:cubicBezTo>
                    <a:pt x="402" y="43"/>
                    <a:pt x="401" y="43"/>
                    <a:pt x="401" y="43"/>
                  </a:cubicBezTo>
                  <a:cubicBezTo>
                    <a:pt x="401" y="43"/>
                    <a:pt x="401" y="44"/>
                    <a:pt x="401" y="45"/>
                  </a:cubicBezTo>
                  <a:cubicBezTo>
                    <a:pt x="365" y="45"/>
                    <a:pt x="365" y="45"/>
                    <a:pt x="365" y="45"/>
                  </a:cubicBezTo>
                  <a:cubicBezTo>
                    <a:pt x="350" y="46"/>
                    <a:pt x="335" y="47"/>
                    <a:pt x="320" y="49"/>
                  </a:cubicBezTo>
                  <a:cubicBezTo>
                    <a:pt x="275" y="53"/>
                    <a:pt x="230" y="58"/>
                    <a:pt x="186" y="66"/>
                  </a:cubicBezTo>
                  <a:cubicBezTo>
                    <a:pt x="186" y="68"/>
                    <a:pt x="185" y="70"/>
                    <a:pt x="182" y="70"/>
                  </a:cubicBezTo>
                  <a:cubicBezTo>
                    <a:pt x="182" y="69"/>
                    <a:pt x="181" y="68"/>
                    <a:pt x="181" y="67"/>
                  </a:cubicBezTo>
                  <a:cubicBezTo>
                    <a:pt x="174" y="68"/>
                    <a:pt x="166" y="69"/>
                    <a:pt x="159" y="71"/>
                  </a:cubicBezTo>
                  <a:cubicBezTo>
                    <a:pt x="155" y="71"/>
                    <a:pt x="155" y="78"/>
                    <a:pt x="159" y="77"/>
                  </a:cubicBezTo>
                  <a:cubicBezTo>
                    <a:pt x="462" y="43"/>
                    <a:pt x="465" y="43"/>
                    <a:pt x="468" y="43"/>
                  </a:cubicBezTo>
                  <a:cubicBezTo>
                    <a:pt x="468" y="44"/>
                    <a:pt x="468" y="44"/>
                    <a:pt x="468" y="44"/>
                  </a:cubicBezTo>
                  <a:cubicBezTo>
                    <a:pt x="458" y="44"/>
                    <a:pt x="458" y="44"/>
                    <a:pt x="458" y="44"/>
                  </a:cubicBezTo>
                  <a:cubicBezTo>
                    <a:pt x="458" y="44"/>
                    <a:pt x="458" y="43"/>
                    <a:pt x="458" y="43"/>
                  </a:cubicBezTo>
                  <a:cubicBezTo>
                    <a:pt x="774" y="1455"/>
                    <a:pt x="774" y="1454"/>
                    <a:pt x="774" y="1454"/>
                  </a:cubicBezTo>
                  <a:cubicBezTo>
                    <a:pt x="774" y="1454"/>
                    <a:pt x="774" y="1454"/>
                    <a:pt x="773" y="1455"/>
                  </a:cubicBezTo>
                  <a:cubicBezTo>
                    <a:pt x="774" y="1455"/>
                    <a:pt x="774" y="1455"/>
                    <a:pt x="774" y="1455"/>
                  </a:cubicBezTo>
                  <a:cubicBezTo>
                    <a:pt x="777" y="1453"/>
                    <a:pt x="776" y="1453"/>
                    <a:pt x="774" y="1454"/>
                  </a:cubicBezTo>
                  <a:cubicBezTo>
                    <a:pt x="776" y="1454"/>
                    <a:pt x="778" y="1455"/>
                    <a:pt x="778" y="1452"/>
                  </a:cubicBezTo>
                  <a:cubicBezTo>
                    <a:pt x="702" y="1317"/>
                    <a:pt x="708" y="1312"/>
                    <a:pt x="709" y="1313"/>
                  </a:cubicBezTo>
                  <a:cubicBezTo>
                    <a:pt x="711" y="1313"/>
                    <a:pt x="712" y="1313"/>
                    <a:pt x="714" y="1313"/>
                  </a:cubicBezTo>
                  <a:cubicBezTo>
                    <a:pt x="713" y="1310"/>
                    <a:pt x="715" y="1307"/>
                    <a:pt x="719" y="1309"/>
                  </a:cubicBezTo>
                  <a:cubicBezTo>
                    <a:pt x="719" y="1308"/>
                    <a:pt x="719" y="1308"/>
                    <a:pt x="718" y="1307"/>
                  </a:cubicBezTo>
                  <a:cubicBezTo>
                    <a:pt x="742" y="1307"/>
                    <a:pt x="742" y="1307"/>
                    <a:pt x="742" y="1307"/>
                  </a:cubicBezTo>
                  <a:cubicBezTo>
                    <a:pt x="748" y="1305"/>
                    <a:pt x="754" y="1304"/>
                    <a:pt x="761" y="1302"/>
                  </a:cubicBezTo>
                  <a:cubicBezTo>
                    <a:pt x="765" y="1301"/>
                    <a:pt x="762" y="1294"/>
                    <a:pt x="758" y="1296"/>
                  </a:cubicBezTo>
                  <a:cubicBezTo>
                    <a:pt x="741" y="1300"/>
                    <a:pt x="724" y="1304"/>
                    <a:pt x="707" y="1307"/>
                  </a:cubicBezTo>
                  <a:cubicBezTo>
                    <a:pt x="710" y="1307"/>
                    <a:pt x="710" y="1307"/>
                    <a:pt x="710" y="1307"/>
                  </a:cubicBezTo>
                  <a:cubicBezTo>
                    <a:pt x="709" y="1309"/>
                    <a:pt x="708" y="1311"/>
                    <a:pt x="706" y="1311"/>
                  </a:cubicBezTo>
                  <a:cubicBezTo>
                    <a:pt x="705" y="1310"/>
                    <a:pt x="705" y="1309"/>
                    <a:pt x="705" y="1308"/>
                  </a:cubicBezTo>
                  <a:cubicBezTo>
                    <a:pt x="703" y="1308"/>
                    <a:pt x="701" y="1308"/>
                    <a:pt x="699" y="1308"/>
                  </a:cubicBezTo>
                  <a:cubicBezTo>
                    <a:pt x="698" y="1310"/>
                    <a:pt x="698" y="1310"/>
                    <a:pt x="696" y="1311"/>
                  </a:cubicBezTo>
                  <a:cubicBezTo>
                    <a:pt x="696" y="1310"/>
                    <a:pt x="695" y="1310"/>
                    <a:pt x="694" y="1309"/>
                  </a:cubicBezTo>
                  <a:cubicBezTo>
                    <a:pt x="693" y="1309"/>
                    <a:pt x="691" y="1310"/>
                    <a:pt x="690" y="1310"/>
                  </a:cubicBezTo>
                  <a:cubicBezTo>
                    <a:pt x="689" y="1312"/>
                    <a:pt x="688" y="1314"/>
                    <a:pt x="686" y="1314"/>
                  </a:cubicBezTo>
                  <a:cubicBezTo>
                    <a:pt x="686" y="1314"/>
                    <a:pt x="686" y="1316"/>
                    <a:pt x="687" y="1317"/>
                  </a:cubicBezTo>
                  <a:cubicBezTo>
                    <a:pt x="690" y="1317"/>
                    <a:pt x="692" y="1316"/>
                    <a:pt x="695" y="1316"/>
                  </a:cubicBezTo>
                  <a:cubicBezTo>
                    <a:pt x="696" y="1315"/>
                    <a:pt x="696" y="1314"/>
                    <a:pt x="697" y="1314"/>
                  </a:cubicBezTo>
                  <a:cubicBezTo>
                    <a:pt x="781" y="1453"/>
                    <a:pt x="783" y="1454"/>
                    <a:pt x="784" y="1457"/>
                  </a:cubicBezTo>
                  <a:cubicBezTo>
                    <a:pt x="800" y="1448"/>
                    <a:pt x="817" y="1439"/>
                    <a:pt x="834" y="1431"/>
                  </a:cubicBezTo>
                  <a:cubicBezTo>
                    <a:pt x="818" y="1431"/>
                    <a:pt x="818" y="1431"/>
                    <a:pt x="818" y="1431"/>
                  </a:cubicBezTo>
                  <a:cubicBezTo>
                    <a:pt x="805" y="1438"/>
                    <a:pt x="792" y="1445"/>
                    <a:pt x="779" y="1452"/>
                  </a:cubicBezTo>
                  <a:cubicBezTo>
                    <a:pt x="770" y="1464"/>
                    <a:pt x="771" y="1464"/>
                    <a:pt x="772" y="1463"/>
                  </a:cubicBezTo>
                  <a:cubicBezTo>
                    <a:pt x="770" y="1461"/>
                    <a:pt x="768" y="1460"/>
                    <a:pt x="766" y="1458"/>
                  </a:cubicBezTo>
                  <a:cubicBezTo>
                    <a:pt x="763" y="1461"/>
                    <a:pt x="765" y="1467"/>
                    <a:pt x="769" y="1464"/>
                  </a:cubicBezTo>
                  <a:cubicBezTo>
                    <a:pt x="315" y="28"/>
                    <a:pt x="315" y="28"/>
                    <a:pt x="315" y="28"/>
                  </a:cubicBezTo>
                  <a:cubicBezTo>
                    <a:pt x="315" y="28"/>
                    <a:pt x="315" y="27"/>
                    <a:pt x="315" y="27"/>
                  </a:cubicBezTo>
                  <a:cubicBezTo>
                    <a:pt x="326" y="27"/>
                    <a:pt x="326" y="27"/>
                    <a:pt x="326" y="27"/>
                  </a:cubicBezTo>
                  <a:cubicBezTo>
                    <a:pt x="326" y="27"/>
                    <a:pt x="326" y="28"/>
                    <a:pt x="326" y="28"/>
                  </a:cubicBezTo>
                  <a:cubicBezTo>
                    <a:pt x="391" y="26"/>
                    <a:pt x="391" y="26"/>
                    <a:pt x="391" y="26"/>
                  </a:cubicBezTo>
                  <a:cubicBezTo>
                    <a:pt x="391" y="27"/>
                    <a:pt x="391" y="27"/>
                    <a:pt x="392" y="28"/>
                  </a:cubicBezTo>
                  <a:cubicBezTo>
                    <a:pt x="395" y="28"/>
                    <a:pt x="399" y="28"/>
                    <a:pt x="403" y="28"/>
                  </a:cubicBezTo>
                  <a:cubicBezTo>
                    <a:pt x="403" y="27"/>
                    <a:pt x="403" y="27"/>
                    <a:pt x="403" y="26"/>
                  </a:cubicBezTo>
                  <a:cubicBezTo>
                    <a:pt x="415" y="26"/>
                    <a:pt x="415" y="26"/>
                    <a:pt x="415" y="26"/>
                  </a:cubicBezTo>
                  <a:cubicBezTo>
                    <a:pt x="415" y="26"/>
                    <a:pt x="415" y="27"/>
                    <a:pt x="414" y="27"/>
                  </a:cubicBezTo>
                  <a:cubicBezTo>
                    <a:pt x="414" y="27"/>
                    <a:pt x="414" y="27"/>
                    <a:pt x="414" y="28"/>
                  </a:cubicBezTo>
                  <a:cubicBezTo>
                    <a:pt x="416" y="28"/>
                    <a:pt x="418" y="28"/>
                    <a:pt x="421" y="28"/>
                  </a:cubicBezTo>
                  <a:cubicBezTo>
                    <a:pt x="421" y="27"/>
                    <a:pt x="421" y="27"/>
                    <a:pt x="421" y="26"/>
                  </a:cubicBezTo>
                  <a:cubicBezTo>
                    <a:pt x="434" y="26"/>
                    <a:pt x="434" y="26"/>
                    <a:pt x="434" y="26"/>
                  </a:cubicBezTo>
                  <a:cubicBezTo>
                    <a:pt x="434" y="27"/>
                    <a:pt x="434" y="27"/>
                    <a:pt x="435" y="28"/>
                  </a:cubicBezTo>
                  <a:cubicBezTo>
                    <a:pt x="460" y="28"/>
                    <a:pt x="486" y="29"/>
                    <a:pt x="511" y="31"/>
                  </a:cubicBezTo>
                  <a:cubicBezTo>
                    <a:pt x="511" y="29"/>
                    <a:pt x="511" y="27"/>
                    <a:pt x="513" y="27"/>
                  </a:cubicBezTo>
                  <a:cubicBezTo>
                    <a:pt x="512" y="26"/>
                    <a:pt x="511" y="26"/>
                    <a:pt x="510" y="25"/>
                  </a:cubicBezTo>
                  <a:cubicBezTo>
                    <a:pt x="518" y="25"/>
                    <a:pt x="518" y="25"/>
                    <a:pt x="518" y="25"/>
                  </a:cubicBezTo>
                  <a:cubicBezTo>
                    <a:pt x="435" y="18"/>
                    <a:pt x="350" y="20"/>
                    <a:pt x="266" y="30"/>
                  </a:cubicBezTo>
                  <a:cubicBezTo>
                    <a:pt x="444" y="26"/>
                    <a:pt x="444" y="26"/>
                    <a:pt x="444" y="26"/>
                  </a:cubicBezTo>
                  <a:cubicBezTo>
                    <a:pt x="452" y="26"/>
                    <a:pt x="452" y="26"/>
                    <a:pt x="452" y="26"/>
                  </a:cubicBezTo>
                  <a:cubicBezTo>
                    <a:pt x="451" y="28"/>
                    <a:pt x="445" y="27"/>
                    <a:pt x="444" y="26"/>
                  </a:cubicBezTo>
                  <a:cubicBezTo>
                    <a:pt x="459" y="28"/>
                    <a:pt x="458" y="27"/>
                    <a:pt x="456" y="27"/>
                  </a:cubicBezTo>
                  <a:cubicBezTo>
                    <a:pt x="456" y="26"/>
                    <a:pt x="456" y="26"/>
                    <a:pt x="456" y="26"/>
                  </a:cubicBezTo>
                  <a:cubicBezTo>
                    <a:pt x="463" y="26"/>
                    <a:pt x="463" y="26"/>
                    <a:pt x="463" y="26"/>
                  </a:cubicBezTo>
                  <a:cubicBezTo>
                    <a:pt x="463" y="26"/>
                    <a:pt x="463" y="27"/>
                    <a:pt x="462" y="28"/>
                  </a:cubicBezTo>
                  <a:cubicBezTo>
                    <a:pt x="498" y="29"/>
                    <a:pt x="492" y="30"/>
                    <a:pt x="490" y="28"/>
                  </a:cubicBezTo>
                  <a:cubicBezTo>
                    <a:pt x="490" y="27"/>
                    <a:pt x="490" y="26"/>
                    <a:pt x="490" y="25"/>
                  </a:cubicBezTo>
                  <a:cubicBezTo>
                    <a:pt x="501" y="25"/>
                    <a:pt x="501" y="25"/>
                    <a:pt x="501" y="25"/>
                  </a:cubicBezTo>
                  <a:cubicBezTo>
                    <a:pt x="501" y="26"/>
                    <a:pt x="501" y="27"/>
                    <a:pt x="500" y="28"/>
                  </a:cubicBezTo>
                  <a:cubicBezTo>
                    <a:pt x="272" y="16"/>
                    <a:pt x="303" y="12"/>
                    <a:pt x="334" y="9"/>
                  </a:cubicBezTo>
                  <a:cubicBezTo>
                    <a:pt x="318" y="10"/>
                    <a:pt x="318" y="10"/>
                    <a:pt x="318" y="10"/>
                  </a:cubicBezTo>
                  <a:cubicBezTo>
                    <a:pt x="318" y="9"/>
                    <a:pt x="317" y="8"/>
                    <a:pt x="317" y="7"/>
                  </a:cubicBezTo>
                  <a:cubicBezTo>
                    <a:pt x="313" y="7"/>
                    <a:pt x="310" y="7"/>
                    <a:pt x="307" y="7"/>
                  </a:cubicBezTo>
                  <a:cubicBezTo>
                    <a:pt x="307" y="6"/>
                    <a:pt x="307" y="6"/>
                    <a:pt x="307" y="5"/>
                  </a:cubicBezTo>
                  <a:cubicBezTo>
                    <a:pt x="303" y="6"/>
                    <a:pt x="300" y="6"/>
                    <a:pt x="297" y="6"/>
                  </a:cubicBezTo>
                  <a:cubicBezTo>
                    <a:pt x="297" y="7"/>
                    <a:pt x="296" y="8"/>
                    <a:pt x="296" y="9"/>
                  </a:cubicBezTo>
                  <a:cubicBezTo>
                    <a:pt x="294" y="9"/>
                    <a:pt x="291" y="9"/>
                    <a:pt x="289" y="9"/>
                  </a:cubicBezTo>
                  <a:cubicBezTo>
                    <a:pt x="289" y="9"/>
                    <a:pt x="289" y="8"/>
                    <a:pt x="289" y="7"/>
                  </a:cubicBezTo>
                  <a:cubicBezTo>
                    <a:pt x="288" y="7"/>
                    <a:pt x="288" y="7"/>
                    <a:pt x="287" y="7"/>
                  </a:cubicBezTo>
                  <a:cubicBezTo>
                    <a:pt x="287" y="8"/>
                    <a:pt x="286" y="8"/>
                    <a:pt x="285" y="8"/>
                  </a:cubicBezTo>
                  <a:cubicBezTo>
                    <a:pt x="285" y="8"/>
                    <a:pt x="285" y="8"/>
                    <a:pt x="284" y="8"/>
                  </a:cubicBezTo>
                  <a:cubicBezTo>
                    <a:pt x="270" y="10"/>
                    <a:pt x="255" y="12"/>
                    <a:pt x="241" y="14"/>
                  </a:cubicBezTo>
                  <a:cubicBezTo>
                    <a:pt x="237" y="15"/>
                    <a:pt x="237" y="22"/>
                    <a:pt x="242" y="21"/>
                  </a:cubicBezTo>
                  <a:cubicBezTo>
                    <a:pt x="796" y="1348"/>
                    <a:pt x="797" y="1346"/>
                    <a:pt x="796" y="1345"/>
                  </a:cubicBezTo>
                  <a:cubicBezTo>
                    <a:pt x="795" y="1345"/>
                    <a:pt x="794" y="1345"/>
                    <a:pt x="793" y="1346"/>
                  </a:cubicBezTo>
                  <a:cubicBezTo>
                    <a:pt x="792" y="1347"/>
                    <a:pt x="792" y="1348"/>
                    <a:pt x="792" y="1349"/>
                  </a:cubicBezTo>
                  <a:cubicBezTo>
                    <a:pt x="793" y="1349"/>
                    <a:pt x="794" y="1350"/>
                    <a:pt x="795" y="1350"/>
                  </a:cubicBezTo>
                  <a:cubicBezTo>
                    <a:pt x="572" y="1323"/>
                    <a:pt x="577" y="1323"/>
                    <a:pt x="583" y="1323"/>
                  </a:cubicBezTo>
                  <a:cubicBezTo>
                    <a:pt x="583" y="1321"/>
                    <a:pt x="584" y="1320"/>
                    <a:pt x="583" y="1319"/>
                  </a:cubicBezTo>
                  <a:cubicBezTo>
                    <a:pt x="581" y="1320"/>
                    <a:pt x="579" y="1321"/>
                    <a:pt x="576" y="1319"/>
                  </a:cubicBezTo>
                  <a:cubicBezTo>
                    <a:pt x="575" y="1319"/>
                    <a:pt x="574" y="1317"/>
                    <a:pt x="574" y="1316"/>
                  </a:cubicBezTo>
                  <a:cubicBezTo>
                    <a:pt x="567" y="1316"/>
                    <a:pt x="560" y="1316"/>
                    <a:pt x="553" y="1316"/>
                  </a:cubicBezTo>
                  <a:cubicBezTo>
                    <a:pt x="554" y="1317"/>
                    <a:pt x="553" y="1319"/>
                    <a:pt x="551" y="1322"/>
                  </a:cubicBezTo>
                  <a:cubicBezTo>
                    <a:pt x="543" y="1320"/>
                    <a:pt x="544" y="1318"/>
                    <a:pt x="547" y="1316"/>
                  </a:cubicBezTo>
                  <a:cubicBezTo>
                    <a:pt x="543" y="1316"/>
                    <a:pt x="540" y="1316"/>
                    <a:pt x="537" y="1316"/>
                  </a:cubicBezTo>
                  <a:cubicBezTo>
                    <a:pt x="539" y="1317"/>
                    <a:pt x="540" y="1319"/>
                    <a:pt x="538" y="1321"/>
                  </a:cubicBezTo>
                  <a:cubicBezTo>
                    <a:pt x="537" y="1323"/>
                    <a:pt x="533" y="1320"/>
                    <a:pt x="532" y="1322"/>
                  </a:cubicBezTo>
                  <a:cubicBezTo>
                    <a:pt x="532" y="1322"/>
                    <a:pt x="532" y="1322"/>
                    <a:pt x="532" y="1322"/>
                  </a:cubicBezTo>
                  <a:cubicBezTo>
                    <a:pt x="542" y="1323"/>
                    <a:pt x="552" y="1323"/>
                    <a:pt x="562" y="1323"/>
                  </a:cubicBezTo>
                  <a:cubicBezTo>
                    <a:pt x="561" y="1322"/>
                    <a:pt x="561" y="1322"/>
                    <a:pt x="562" y="1321"/>
                  </a:cubicBezTo>
                  <a:cubicBezTo>
                    <a:pt x="563" y="1320"/>
                    <a:pt x="567" y="1319"/>
                    <a:pt x="568" y="1321"/>
                  </a:cubicBezTo>
                  <a:cubicBezTo>
                    <a:pt x="567" y="1322"/>
                    <a:pt x="567" y="1322"/>
                    <a:pt x="566" y="1323"/>
                  </a:cubicBezTo>
                  <a:cubicBezTo>
                    <a:pt x="387" y="1328"/>
                    <a:pt x="387" y="1328"/>
                    <a:pt x="387" y="1328"/>
                  </a:cubicBezTo>
                  <a:cubicBezTo>
                    <a:pt x="390" y="1326"/>
                    <a:pt x="394" y="1326"/>
                    <a:pt x="397" y="1327"/>
                  </a:cubicBezTo>
                  <a:cubicBezTo>
                    <a:pt x="418" y="1322"/>
                    <a:pt x="439" y="1320"/>
                    <a:pt x="461" y="1320"/>
                  </a:cubicBezTo>
                  <a:cubicBezTo>
                    <a:pt x="461" y="1319"/>
                    <a:pt x="460" y="1317"/>
                    <a:pt x="459" y="1316"/>
                  </a:cubicBezTo>
                  <a:cubicBezTo>
                    <a:pt x="456" y="1317"/>
                    <a:pt x="454" y="1320"/>
                    <a:pt x="449" y="1319"/>
                  </a:cubicBezTo>
                  <a:cubicBezTo>
                    <a:pt x="447" y="1318"/>
                    <a:pt x="447" y="1316"/>
                    <a:pt x="447" y="1313"/>
                  </a:cubicBezTo>
                  <a:cubicBezTo>
                    <a:pt x="447" y="1313"/>
                    <a:pt x="447" y="1313"/>
                    <a:pt x="447" y="1313"/>
                  </a:cubicBezTo>
                  <a:cubicBezTo>
                    <a:pt x="420" y="1314"/>
                    <a:pt x="392" y="1319"/>
                    <a:pt x="365" y="1328"/>
                  </a:cubicBezTo>
                  <a:cubicBezTo>
                    <a:pt x="365" y="1328"/>
                    <a:pt x="365" y="1328"/>
                    <a:pt x="365" y="1328"/>
                  </a:cubicBezTo>
                  <a:cubicBezTo>
                    <a:pt x="364" y="1328"/>
                    <a:pt x="364" y="1328"/>
                    <a:pt x="364" y="1328"/>
                  </a:cubicBezTo>
                  <a:cubicBezTo>
                    <a:pt x="343" y="1336"/>
                    <a:pt x="322" y="1345"/>
                    <a:pt x="302" y="1356"/>
                  </a:cubicBezTo>
                  <a:cubicBezTo>
                    <a:pt x="303" y="1358"/>
                    <a:pt x="301" y="1361"/>
                    <a:pt x="299" y="1361"/>
                  </a:cubicBezTo>
                  <a:cubicBezTo>
                    <a:pt x="298" y="1361"/>
                    <a:pt x="298" y="1360"/>
                    <a:pt x="298" y="1358"/>
                  </a:cubicBezTo>
                  <a:cubicBezTo>
                    <a:pt x="296" y="1360"/>
                    <a:pt x="293" y="1362"/>
                    <a:pt x="290" y="1363"/>
                  </a:cubicBezTo>
                  <a:cubicBezTo>
                    <a:pt x="286" y="1366"/>
                    <a:pt x="290" y="1371"/>
                    <a:pt x="294" y="1369"/>
                  </a:cubicBezTo>
                  <a:cubicBezTo>
                    <a:pt x="313" y="1357"/>
                    <a:pt x="333" y="1348"/>
                    <a:pt x="353" y="1340"/>
                  </a:cubicBezTo>
                  <a:cubicBezTo>
                    <a:pt x="366" y="1335"/>
                    <a:pt x="379" y="1331"/>
                    <a:pt x="392" y="1328"/>
                  </a:cubicBezTo>
                  <a:cubicBezTo>
                    <a:pt x="641" y="162"/>
                    <a:pt x="591" y="155"/>
                    <a:pt x="541" y="150"/>
                  </a:cubicBezTo>
                  <a:cubicBezTo>
                    <a:pt x="541" y="150"/>
                    <a:pt x="541" y="150"/>
                    <a:pt x="542" y="150"/>
                  </a:cubicBezTo>
                  <a:cubicBezTo>
                    <a:pt x="532" y="150"/>
                    <a:pt x="532" y="150"/>
                    <a:pt x="532" y="150"/>
                  </a:cubicBezTo>
                  <a:cubicBezTo>
                    <a:pt x="532" y="150"/>
                    <a:pt x="532" y="149"/>
                    <a:pt x="532" y="149"/>
                  </a:cubicBezTo>
                  <a:cubicBezTo>
                    <a:pt x="531" y="148"/>
                    <a:pt x="529" y="148"/>
                    <a:pt x="528" y="148"/>
                  </a:cubicBezTo>
                  <a:cubicBezTo>
                    <a:pt x="528" y="149"/>
                    <a:pt x="528" y="150"/>
                    <a:pt x="528" y="150"/>
                  </a:cubicBezTo>
                  <a:cubicBezTo>
                    <a:pt x="520" y="150"/>
                    <a:pt x="520" y="150"/>
                    <a:pt x="520" y="150"/>
                  </a:cubicBezTo>
                  <a:cubicBezTo>
                    <a:pt x="521" y="150"/>
                    <a:pt x="521" y="148"/>
                    <a:pt x="521" y="147"/>
                  </a:cubicBezTo>
                  <a:cubicBezTo>
                    <a:pt x="521" y="147"/>
                    <a:pt x="521" y="147"/>
                    <a:pt x="521" y="147"/>
                  </a:cubicBezTo>
                  <a:cubicBezTo>
                    <a:pt x="520" y="147"/>
                    <a:pt x="519" y="147"/>
                    <a:pt x="518" y="147"/>
                  </a:cubicBezTo>
                  <a:cubicBezTo>
                    <a:pt x="518" y="148"/>
                    <a:pt x="517" y="149"/>
                    <a:pt x="516" y="151"/>
                  </a:cubicBezTo>
                  <a:cubicBezTo>
                    <a:pt x="486" y="151"/>
                    <a:pt x="486" y="151"/>
                    <a:pt x="486" y="151"/>
                  </a:cubicBezTo>
                  <a:cubicBezTo>
                    <a:pt x="499" y="152"/>
                    <a:pt x="511" y="153"/>
                    <a:pt x="524" y="154"/>
                  </a:cubicBezTo>
                  <a:cubicBezTo>
                    <a:pt x="563" y="159"/>
                    <a:pt x="602" y="164"/>
                    <a:pt x="641" y="168"/>
                  </a:cubicBezTo>
                  <a:cubicBezTo>
                    <a:pt x="641" y="168"/>
                    <a:pt x="640" y="167"/>
                    <a:pt x="639" y="167"/>
                  </a:cubicBezTo>
                  <a:cubicBezTo>
                    <a:pt x="680" y="166"/>
                    <a:pt x="680" y="166"/>
                    <a:pt x="680" y="166"/>
                  </a:cubicBezTo>
                  <a:cubicBezTo>
                    <a:pt x="680" y="166"/>
                    <a:pt x="680" y="167"/>
                    <a:pt x="680" y="167"/>
                  </a:cubicBezTo>
                  <a:cubicBezTo>
                    <a:pt x="679" y="168"/>
                    <a:pt x="680" y="169"/>
                    <a:pt x="681" y="170"/>
                  </a:cubicBezTo>
                  <a:cubicBezTo>
                    <a:pt x="684" y="162"/>
                    <a:pt x="690" y="174"/>
                    <a:pt x="694" y="171"/>
                  </a:cubicBezTo>
                  <a:cubicBezTo>
                    <a:pt x="694" y="169"/>
                    <a:pt x="690" y="170"/>
                    <a:pt x="691" y="167"/>
                  </a:cubicBezTo>
                  <a:cubicBezTo>
                    <a:pt x="691" y="167"/>
                    <a:pt x="692" y="167"/>
                    <a:pt x="692" y="167"/>
                  </a:cubicBezTo>
                  <a:cubicBezTo>
                    <a:pt x="847" y="1288"/>
                    <a:pt x="846" y="1288"/>
                    <a:pt x="846" y="1287"/>
                  </a:cubicBezTo>
                  <a:cubicBezTo>
                    <a:pt x="845" y="1288"/>
                    <a:pt x="845" y="1288"/>
                    <a:pt x="845" y="1289"/>
                  </a:cubicBezTo>
                  <a:cubicBezTo>
                    <a:pt x="834" y="1289"/>
                    <a:pt x="834" y="1289"/>
                    <a:pt x="834" y="1289"/>
                  </a:cubicBezTo>
                  <a:cubicBezTo>
                    <a:pt x="834" y="1288"/>
                    <a:pt x="834" y="1287"/>
                    <a:pt x="834" y="1286"/>
                  </a:cubicBezTo>
                  <a:cubicBezTo>
                    <a:pt x="832" y="1287"/>
                    <a:pt x="830" y="1288"/>
                    <a:pt x="828" y="1288"/>
                  </a:cubicBezTo>
                  <a:cubicBezTo>
                    <a:pt x="828" y="1289"/>
                    <a:pt x="828" y="1289"/>
                    <a:pt x="828" y="1289"/>
                  </a:cubicBezTo>
                  <a:cubicBezTo>
                    <a:pt x="827" y="1289"/>
                    <a:pt x="827" y="1289"/>
                    <a:pt x="827" y="1289"/>
                  </a:cubicBezTo>
                  <a:cubicBezTo>
                    <a:pt x="807" y="1295"/>
                    <a:pt x="787" y="1301"/>
                    <a:pt x="767" y="1307"/>
                  </a:cubicBezTo>
                  <a:cubicBezTo>
                    <a:pt x="794" y="1306"/>
                    <a:pt x="794" y="1306"/>
                    <a:pt x="794" y="1306"/>
                  </a:cubicBezTo>
                  <a:cubicBezTo>
                    <a:pt x="812" y="1301"/>
                    <a:pt x="830" y="1295"/>
                    <a:pt x="848" y="1289"/>
                  </a:cubicBezTo>
                  <a:cubicBezTo>
                    <a:pt x="694" y="1323"/>
                    <a:pt x="695" y="1323"/>
                    <a:pt x="696" y="1322"/>
                  </a:cubicBezTo>
                  <a:cubicBezTo>
                    <a:pt x="696" y="1322"/>
                    <a:pt x="696" y="1322"/>
                    <a:pt x="696" y="1322"/>
                  </a:cubicBezTo>
                  <a:cubicBezTo>
                    <a:pt x="693" y="1323"/>
                    <a:pt x="690" y="1323"/>
                    <a:pt x="688" y="1324"/>
                  </a:cubicBezTo>
                  <a:cubicBezTo>
                    <a:pt x="689" y="1324"/>
                    <a:pt x="692" y="1324"/>
                    <a:pt x="693" y="1325"/>
                  </a:cubicBezTo>
                  <a:cubicBezTo>
                    <a:pt x="832" y="1316"/>
                    <a:pt x="832" y="1315"/>
                    <a:pt x="833" y="1314"/>
                  </a:cubicBezTo>
                  <a:cubicBezTo>
                    <a:pt x="830" y="1314"/>
                    <a:pt x="828" y="1313"/>
                    <a:pt x="828" y="1311"/>
                  </a:cubicBezTo>
                  <a:cubicBezTo>
                    <a:pt x="826" y="1312"/>
                    <a:pt x="824" y="1312"/>
                    <a:pt x="821" y="1313"/>
                  </a:cubicBezTo>
                  <a:cubicBezTo>
                    <a:pt x="821" y="1314"/>
                    <a:pt x="821" y="1315"/>
                    <a:pt x="821" y="1315"/>
                  </a:cubicBezTo>
                  <a:cubicBezTo>
                    <a:pt x="818" y="1318"/>
                    <a:pt x="815" y="1318"/>
                    <a:pt x="813" y="1316"/>
                  </a:cubicBezTo>
                  <a:cubicBezTo>
                    <a:pt x="812" y="1316"/>
                    <a:pt x="811" y="1317"/>
                    <a:pt x="809" y="1317"/>
                  </a:cubicBezTo>
                  <a:cubicBezTo>
                    <a:pt x="815" y="1317"/>
                    <a:pt x="817" y="1319"/>
                    <a:pt x="816" y="1323"/>
                  </a:cubicBezTo>
                  <a:cubicBezTo>
                    <a:pt x="821" y="1321"/>
                    <a:pt x="827" y="1319"/>
                    <a:pt x="832" y="1317"/>
                  </a:cubicBezTo>
                  <a:cubicBezTo>
                    <a:pt x="639" y="134"/>
                    <a:pt x="632" y="133"/>
                    <a:pt x="626" y="132"/>
                  </a:cubicBezTo>
                  <a:cubicBezTo>
                    <a:pt x="626" y="133"/>
                    <a:pt x="626" y="133"/>
                    <a:pt x="626" y="134"/>
                  </a:cubicBezTo>
                  <a:cubicBezTo>
                    <a:pt x="630" y="135"/>
                    <a:pt x="635" y="139"/>
                    <a:pt x="638" y="135"/>
                  </a:cubicBezTo>
                  <a:cubicBezTo>
                    <a:pt x="639" y="139"/>
                    <a:pt x="642" y="140"/>
                    <a:pt x="644" y="142"/>
                  </a:cubicBezTo>
                  <a:cubicBezTo>
                    <a:pt x="644" y="142"/>
                    <a:pt x="644" y="142"/>
                    <a:pt x="645" y="142"/>
                  </a:cubicBezTo>
                  <a:cubicBezTo>
                    <a:pt x="646" y="141"/>
                    <a:pt x="653" y="144"/>
                    <a:pt x="654" y="141"/>
                  </a:cubicBezTo>
                  <a:cubicBezTo>
                    <a:pt x="651" y="140"/>
                    <a:pt x="649" y="138"/>
                    <a:pt x="644" y="137"/>
                  </a:cubicBezTo>
                  <a:cubicBezTo>
                    <a:pt x="644" y="136"/>
                    <a:pt x="645" y="136"/>
                    <a:pt x="645" y="135"/>
                  </a:cubicBezTo>
                  <a:cubicBezTo>
                    <a:pt x="654" y="1354"/>
                    <a:pt x="654" y="1353"/>
                    <a:pt x="653" y="1352"/>
                  </a:cubicBezTo>
                  <a:cubicBezTo>
                    <a:pt x="650" y="1353"/>
                    <a:pt x="646" y="1353"/>
                    <a:pt x="643" y="1354"/>
                  </a:cubicBezTo>
                  <a:cubicBezTo>
                    <a:pt x="643" y="1355"/>
                    <a:pt x="643" y="1357"/>
                    <a:pt x="643" y="1359"/>
                  </a:cubicBezTo>
                  <a:cubicBezTo>
                    <a:pt x="647" y="1362"/>
                    <a:pt x="650" y="1357"/>
                    <a:pt x="654" y="1356"/>
                  </a:cubicBezTo>
                  <a:cubicBezTo>
                    <a:pt x="924" y="1274"/>
                    <a:pt x="924" y="1276"/>
                    <a:pt x="927" y="1276"/>
                  </a:cubicBezTo>
                  <a:cubicBezTo>
                    <a:pt x="926" y="1278"/>
                    <a:pt x="926" y="1279"/>
                    <a:pt x="925" y="1281"/>
                  </a:cubicBezTo>
                  <a:cubicBezTo>
                    <a:pt x="923" y="1281"/>
                    <a:pt x="921" y="1280"/>
                    <a:pt x="919" y="1280"/>
                  </a:cubicBezTo>
                  <a:cubicBezTo>
                    <a:pt x="920" y="1277"/>
                    <a:pt x="919" y="1277"/>
                    <a:pt x="921" y="1274"/>
                  </a:cubicBezTo>
                  <a:cubicBezTo>
                    <a:pt x="914" y="1277"/>
                    <a:pt x="907" y="1280"/>
                    <a:pt x="899" y="1284"/>
                  </a:cubicBezTo>
                  <a:cubicBezTo>
                    <a:pt x="899" y="1285"/>
                    <a:pt x="899" y="1286"/>
                    <a:pt x="900" y="1288"/>
                  </a:cubicBezTo>
                  <a:cubicBezTo>
                    <a:pt x="898" y="1288"/>
                    <a:pt x="896" y="1287"/>
                    <a:pt x="893" y="1286"/>
                  </a:cubicBezTo>
                  <a:cubicBezTo>
                    <a:pt x="876" y="1293"/>
                    <a:pt x="859" y="1300"/>
                    <a:pt x="842" y="1306"/>
                  </a:cubicBezTo>
                  <a:cubicBezTo>
                    <a:pt x="851" y="1306"/>
                    <a:pt x="851" y="1306"/>
                    <a:pt x="851" y="1306"/>
                  </a:cubicBezTo>
                  <a:cubicBezTo>
                    <a:pt x="852" y="1307"/>
                    <a:pt x="853" y="1308"/>
                    <a:pt x="853" y="1309"/>
                  </a:cubicBezTo>
                  <a:cubicBezTo>
                    <a:pt x="855" y="1308"/>
                    <a:pt x="855" y="1307"/>
                    <a:pt x="855" y="1306"/>
                  </a:cubicBezTo>
                  <a:cubicBezTo>
                    <a:pt x="863" y="1306"/>
                    <a:pt x="863" y="1306"/>
                    <a:pt x="863" y="1306"/>
                  </a:cubicBezTo>
                  <a:cubicBezTo>
                    <a:pt x="863" y="1306"/>
                    <a:pt x="863" y="1306"/>
                    <a:pt x="863" y="1306"/>
                  </a:cubicBezTo>
                  <a:cubicBezTo>
                    <a:pt x="863" y="1306"/>
                    <a:pt x="864" y="1306"/>
                    <a:pt x="864" y="1306"/>
                  </a:cubicBezTo>
                  <a:cubicBezTo>
                    <a:pt x="864" y="1306"/>
                    <a:pt x="864" y="1306"/>
                    <a:pt x="864" y="1306"/>
                  </a:cubicBezTo>
                  <a:cubicBezTo>
                    <a:pt x="865" y="1306"/>
                    <a:pt x="865" y="1306"/>
                    <a:pt x="865" y="1306"/>
                  </a:cubicBezTo>
                  <a:cubicBezTo>
                    <a:pt x="888" y="1297"/>
                    <a:pt x="911" y="1287"/>
                    <a:pt x="934" y="1277"/>
                  </a:cubicBezTo>
                  <a:cubicBezTo>
                    <a:pt x="932" y="1275"/>
                    <a:pt x="931" y="1272"/>
                    <a:pt x="931" y="1270"/>
                  </a:cubicBezTo>
                  <a:cubicBezTo>
                    <a:pt x="928" y="1271"/>
                    <a:pt x="925" y="1273"/>
                    <a:pt x="921" y="1274"/>
                  </a:cubicBezTo>
                  <a:cubicBezTo>
                    <a:pt x="1078" y="1201"/>
                    <a:pt x="1079" y="1198"/>
                    <a:pt x="1081" y="1197"/>
                  </a:cubicBezTo>
                  <a:cubicBezTo>
                    <a:pt x="1087" y="1197"/>
                    <a:pt x="1087" y="1197"/>
                    <a:pt x="1087" y="1197"/>
                  </a:cubicBezTo>
                  <a:cubicBezTo>
                    <a:pt x="1087" y="1197"/>
                    <a:pt x="1087" y="1197"/>
                    <a:pt x="1087" y="1198"/>
                  </a:cubicBezTo>
                  <a:cubicBezTo>
                    <a:pt x="1098" y="1192"/>
                    <a:pt x="1108" y="1185"/>
                    <a:pt x="1118" y="1179"/>
                  </a:cubicBezTo>
                  <a:cubicBezTo>
                    <a:pt x="1117" y="1179"/>
                    <a:pt x="1116" y="1179"/>
                    <a:pt x="1114" y="1179"/>
                  </a:cubicBezTo>
                  <a:cubicBezTo>
                    <a:pt x="1114" y="1179"/>
                    <a:pt x="1114" y="1179"/>
                    <a:pt x="1114" y="1179"/>
                  </a:cubicBezTo>
                  <a:cubicBezTo>
                    <a:pt x="1105" y="1179"/>
                    <a:pt x="1105" y="1179"/>
                    <a:pt x="1105" y="1179"/>
                  </a:cubicBezTo>
                  <a:cubicBezTo>
                    <a:pt x="1105" y="1179"/>
                    <a:pt x="1105" y="1179"/>
                    <a:pt x="1105" y="1178"/>
                  </a:cubicBezTo>
                  <a:cubicBezTo>
                    <a:pt x="1101" y="1181"/>
                    <a:pt x="1097" y="1183"/>
                    <a:pt x="1093" y="1186"/>
                  </a:cubicBezTo>
                  <a:cubicBezTo>
                    <a:pt x="1066" y="1203"/>
                    <a:pt x="1038" y="1219"/>
                    <a:pt x="1009" y="1233"/>
                  </a:cubicBezTo>
                  <a:cubicBezTo>
                    <a:pt x="1016" y="1233"/>
                    <a:pt x="1016" y="1233"/>
                    <a:pt x="1016" y="1233"/>
                  </a:cubicBezTo>
                  <a:cubicBezTo>
                    <a:pt x="1016" y="1234"/>
                    <a:pt x="1015" y="1235"/>
                    <a:pt x="1014" y="1235"/>
                  </a:cubicBezTo>
                  <a:cubicBezTo>
                    <a:pt x="1011" y="1234"/>
                    <a:pt x="1008" y="1235"/>
                    <a:pt x="1005" y="1235"/>
                  </a:cubicBezTo>
                  <a:cubicBezTo>
                    <a:pt x="999" y="1238"/>
                    <a:pt x="994" y="1241"/>
                    <a:pt x="988" y="1244"/>
                  </a:cubicBezTo>
                  <a:cubicBezTo>
                    <a:pt x="990" y="1244"/>
                    <a:pt x="993" y="1245"/>
                    <a:pt x="990" y="1248"/>
                  </a:cubicBezTo>
                  <a:cubicBezTo>
                    <a:pt x="988" y="1248"/>
                    <a:pt x="986" y="1248"/>
                    <a:pt x="985" y="1247"/>
                  </a:cubicBezTo>
                  <a:cubicBezTo>
                    <a:pt x="984" y="1246"/>
                    <a:pt x="985" y="1246"/>
                    <a:pt x="985" y="1245"/>
                  </a:cubicBezTo>
                  <a:cubicBezTo>
                    <a:pt x="968" y="1254"/>
                    <a:pt x="950" y="1262"/>
                    <a:pt x="932" y="1270"/>
                  </a:cubicBezTo>
                  <a:cubicBezTo>
                    <a:pt x="951" y="1269"/>
                    <a:pt x="951" y="1269"/>
                    <a:pt x="951" y="1269"/>
                  </a:cubicBezTo>
                  <a:cubicBezTo>
                    <a:pt x="966" y="1262"/>
                    <a:pt x="981" y="1255"/>
                    <a:pt x="996" y="1248"/>
                  </a:cubicBezTo>
                  <a:cubicBezTo>
                    <a:pt x="995" y="1247"/>
                    <a:pt x="994" y="1247"/>
                    <a:pt x="994" y="1247"/>
                  </a:cubicBezTo>
                  <a:cubicBezTo>
                    <a:pt x="994" y="1246"/>
                    <a:pt x="994" y="1245"/>
                    <a:pt x="993" y="1245"/>
                  </a:cubicBezTo>
                  <a:cubicBezTo>
                    <a:pt x="994" y="1241"/>
                    <a:pt x="1001" y="1241"/>
                    <a:pt x="1002" y="1244"/>
                  </a:cubicBezTo>
                  <a:cubicBezTo>
                    <a:pt x="1007" y="1242"/>
                    <a:pt x="1011" y="1240"/>
                    <a:pt x="1016" y="1237"/>
                  </a:cubicBezTo>
                  <a:cubicBezTo>
                    <a:pt x="1018" y="1236"/>
                    <a:pt x="1020" y="1235"/>
                    <a:pt x="1021" y="1233"/>
                  </a:cubicBezTo>
                  <a:cubicBezTo>
                    <a:pt x="1024" y="1233"/>
                    <a:pt x="1024" y="1233"/>
                    <a:pt x="1024" y="1233"/>
                  </a:cubicBezTo>
                  <a:cubicBezTo>
                    <a:pt x="1038" y="1226"/>
                    <a:pt x="1052" y="1218"/>
                    <a:pt x="1065" y="1210"/>
                  </a:cubicBezTo>
                  <a:cubicBezTo>
                    <a:pt x="1070" y="1208"/>
                    <a:pt x="1074" y="1205"/>
                    <a:pt x="1078" y="1203"/>
                  </a:cubicBezTo>
                  <a:cubicBezTo>
                    <a:pt x="765" y="1314"/>
                    <a:pt x="765" y="1313"/>
                    <a:pt x="766" y="1312"/>
                  </a:cubicBezTo>
                  <a:cubicBezTo>
                    <a:pt x="768" y="1308"/>
                    <a:pt x="770" y="1314"/>
                    <a:pt x="771" y="1312"/>
                  </a:cubicBezTo>
                  <a:cubicBezTo>
                    <a:pt x="772" y="1306"/>
                    <a:pt x="758" y="1312"/>
                    <a:pt x="757" y="1310"/>
                  </a:cubicBezTo>
                  <a:cubicBezTo>
                    <a:pt x="757" y="1310"/>
                    <a:pt x="757" y="1309"/>
                    <a:pt x="757" y="1309"/>
                  </a:cubicBezTo>
                  <a:cubicBezTo>
                    <a:pt x="756" y="1310"/>
                    <a:pt x="755" y="1310"/>
                    <a:pt x="753" y="1310"/>
                  </a:cubicBezTo>
                  <a:cubicBezTo>
                    <a:pt x="753" y="1311"/>
                    <a:pt x="753" y="1312"/>
                    <a:pt x="751" y="1312"/>
                  </a:cubicBezTo>
                  <a:cubicBezTo>
                    <a:pt x="755" y="1315"/>
                    <a:pt x="758" y="1315"/>
                    <a:pt x="761" y="1313"/>
                  </a:cubicBezTo>
                  <a:cubicBezTo>
                    <a:pt x="761" y="1314"/>
                    <a:pt x="760" y="1315"/>
                    <a:pt x="759" y="1316"/>
                  </a:cubicBezTo>
                  <a:cubicBezTo>
                    <a:pt x="761" y="1315"/>
                    <a:pt x="763" y="1315"/>
                    <a:pt x="765" y="1314"/>
                  </a:cubicBezTo>
                  <a:cubicBezTo>
                    <a:pt x="618" y="109"/>
                    <a:pt x="618" y="111"/>
                    <a:pt x="618" y="113"/>
                  </a:cubicBezTo>
                  <a:cubicBezTo>
                    <a:pt x="619" y="113"/>
                    <a:pt x="620" y="113"/>
                    <a:pt x="621" y="113"/>
                  </a:cubicBezTo>
                  <a:cubicBezTo>
                    <a:pt x="621" y="113"/>
                    <a:pt x="622" y="112"/>
                    <a:pt x="623" y="112"/>
                  </a:cubicBezTo>
                  <a:cubicBezTo>
                    <a:pt x="623" y="110"/>
                    <a:pt x="622" y="108"/>
                    <a:pt x="619" y="108"/>
                  </a:cubicBezTo>
                  <a:cubicBezTo>
                    <a:pt x="598" y="106"/>
                    <a:pt x="596" y="109"/>
                    <a:pt x="597" y="110"/>
                  </a:cubicBezTo>
                  <a:cubicBezTo>
                    <a:pt x="597" y="110"/>
                    <a:pt x="597" y="110"/>
                    <a:pt x="597" y="110"/>
                  </a:cubicBezTo>
                  <a:cubicBezTo>
                    <a:pt x="599" y="108"/>
                    <a:pt x="601" y="107"/>
                    <a:pt x="602" y="104"/>
                  </a:cubicBezTo>
                  <a:cubicBezTo>
                    <a:pt x="601" y="104"/>
                    <a:pt x="600" y="104"/>
                    <a:pt x="599" y="104"/>
                  </a:cubicBezTo>
                  <a:cubicBezTo>
                    <a:pt x="666" y="146"/>
                    <a:pt x="668" y="147"/>
                    <a:pt x="671" y="147"/>
                  </a:cubicBezTo>
                  <a:cubicBezTo>
                    <a:pt x="670" y="146"/>
                    <a:pt x="669" y="145"/>
                    <a:pt x="671" y="144"/>
                  </a:cubicBezTo>
                  <a:cubicBezTo>
                    <a:pt x="674" y="145"/>
                    <a:pt x="675" y="147"/>
                    <a:pt x="676" y="149"/>
                  </a:cubicBezTo>
                  <a:cubicBezTo>
                    <a:pt x="687" y="151"/>
                    <a:pt x="698" y="154"/>
                    <a:pt x="708" y="157"/>
                  </a:cubicBezTo>
                  <a:cubicBezTo>
                    <a:pt x="713" y="158"/>
                    <a:pt x="714" y="151"/>
                    <a:pt x="710" y="150"/>
                  </a:cubicBezTo>
                  <a:cubicBezTo>
                    <a:pt x="692" y="145"/>
                    <a:pt x="675" y="141"/>
                    <a:pt x="657" y="138"/>
                  </a:cubicBezTo>
                  <a:cubicBezTo>
                    <a:pt x="657" y="142"/>
                    <a:pt x="661" y="143"/>
                    <a:pt x="663" y="146"/>
                  </a:cubicBezTo>
                  <a:cubicBezTo>
                    <a:pt x="594" y="109"/>
                    <a:pt x="593" y="109"/>
                    <a:pt x="592" y="110"/>
                  </a:cubicBezTo>
                  <a:cubicBezTo>
                    <a:pt x="593" y="110"/>
                    <a:pt x="593" y="110"/>
                    <a:pt x="594" y="110"/>
                  </a:cubicBezTo>
                  <a:cubicBezTo>
                    <a:pt x="594" y="109"/>
                    <a:pt x="594" y="109"/>
                    <a:pt x="595" y="109"/>
                  </a:cubicBezTo>
                  <a:cubicBezTo>
                    <a:pt x="74" y="248"/>
                    <a:pt x="75" y="247"/>
                    <a:pt x="76" y="247"/>
                  </a:cubicBezTo>
                  <a:cubicBezTo>
                    <a:pt x="74" y="246"/>
                    <a:pt x="74" y="245"/>
                    <a:pt x="73" y="243"/>
                  </a:cubicBezTo>
                  <a:cubicBezTo>
                    <a:pt x="82" y="243"/>
                    <a:pt x="82" y="243"/>
                    <a:pt x="82" y="243"/>
                  </a:cubicBezTo>
                  <a:cubicBezTo>
                    <a:pt x="103" y="231"/>
                    <a:pt x="125" y="221"/>
                    <a:pt x="147" y="211"/>
                  </a:cubicBezTo>
                  <a:cubicBezTo>
                    <a:pt x="147" y="210"/>
                    <a:pt x="146" y="208"/>
                    <a:pt x="146" y="207"/>
                  </a:cubicBezTo>
                  <a:cubicBezTo>
                    <a:pt x="157" y="207"/>
                    <a:pt x="157" y="207"/>
                    <a:pt x="157" y="207"/>
                  </a:cubicBezTo>
                  <a:cubicBezTo>
                    <a:pt x="188" y="194"/>
                    <a:pt x="220" y="183"/>
                    <a:pt x="252" y="175"/>
                  </a:cubicBezTo>
                  <a:cubicBezTo>
                    <a:pt x="250" y="174"/>
                    <a:pt x="249" y="172"/>
                    <a:pt x="249" y="170"/>
                  </a:cubicBezTo>
                  <a:cubicBezTo>
                    <a:pt x="258" y="170"/>
                    <a:pt x="258" y="170"/>
                    <a:pt x="258" y="170"/>
                  </a:cubicBezTo>
                  <a:cubicBezTo>
                    <a:pt x="258" y="171"/>
                    <a:pt x="258" y="172"/>
                    <a:pt x="257" y="173"/>
                  </a:cubicBezTo>
                  <a:cubicBezTo>
                    <a:pt x="276" y="168"/>
                    <a:pt x="294" y="164"/>
                    <a:pt x="312" y="161"/>
                  </a:cubicBezTo>
                  <a:cubicBezTo>
                    <a:pt x="333" y="157"/>
                    <a:pt x="354" y="154"/>
                    <a:pt x="375" y="152"/>
                  </a:cubicBezTo>
                  <a:cubicBezTo>
                    <a:pt x="370" y="152"/>
                    <a:pt x="370" y="152"/>
                    <a:pt x="370" y="152"/>
                  </a:cubicBezTo>
                  <a:cubicBezTo>
                    <a:pt x="369" y="150"/>
                    <a:pt x="368" y="148"/>
                    <a:pt x="367" y="146"/>
                  </a:cubicBezTo>
                  <a:cubicBezTo>
                    <a:pt x="348" y="148"/>
                    <a:pt x="330" y="151"/>
                    <a:pt x="311" y="154"/>
                  </a:cubicBezTo>
                  <a:cubicBezTo>
                    <a:pt x="272" y="161"/>
                    <a:pt x="233" y="172"/>
                    <a:pt x="194" y="186"/>
                  </a:cubicBezTo>
                  <a:cubicBezTo>
                    <a:pt x="194" y="187"/>
                    <a:pt x="194" y="188"/>
                    <a:pt x="193" y="189"/>
                  </a:cubicBezTo>
                  <a:cubicBezTo>
                    <a:pt x="187" y="189"/>
                    <a:pt x="187" y="189"/>
                    <a:pt x="187" y="189"/>
                  </a:cubicBezTo>
                  <a:cubicBezTo>
                    <a:pt x="187" y="189"/>
                    <a:pt x="187" y="188"/>
                    <a:pt x="186" y="188"/>
                  </a:cubicBezTo>
                  <a:cubicBezTo>
                    <a:pt x="168" y="195"/>
                    <a:pt x="150" y="202"/>
                    <a:pt x="132" y="210"/>
                  </a:cubicBezTo>
                  <a:cubicBezTo>
                    <a:pt x="131" y="213"/>
                    <a:pt x="128" y="215"/>
                    <a:pt x="124" y="214"/>
                  </a:cubicBezTo>
                  <a:cubicBezTo>
                    <a:pt x="123" y="214"/>
                    <a:pt x="123" y="215"/>
                    <a:pt x="122" y="215"/>
                  </a:cubicBezTo>
                  <a:cubicBezTo>
                    <a:pt x="122" y="216"/>
                    <a:pt x="122" y="217"/>
                    <a:pt x="122" y="219"/>
                  </a:cubicBezTo>
                  <a:cubicBezTo>
                    <a:pt x="119" y="218"/>
                    <a:pt x="117" y="218"/>
                    <a:pt x="118" y="221"/>
                  </a:cubicBezTo>
                  <a:cubicBezTo>
                    <a:pt x="113" y="220"/>
                    <a:pt x="111" y="222"/>
                    <a:pt x="108" y="223"/>
                  </a:cubicBezTo>
                  <a:cubicBezTo>
                    <a:pt x="108" y="222"/>
                    <a:pt x="108" y="222"/>
                    <a:pt x="108" y="222"/>
                  </a:cubicBezTo>
                  <a:cubicBezTo>
                    <a:pt x="107" y="222"/>
                    <a:pt x="106" y="223"/>
                    <a:pt x="104" y="223"/>
                  </a:cubicBezTo>
                  <a:cubicBezTo>
                    <a:pt x="105" y="224"/>
                    <a:pt x="106" y="225"/>
                    <a:pt x="106" y="225"/>
                  </a:cubicBezTo>
                  <a:cubicBezTo>
                    <a:pt x="101" y="225"/>
                    <a:pt x="101" y="225"/>
                    <a:pt x="101" y="225"/>
                  </a:cubicBezTo>
                  <a:cubicBezTo>
                    <a:pt x="90" y="231"/>
                    <a:pt x="79" y="237"/>
                    <a:pt x="69" y="243"/>
                  </a:cubicBezTo>
                  <a:cubicBezTo>
                    <a:pt x="73" y="243"/>
                    <a:pt x="73" y="243"/>
                    <a:pt x="73" y="243"/>
                  </a:cubicBezTo>
                  <a:cubicBezTo>
                    <a:pt x="72" y="245"/>
                    <a:pt x="73" y="246"/>
                    <a:pt x="74" y="248"/>
                  </a:cubicBezTo>
                  <a:cubicBezTo>
                    <a:pt x="350" y="104"/>
                    <a:pt x="349" y="104"/>
                    <a:pt x="349" y="104"/>
                  </a:cubicBezTo>
                  <a:cubicBezTo>
                    <a:pt x="348" y="107"/>
                    <a:pt x="350" y="107"/>
                    <a:pt x="351" y="108"/>
                  </a:cubicBezTo>
                  <a:cubicBezTo>
                    <a:pt x="352" y="108"/>
                    <a:pt x="352" y="105"/>
                    <a:pt x="351" y="104"/>
                  </a:cubicBezTo>
                  <a:cubicBezTo>
                    <a:pt x="574" y="132"/>
                    <a:pt x="574" y="132"/>
                    <a:pt x="574" y="132"/>
                  </a:cubicBezTo>
                  <a:cubicBezTo>
                    <a:pt x="574" y="132"/>
                    <a:pt x="573" y="132"/>
                    <a:pt x="573" y="132"/>
                  </a:cubicBezTo>
                  <a:cubicBezTo>
                    <a:pt x="578" y="132"/>
                    <a:pt x="582" y="133"/>
                    <a:pt x="587" y="133"/>
                  </a:cubicBezTo>
                  <a:cubicBezTo>
                    <a:pt x="588" y="133"/>
                    <a:pt x="590" y="132"/>
                    <a:pt x="593" y="133"/>
                  </a:cubicBezTo>
                  <a:cubicBezTo>
                    <a:pt x="593" y="132"/>
                    <a:pt x="593" y="132"/>
                    <a:pt x="593" y="132"/>
                  </a:cubicBezTo>
                  <a:cubicBezTo>
                    <a:pt x="599" y="131"/>
                    <a:pt x="599" y="131"/>
                    <a:pt x="599" y="131"/>
                  </a:cubicBezTo>
                  <a:cubicBezTo>
                    <a:pt x="599" y="132"/>
                    <a:pt x="600" y="132"/>
                    <a:pt x="600" y="132"/>
                  </a:cubicBezTo>
                  <a:cubicBezTo>
                    <a:pt x="600" y="132"/>
                    <a:pt x="600" y="132"/>
                    <a:pt x="600" y="131"/>
                  </a:cubicBezTo>
                  <a:cubicBezTo>
                    <a:pt x="614" y="131"/>
                    <a:pt x="614" y="131"/>
                    <a:pt x="614" y="131"/>
                  </a:cubicBezTo>
                  <a:cubicBezTo>
                    <a:pt x="613" y="135"/>
                    <a:pt x="615" y="136"/>
                    <a:pt x="616" y="137"/>
                  </a:cubicBezTo>
                  <a:cubicBezTo>
                    <a:pt x="619" y="138"/>
                    <a:pt x="621" y="138"/>
                    <a:pt x="623" y="138"/>
                  </a:cubicBezTo>
                  <a:cubicBezTo>
                    <a:pt x="624" y="138"/>
                    <a:pt x="624" y="137"/>
                    <a:pt x="624" y="136"/>
                  </a:cubicBezTo>
                  <a:cubicBezTo>
                    <a:pt x="621" y="136"/>
                    <a:pt x="622" y="138"/>
                    <a:pt x="618" y="136"/>
                  </a:cubicBezTo>
                  <a:cubicBezTo>
                    <a:pt x="618" y="135"/>
                    <a:pt x="618" y="134"/>
                    <a:pt x="618" y="133"/>
                  </a:cubicBezTo>
                  <a:cubicBezTo>
                    <a:pt x="617" y="133"/>
                    <a:pt x="615" y="133"/>
                    <a:pt x="614" y="132"/>
                  </a:cubicBezTo>
                  <a:cubicBezTo>
                    <a:pt x="614" y="132"/>
                    <a:pt x="614" y="132"/>
                    <a:pt x="614" y="131"/>
                  </a:cubicBezTo>
                  <a:cubicBezTo>
                    <a:pt x="621" y="131"/>
                    <a:pt x="621" y="131"/>
                    <a:pt x="621" y="131"/>
                  </a:cubicBezTo>
                  <a:cubicBezTo>
                    <a:pt x="518" y="115"/>
                    <a:pt x="412" y="118"/>
                    <a:pt x="309" y="134"/>
                  </a:cubicBezTo>
                  <a:cubicBezTo>
                    <a:pt x="359" y="134"/>
                    <a:pt x="359" y="134"/>
                    <a:pt x="359" y="134"/>
                  </a:cubicBezTo>
                  <a:cubicBezTo>
                    <a:pt x="359" y="134"/>
                    <a:pt x="359" y="134"/>
                    <a:pt x="359" y="134"/>
                  </a:cubicBezTo>
                  <a:cubicBezTo>
                    <a:pt x="430" y="126"/>
                    <a:pt x="501" y="125"/>
                    <a:pt x="572" y="132"/>
                  </a:cubicBezTo>
                  <a:cubicBezTo>
                    <a:pt x="457" y="101"/>
                    <a:pt x="460" y="101"/>
                    <a:pt x="461" y="103"/>
                  </a:cubicBezTo>
                  <a:cubicBezTo>
                    <a:pt x="464" y="103"/>
                    <a:pt x="465" y="102"/>
                    <a:pt x="467" y="101"/>
                  </a:cubicBezTo>
                  <a:cubicBezTo>
                    <a:pt x="467" y="102"/>
                    <a:pt x="468" y="103"/>
                    <a:pt x="469" y="104"/>
                  </a:cubicBezTo>
                  <a:cubicBezTo>
                    <a:pt x="473" y="104"/>
                    <a:pt x="478" y="104"/>
                    <a:pt x="482" y="104"/>
                  </a:cubicBezTo>
                  <a:cubicBezTo>
                    <a:pt x="482" y="103"/>
                    <a:pt x="482" y="103"/>
                    <a:pt x="482" y="102"/>
                  </a:cubicBezTo>
                  <a:cubicBezTo>
                    <a:pt x="487" y="103"/>
                    <a:pt x="488" y="101"/>
                    <a:pt x="488" y="98"/>
                  </a:cubicBezTo>
                  <a:cubicBezTo>
                    <a:pt x="494" y="97"/>
                    <a:pt x="497" y="103"/>
                    <a:pt x="502" y="99"/>
                  </a:cubicBezTo>
                  <a:cubicBezTo>
                    <a:pt x="501" y="98"/>
                    <a:pt x="501" y="98"/>
                    <a:pt x="501" y="97"/>
                  </a:cubicBezTo>
                  <a:cubicBezTo>
                    <a:pt x="495" y="97"/>
                    <a:pt x="490" y="97"/>
                    <a:pt x="484" y="97"/>
                  </a:cubicBezTo>
                  <a:cubicBezTo>
                    <a:pt x="484" y="99"/>
                    <a:pt x="483" y="102"/>
                    <a:pt x="480" y="102"/>
                  </a:cubicBezTo>
                  <a:cubicBezTo>
                    <a:pt x="479" y="102"/>
                    <a:pt x="479" y="100"/>
                    <a:pt x="478" y="100"/>
                  </a:cubicBezTo>
                  <a:cubicBezTo>
                    <a:pt x="478" y="99"/>
                    <a:pt x="479" y="98"/>
                    <a:pt x="479" y="97"/>
                  </a:cubicBezTo>
                  <a:cubicBezTo>
                    <a:pt x="471" y="97"/>
                    <a:pt x="463" y="97"/>
                    <a:pt x="456" y="97"/>
                  </a:cubicBezTo>
                  <a:cubicBezTo>
                    <a:pt x="455" y="98"/>
                    <a:pt x="455" y="98"/>
                    <a:pt x="455" y="99"/>
                  </a:cubicBezTo>
                  <a:cubicBezTo>
                    <a:pt x="864" y="1324"/>
                    <a:pt x="864" y="1324"/>
                    <a:pt x="864" y="1324"/>
                  </a:cubicBezTo>
                  <a:cubicBezTo>
                    <a:pt x="844" y="1330"/>
                    <a:pt x="825" y="1336"/>
                    <a:pt x="806" y="1342"/>
                  </a:cubicBezTo>
                  <a:cubicBezTo>
                    <a:pt x="822" y="1342"/>
                    <a:pt x="822" y="1342"/>
                    <a:pt x="822" y="1342"/>
                  </a:cubicBezTo>
                  <a:cubicBezTo>
                    <a:pt x="823" y="1342"/>
                    <a:pt x="823" y="1343"/>
                    <a:pt x="823" y="1344"/>
                  </a:cubicBezTo>
                  <a:cubicBezTo>
                    <a:pt x="844" y="1338"/>
                    <a:pt x="864" y="1331"/>
                    <a:pt x="884" y="1324"/>
                  </a:cubicBezTo>
                  <a:cubicBezTo>
                    <a:pt x="380" y="1348"/>
                    <a:pt x="381" y="1349"/>
                    <a:pt x="383" y="1351"/>
                  </a:cubicBezTo>
                  <a:cubicBezTo>
                    <a:pt x="414" y="1344"/>
                    <a:pt x="446" y="1342"/>
                    <a:pt x="477" y="1343"/>
                  </a:cubicBezTo>
                  <a:cubicBezTo>
                    <a:pt x="498" y="1344"/>
                    <a:pt x="520" y="1345"/>
                    <a:pt x="541" y="1344"/>
                  </a:cubicBezTo>
                  <a:cubicBezTo>
                    <a:pt x="541" y="1344"/>
                    <a:pt x="541" y="1344"/>
                    <a:pt x="541" y="1344"/>
                  </a:cubicBezTo>
                  <a:cubicBezTo>
                    <a:pt x="548" y="1344"/>
                    <a:pt x="548" y="1344"/>
                    <a:pt x="548" y="1344"/>
                  </a:cubicBezTo>
                  <a:cubicBezTo>
                    <a:pt x="586" y="1343"/>
                    <a:pt x="624" y="1340"/>
                    <a:pt x="662" y="1335"/>
                  </a:cubicBezTo>
                  <a:cubicBezTo>
                    <a:pt x="681" y="1333"/>
                    <a:pt x="699" y="1329"/>
                    <a:pt x="718" y="1325"/>
                  </a:cubicBezTo>
                  <a:cubicBezTo>
                    <a:pt x="676" y="1326"/>
                    <a:pt x="676" y="1326"/>
                    <a:pt x="676" y="1326"/>
                  </a:cubicBezTo>
                  <a:cubicBezTo>
                    <a:pt x="609" y="1336"/>
                    <a:pt x="542" y="1340"/>
                    <a:pt x="475" y="1337"/>
                  </a:cubicBezTo>
                  <a:cubicBezTo>
                    <a:pt x="443" y="1335"/>
                    <a:pt x="409" y="1337"/>
                    <a:pt x="377" y="1346"/>
                  </a:cubicBezTo>
                  <a:cubicBezTo>
                    <a:pt x="93" y="156"/>
                    <a:pt x="95" y="157"/>
                    <a:pt x="97" y="156"/>
                  </a:cubicBezTo>
                  <a:cubicBezTo>
                    <a:pt x="99" y="155"/>
                    <a:pt x="102" y="155"/>
                    <a:pt x="104" y="154"/>
                  </a:cubicBezTo>
                  <a:cubicBezTo>
                    <a:pt x="101" y="154"/>
                    <a:pt x="101" y="154"/>
                    <a:pt x="101" y="154"/>
                  </a:cubicBezTo>
                  <a:cubicBezTo>
                    <a:pt x="100" y="153"/>
                    <a:pt x="100" y="151"/>
                    <a:pt x="102" y="149"/>
                  </a:cubicBezTo>
                  <a:cubicBezTo>
                    <a:pt x="106" y="149"/>
                    <a:pt x="110" y="149"/>
                    <a:pt x="114" y="149"/>
                  </a:cubicBezTo>
                  <a:cubicBezTo>
                    <a:pt x="115" y="150"/>
                    <a:pt x="115" y="150"/>
                    <a:pt x="115" y="151"/>
                  </a:cubicBezTo>
                  <a:cubicBezTo>
                    <a:pt x="121" y="150"/>
                    <a:pt x="127" y="148"/>
                    <a:pt x="133" y="147"/>
                  </a:cubicBezTo>
                  <a:cubicBezTo>
                    <a:pt x="133" y="146"/>
                    <a:pt x="132" y="145"/>
                    <a:pt x="131" y="144"/>
                  </a:cubicBezTo>
                  <a:cubicBezTo>
                    <a:pt x="126" y="143"/>
                    <a:pt x="125" y="143"/>
                    <a:pt x="126" y="142"/>
                  </a:cubicBezTo>
                  <a:cubicBezTo>
                    <a:pt x="126" y="142"/>
                    <a:pt x="126" y="142"/>
                    <a:pt x="126" y="142"/>
                  </a:cubicBezTo>
                  <a:cubicBezTo>
                    <a:pt x="119" y="143"/>
                    <a:pt x="111" y="145"/>
                    <a:pt x="104" y="147"/>
                  </a:cubicBezTo>
                  <a:cubicBezTo>
                    <a:pt x="104" y="147"/>
                    <a:pt x="104" y="148"/>
                    <a:pt x="104" y="148"/>
                  </a:cubicBezTo>
                  <a:cubicBezTo>
                    <a:pt x="103" y="148"/>
                    <a:pt x="102" y="148"/>
                    <a:pt x="101" y="148"/>
                  </a:cubicBezTo>
                  <a:cubicBezTo>
                    <a:pt x="99" y="149"/>
                    <a:pt x="97" y="149"/>
                    <a:pt x="94" y="150"/>
                  </a:cubicBezTo>
                  <a:cubicBezTo>
                    <a:pt x="94" y="150"/>
                    <a:pt x="94" y="150"/>
                    <a:pt x="93" y="150"/>
                  </a:cubicBezTo>
                  <a:cubicBezTo>
                    <a:pt x="95" y="150"/>
                    <a:pt x="96" y="151"/>
                    <a:pt x="97" y="151"/>
                  </a:cubicBezTo>
                  <a:cubicBezTo>
                    <a:pt x="97" y="152"/>
                    <a:pt x="97" y="153"/>
                    <a:pt x="97" y="154"/>
                  </a:cubicBezTo>
                  <a:cubicBezTo>
                    <a:pt x="331" y="1369"/>
                    <a:pt x="350" y="1361"/>
                    <a:pt x="371" y="1354"/>
                  </a:cubicBezTo>
                  <a:cubicBezTo>
                    <a:pt x="371" y="1354"/>
                    <a:pt x="370" y="1354"/>
                    <a:pt x="370" y="1354"/>
                  </a:cubicBezTo>
                  <a:cubicBezTo>
                    <a:pt x="371" y="1353"/>
                    <a:pt x="374" y="1353"/>
                    <a:pt x="374" y="1351"/>
                  </a:cubicBezTo>
                  <a:cubicBezTo>
                    <a:pt x="373" y="1350"/>
                    <a:pt x="372" y="1349"/>
                    <a:pt x="371" y="1347"/>
                  </a:cubicBezTo>
                  <a:cubicBezTo>
                    <a:pt x="363" y="1350"/>
                    <a:pt x="356" y="1352"/>
                    <a:pt x="349" y="1355"/>
                  </a:cubicBezTo>
                  <a:cubicBezTo>
                    <a:pt x="350" y="1361"/>
                    <a:pt x="338" y="1357"/>
                    <a:pt x="335" y="1363"/>
                  </a:cubicBezTo>
                  <a:cubicBezTo>
                    <a:pt x="335" y="1363"/>
                    <a:pt x="334" y="1362"/>
                    <a:pt x="333" y="1362"/>
                  </a:cubicBezTo>
                  <a:cubicBezTo>
                    <a:pt x="324" y="1367"/>
                    <a:pt x="316" y="1372"/>
                    <a:pt x="308" y="1378"/>
                  </a:cubicBezTo>
                  <a:cubicBezTo>
                    <a:pt x="304" y="1381"/>
                    <a:pt x="308" y="1385"/>
                    <a:pt x="311" y="1384"/>
                  </a:cubicBezTo>
                  <a:cubicBezTo>
                    <a:pt x="310" y="1383"/>
                    <a:pt x="309" y="1383"/>
                    <a:pt x="307" y="1382"/>
                  </a:cubicBezTo>
                  <a:cubicBezTo>
                    <a:pt x="307" y="1382"/>
                    <a:pt x="307" y="1382"/>
                    <a:pt x="307" y="1382"/>
                  </a:cubicBezTo>
                  <a:cubicBezTo>
                    <a:pt x="464" y="73"/>
                    <a:pt x="465" y="73"/>
                    <a:pt x="465" y="73"/>
                  </a:cubicBezTo>
                  <a:cubicBezTo>
                    <a:pt x="465" y="73"/>
                    <a:pt x="465" y="73"/>
                    <a:pt x="465" y="72"/>
                  </a:cubicBezTo>
                  <a:cubicBezTo>
                    <a:pt x="464" y="73"/>
                    <a:pt x="464" y="73"/>
                    <a:pt x="464" y="73"/>
                  </a:cubicBezTo>
                  <a:cubicBezTo>
                    <a:pt x="870" y="1342"/>
                    <a:pt x="870" y="1344"/>
                    <a:pt x="868" y="1345"/>
                  </a:cubicBezTo>
                  <a:cubicBezTo>
                    <a:pt x="868" y="1346"/>
                    <a:pt x="868" y="1346"/>
                    <a:pt x="868" y="1346"/>
                  </a:cubicBezTo>
                  <a:cubicBezTo>
                    <a:pt x="870" y="1346"/>
                    <a:pt x="871" y="1345"/>
                    <a:pt x="873" y="1345"/>
                  </a:cubicBezTo>
                  <a:cubicBezTo>
                    <a:pt x="873" y="1344"/>
                    <a:pt x="873" y="1343"/>
                    <a:pt x="873" y="1343"/>
                  </a:cubicBezTo>
                  <a:cubicBezTo>
                    <a:pt x="873" y="1352"/>
                    <a:pt x="872" y="1352"/>
                    <a:pt x="872" y="1352"/>
                  </a:cubicBezTo>
                  <a:cubicBezTo>
                    <a:pt x="872" y="1353"/>
                    <a:pt x="872" y="1353"/>
                    <a:pt x="872" y="1353"/>
                  </a:cubicBezTo>
                  <a:cubicBezTo>
                    <a:pt x="872" y="1353"/>
                    <a:pt x="873" y="1352"/>
                    <a:pt x="873" y="1352"/>
                  </a:cubicBezTo>
                  <a:cubicBezTo>
                    <a:pt x="923" y="1322"/>
                    <a:pt x="923" y="1321"/>
                    <a:pt x="923" y="1320"/>
                  </a:cubicBezTo>
                  <a:cubicBezTo>
                    <a:pt x="922" y="1320"/>
                    <a:pt x="920" y="1321"/>
                    <a:pt x="918" y="1322"/>
                  </a:cubicBezTo>
                  <a:cubicBezTo>
                    <a:pt x="918" y="1322"/>
                    <a:pt x="918" y="1322"/>
                    <a:pt x="919" y="1322"/>
                  </a:cubicBezTo>
                  <a:cubicBezTo>
                    <a:pt x="918" y="1323"/>
                    <a:pt x="918" y="1323"/>
                    <a:pt x="917" y="1324"/>
                  </a:cubicBezTo>
                  <a:cubicBezTo>
                    <a:pt x="912" y="1324"/>
                    <a:pt x="912" y="1324"/>
                    <a:pt x="912" y="1324"/>
                  </a:cubicBezTo>
                  <a:cubicBezTo>
                    <a:pt x="893" y="1331"/>
                    <a:pt x="874" y="1337"/>
                    <a:pt x="855" y="1343"/>
                  </a:cubicBezTo>
                  <a:cubicBezTo>
                    <a:pt x="855" y="1344"/>
                    <a:pt x="855" y="1346"/>
                    <a:pt x="853" y="1347"/>
                  </a:cubicBezTo>
                  <a:cubicBezTo>
                    <a:pt x="857" y="1347"/>
                    <a:pt x="858" y="1344"/>
                    <a:pt x="862" y="1346"/>
                  </a:cubicBezTo>
                  <a:cubicBezTo>
                    <a:pt x="863" y="1344"/>
                    <a:pt x="862" y="1343"/>
                    <a:pt x="861" y="1341"/>
                  </a:cubicBezTo>
                  <a:cubicBezTo>
                    <a:pt x="883" y="1341"/>
                    <a:pt x="883" y="1341"/>
                    <a:pt x="883" y="1341"/>
                  </a:cubicBezTo>
                  <a:cubicBezTo>
                    <a:pt x="899" y="1336"/>
                    <a:pt x="916" y="1330"/>
                    <a:pt x="932" y="1324"/>
                  </a:cubicBezTo>
                  <a:cubicBezTo>
                    <a:pt x="1019" y="1258"/>
                    <a:pt x="1006" y="1265"/>
                    <a:pt x="993" y="1271"/>
                  </a:cubicBezTo>
                  <a:cubicBezTo>
                    <a:pt x="994" y="1271"/>
                    <a:pt x="995" y="1272"/>
                    <a:pt x="996" y="1272"/>
                  </a:cubicBezTo>
                  <a:cubicBezTo>
                    <a:pt x="998" y="1276"/>
                    <a:pt x="990" y="1277"/>
                    <a:pt x="989" y="1273"/>
                  </a:cubicBezTo>
                  <a:cubicBezTo>
                    <a:pt x="985" y="1275"/>
                    <a:pt x="981" y="1277"/>
                    <a:pt x="976" y="1279"/>
                  </a:cubicBezTo>
                  <a:cubicBezTo>
                    <a:pt x="978" y="1281"/>
                    <a:pt x="980" y="1282"/>
                    <a:pt x="981" y="1285"/>
                  </a:cubicBezTo>
                  <a:cubicBezTo>
                    <a:pt x="982" y="1284"/>
                    <a:pt x="983" y="1283"/>
                    <a:pt x="985" y="1283"/>
                  </a:cubicBezTo>
                  <a:cubicBezTo>
                    <a:pt x="984" y="1282"/>
                    <a:pt x="983" y="1281"/>
                    <a:pt x="984" y="1280"/>
                  </a:cubicBezTo>
                  <a:cubicBezTo>
                    <a:pt x="985" y="1279"/>
                    <a:pt x="989" y="1279"/>
                    <a:pt x="990" y="1280"/>
                  </a:cubicBezTo>
                  <a:cubicBezTo>
                    <a:pt x="991" y="1280"/>
                    <a:pt x="992" y="1279"/>
                    <a:pt x="993" y="1279"/>
                  </a:cubicBezTo>
                  <a:cubicBezTo>
                    <a:pt x="993" y="1279"/>
                    <a:pt x="993" y="1279"/>
                    <a:pt x="993" y="1278"/>
                  </a:cubicBezTo>
                  <a:cubicBezTo>
                    <a:pt x="997" y="1277"/>
                    <a:pt x="998" y="1273"/>
                    <a:pt x="1001" y="1272"/>
                  </a:cubicBezTo>
                  <a:cubicBezTo>
                    <a:pt x="1001" y="1271"/>
                    <a:pt x="1000" y="1270"/>
                    <a:pt x="1000" y="1269"/>
                  </a:cubicBezTo>
                  <a:cubicBezTo>
                    <a:pt x="1006" y="1269"/>
                    <a:pt x="1006" y="1269"/>
                    <a:pt x="1006" y="1269"/>
                  </a:cubicBezTo>
                  <a:cubicBezTo>
                    <a:pt x="1006" y="1270"/>
                    <a:pt x="1007" y="1271"/>
                    <a:pt x="1007" y="1272"/>
                  </a:cubicBezTo>
                  <a:cubicBezTo>
                    <a:pt x="1020" y="1265"/>
                    <a:pt x="1033" y="1258"/>
                    <a:pt x="1046" y="1251"/>
                  </a:cubicBezTo>
                  <a:cubicBezTo>
                    <a:pt x="516" y="104"/>
                    <a:pt x="517" y="102"/>
                    <a:pt x="522" y="103"/>
                  </a:cubicBezTo>
                  <a:cubicBezTo>
                    <a:pt x="522" y="104"/>
                    <a:pt x="522" y="104"/>
                    <a:pt x="523" y="105"/>
                  </a:cubicBezTo>
                  <a:cubicBezTo>
                    <a:pt x="525" y="105"/>
                    <a:pt x="528" y="105"/>
                    <a:pt x="531" y="105"/>
                  </a:cubicBezTo>
                  <a:cubicBezTo>
                    <a:pt x="532" y="103"/>
                    <a:pt x="532" y="101"/>
                    <a:pt x="533" y="98"/>
                  </a:cubicBezTo>
                  <a:cubicBezTo>
                    <a:pt x="526" y="98"/>
                    <a:pt x="520" y="98"/>
                    <a:pt x="513" y="98"/>
                  </a:cubicBezTo>
                  <a:cubicBezTo>
                    <a:pt x="513" y="99"/>
                    <a:pt x="512" y="99"/>
                    <a:pt x="510" y="99"/>
                  </a:cubicBezTo>
                  <a:cubicBezTo>
                    <a:pt x="509" y="99"/>
                    <a:pt x="509" y="98"/>
                    <a:pt x="508" y="97"/>
                  </a:cubicBezTo>
                  <a:cubicBezTo>
                    <a:pt x="508" y="97"/>
                    <a:pt x="507" y="97"/>
                    <a:pt x="507" y="97"/>
                  </a:cubicBezTo>
                  <a:cubicBezTo>
                    <a:pt x="507" y="100"/>
                    <a:pt x="506" y="102"/>
                    <a:pt x="505" y="103"/>
                  </a:cubicBezTo>
                  <a:cubicBezTo>
                    <a:pt x="507" y="103"/>
                    <a:pt x="508" y="103"/>
                    <a:pt x="509" y="104"/>
                  </a:cubicBezTo>
                  <a:cubicBezTo>
                    <a:pt x="509" y="104"/>
                    <a:pt x="509" y="104"/>
                    <a:pt x="509" y="104"/>
                  </a:cubicBezTo>
                  <a:cubicBezTo>
                    <a:pt x="510" y="104"/>
                    <a:pt x="512" y="104"/>
                    <a:pt x="513" y="104"/>
                  </a:cubicBezTo>
                  <a:cubicBezTo>
                    <a:pt x="538" y="105"/>
                    <a:pt x="542" y="105"/>
                    <a:pt x="545" y="106"/>
                  </a:cubicBezTo>
                  <a:cubicBezTo>
                    <a:pt x="546" y="105"/>
                    <a:pt x="547" y="104"/>
                    <a:pt x="547" y="103"/>
                  </a:cubicBezTo>
                  <a:cubicBezTo>
                    <a:pt x="550" y="103"/>
                    <a:pt x="551" y="104"/>
                    <a:pt x="552" y="106"/>
                  </a:cubicBezTo>
                  <a:cubicBezTo>
                    <a:pt x="554" y="106"/>
                    <a:pt x="556" y="106"/>
                    <a:pt x="558" y="106"/>
                  </a:cubicBezTo>
                  <a:cubicBezTo>
                    <a:pt x="558" y="105"/>
                    <a:pt x="558" y="103"/>
                    <a:pt x="559" y="102"/>
                  </a:cubicBezTo>
                  <a:cubicBezTo>
                    <a:pt x="565" y="101"/>
                    <a:pt x="566" y="105"/>
                    <a:pt x="570" y="102"/>
                  </a:cubicBezTo>
                  <a:cubicBezTo>
                    <a:pt x="571" y="103"/>
                    <a:pt x="572" y="105"/>
                    <a:pt x="572" y="108"/>
                  </a:cubicBezTo>
                  <a:cubicBezTo>
                    <a:pt x="573" y="108"/>
                    <a:pt x="575" y="108"/>
                    <a:pt x="577" y="108"/>
                  </a:cubicBezTo>
                  <a:cubicBezTo>
                    <a:pt x="576" y="107"/>
                    <a:pt x="576" y="107"/>
                    <a:pt x="576" y="106"/>
                  </a:cubicBezTo>
                  <a:cubicBezTo>
                    <a:pt x="577" y="105"/>
                    <a:pt x="578" y="103"/>
                    <a:pt x="578" y="101"/>
                  </a:cubicBezTo>
                  <a:cubicBezTo>
                    <a:pt x="577" y="101"/>
                    <a:pt x="577" y="101"/>
                    <a:pt x="576" y="101"/>
                  </a:cubicBezTo>
                  <a:cubicBezTo>
                    <a:pt x="576" y="102"/>
                    <a:pt x="575" y="102"/>
                    <a:pt x="574" y="102"/>
                  </a:cubicBezTo>
                  <a:cubicBezTo>
                    <a:pt x="574" y="102"/>
                    <a:pt x="573" y="102"/>
                    <a:pt x="573" y="101"/>
                  </a:cubicBezTo>
                  <a:cubicBezTo>
                    <a:pt x="561" y="100"/>
                    <a:pt x="549" y="99"/>
                    <a:pt x="537" y="98"/>
                  </a:cubicBezTo>
                  <a:cubicBezTo>
                    <a:pt x="537" y="101"/>
                    <a:pt x="536" y="103"/>
                    <a:pt x="535" y="105"/>
                  </a:cubicBezTo>
                  <a:cubicBezTo>
                    <a:pt x="1101" y="1212"/>
                    <a:pt x="1100" y="1212"/>
                    <a:pt x="1100" y="1211"/>
                  </a:cubicBezTo>
                  <a:cubicBezTo>
                    <a:pt x="1086" y="1220"/>
                    <a:pt x="1073" y="1228"/>
                    <a:pt x="1058" y="1237"/>
                  </a:cubicBezTo>
                  <a:cubicBezTo>
                    <a:pt x="1059" y="1238"/>
                    <a:pt x="1059" y="1240"/>
                    <a:pt x="1058" y="1242"/>
                  </a:cubicBezTo>
                  <a:cubicBezTo>
                    <a:pt x="1054" y="1242"/>
                    <a:pt x="1051" y="1242"/>
                    <a:pt x="1049" y="1242"/>
                  </a:cubicBezTo>
                  <a:cubicBezTo>
                    <a:pt x="1047" y="1243"/>
                    <a:pt x="1046" y="1244"/>
                    <a:pt x="1044" y="1245"/>
                  </a:cubicBezTo>
                  <a:cubicBezTo>
                    <a:pt x="1046" y="1247"/>
                    <a:pt x="1046" y="1249"/>
                    <a:pt x="1048" y="1250"/>
                  </a:cubicBezTo>
                  <a:cubicBezTo>
                    <a:pt x="1050" y="1249"/>
                    <a:pt x="1051" y="1248"/>
                    <a:pt x="1053" y="1248"/>
                  </a:cubicBezTo>
                  <a:cubicBezTo>
                    <a:pt x="1051" y="1247"/>
                    <a:pt x="1049" y="1246"/>
                    <a:pt x="1050" y="1244"/>
                  </a:cubicBezTo>
                  <a:cubicBezTo>
                    <a:pt x="1051" y="1242"/>
                    <a:pt x="1054" y="1244"/>
                    <a:pt x="1057" y="1244"/>
                  </a:cubicBezTo>
                  <a:cubicBezTo>
                    <a:pt x="1057" y="1244"/>
                    <a:pt x="1057" y="1245"/>
                    <a:pt x="1057" y="1245"/>
                  </a:cubicBezTo>
                  <a:cubicBezTo>
                    <a:pt x="1058" y="1245"/>
                    <a:pt x="1059" y="1244"/>
                    <a:pt x="1060" y="1243"/>
                  </a:cubicBezTo>
                  <a:cubicBezTo>
                    <a:pt x="1061" y="1240"/>
                    <a:pt x="1064" y="1239"/>
                    <a:pt x="1067" y="1239"/>
                  </a:cubicBezTo>
                  <a:cubicBezTo>
                    <a:pt x="1068" y="1239"/>
                    <a:pt x="1069" y="1238"/>
                    <a:pt x="1069" y="1238"/>
                  </a:cubicBezTo>
                  <a:cubicBezTo>
                    <a:pt x="1069" y="1238"/>
                    <a:pt x="1069" y="1238"/>
                    <a:pt x="1068" y="1238"/>
                  </a:cubicBezTo>
                  <a:cubicBezTo>
                    <a:pt x="1068" y="1235"/>
                    <a:pt x="1070" y="1234"/>
                    <a:pt x="1073" y="1235"/>
                  </a:cubicBezTo>
                  <a:cubicBezTo>
                    <a:pt x="1073" y="1235"/>
                    <a:pt x="1073" y="1235"/>
                    <a:pt x="1073" y="1236"/>
                  </a:cubicBezTo>
                  <a:cubicBezTo>
                    <a:pt x="1084" y="1229"/>
                    <a:pt x="1095" y="1222"/>
                    <a:pt x="1106" y="1215"/>
                  </a:cubicBezTo>
                  <a:cubicBezTo>
                    <a:pt x="1099" y="1215"/>
                    <a:pt x="1099" y="1215"/>
                    <a:pt x="1099" y="1215"/>
                  </a:cubicBezTo>
                  <a:cubicBezTo>
                    <a:pt x="1100" y="1214"/>
                    <a:pt x="1101" y="1213"/>
                    <a:pt x="1102" y="1212"/>
                  </a:cubicBezTo>
                  <a:cubicBezTo>
                    <a:pt x="190" y="325"/>
                    <a:pt x="191" y="326"/>
                    <a:pt x="191" y="327"/>
                  </a:cubicBezTo>
                  <a:cubicBezTo>
                    <a:pt x="192" y="326"/>
                    <a:pt x="192" y="326"/>
                    <a:pt x="193" y="325"/>
                  </a:cubicBezTo>
                  <a:cubicBezTo>
                    <a:pt x="191" y="325"/>
                    <a:pt x="190" y="323"/>
                    <a:pt x="189" y="325"/>
                  </a:cubicBezTo>
                  <a:cubicBezTo>
                    <a:pt x="558" y="313"/>
                    <a:pt x="558" y="316"/>
                    <a:pt x="559" y="319"/>
                  </a:cubicBezTo>
                  <a:cubicBezTo>
                    <a:pt x="560" y="319"/>
                    <a:pt x="560" y="319"/>
                    <a:pt x="561" y="319"/>
                  </a:cubicBezTo>
                  <a:cubicBezTo>
                    <a:pt x="561" y="319"/>
                    <a:pt x="561" y="319"/>
                    <a:pt x="561" y="319"/>
                  </a:cubicBezTo>
                  <a:cubicBezTo>
                    <a:pt x="561" y="316"/>
                    <a:pt x="560" y="312"/>
                    <a:pt x="564" y="312"/>
                  </a:cubicBezTo>
                  <a:cubicBezTo>
                    <a:pt x="567" y="315"/>
                    <a:pt x="570" y="317"/>
                    <a:pt x="574" y="318"/>
                  </a:cubicBezTo>
                  <a:cubicBezTo>
                    <a:pt x="574" y="319"/>
                    <a:pt x="574" y="319"/>
                    <a:pt x="574" y="319"/>
                  </a:cubicBezTo>
                  <a:cubicBezTo>
                    <a:pt x="581" y="320"/>
                    <a:pt x="588" y="320"/>
                    <a:pt x="594" y="321"/>
                  </a:cubicBezTo>
                  <a:cubicBezTo>
                    <a:pt x="595" y="320"/>
                    <a:pt x="596" y="320"/>
                    <a:pt x="597" y="320"/>
                  </a:cubicBezTo>
                  <a:cubicBezTo>
                    <a:pt x="598" y="320"/>
                    <a:pt x="599" y="321"/>
                    <a:pt x="601" y="321"/>
                  </a:cubicBezTo>
                  <a:cubicBezTo>
                    <a:pt x="601" y="321"/>
                    <a:pt x="601" y="321"/>
                    <a:pt x="601" y="321"/>
                  </a:cubicBezTo>
                  <a:cubicBezTo>
                    <a:pt x="604" y="322"/>
                    <a:pt x="606" y="322"/>
                    <a:pt x="609" y="322"/>
                  </a:cubicBezTo>
                  <a:cubicBezTo>
                    <a:pt x="610" y="320"/>
                    <a:pt x="610" y="317"/>
                    <a:pt x="611" y="314"/>
                  </a:cubicBezTo>
                  <a:cubicBezTo>
                    <a:pt x="610" y="314"/>
                    <a:pt x="609" y="314"/>
                    <a:pt x="608" y="314"/>
                  </a:cubicBezTo>
                  <a:cubicBezTo>
                    <a:pt x="608" y="315"/>
                    <a:pt x="607" y="317"/>
                    <a:pt x="606" y="318"/>
                  </a:cubicBezTo>
                  <a:cubicBezTo>
                    <a:pt x="604" y="318"/>
                    <a:pt x="601" y="318"/>
                    <a:pt x="599" y="318"/>
                  </a:cubicBezTo>
                  <a:cubicBezTo>
                    <a:pt x="600" y="316"/>
                    <a:pt x="597" y="315"/>
                    <a:pt x="598" y="313"/>
                  </a:cubicBezTo>
                  <a:cubicBezTo>
                    <a:pt x="597" y="313"/>
                    <a:pt x="596" y="313"/>
                    <a:pt x="595" y="313"/>
                  </a:cubicBezTo>
                  <a:cubicBezTo>
                    <a:pt x="595" y="314"/>
                    <a:pt x="595" y="314"/>
                    <a:pt x="595" y="315"/>
                  </a:cubicBezTo>
                  <a:cubicBezTo>
                    <a:pt x="591" y="316"/>
                    <a:pt x="588" y="315"/>
                    <a:pt x="587" y="312"/>
                  </a:cubicBezTo>
                  <a:cubicBezTo>
                    <a:pt x="588" y="312"/>
                    <a:pt x="588" y="312"/>
                    <a:pt x="588" y="312"/>
                  </a:cubicBezTo>
                  <a:cubicBezTo>
                    <a:pt x="586" y="312"/>
                    <a:pt x="585" y="312"/>
                    <a:pt x="584" y="312"/>
                  </a:cubicBezTo>
                  <a:cubicBezTo>
                    <a:pt x="585" y="314"/>
                    <a:pt x="584" y="318"/>
                    <a:pt x="583" y="318"/>
                  </a:cubicBezTo>
                  <a:cubicBezTo>
                    <a:pt x="583" y="316"/>
                    <a:pt x="577" y="317"/>
                    <a:pt x="577" y="316"/>
                  </a:cubicBezTo>
                  <a:cubicBezTo>
                    <a:pt x="577" y="314"/>
                    <a:pt x="577" y="313"/>
                    <a:pt x="577" y="311"/>
                  </a:cubicBezTo>
                  <a:cubicBezTo>
                    <a:pt x="575" y="311"/>
                    <a:pt x="573" y="311"/>
                    <a:pt x="571" y="311"/>
                  </a:cubicBezTo>
                  <a:cubicBezTo>
                    <a:pt x="570" y="311"/>
                    <a:pt x="569" y="312"/>
                    <a:pt x="567" y="312"/>
                  </a:cubicBezTo>
                  <a:cubicBezTo>
                    <a:pt x="567" y="311"/>
                    <a:pt x="567" y="311"/>
                    <a:pt x="567" y="311"/>
                  </a:cubicBezTo>
                  <a:cubicBezTo>
                    <a:pt x="564" y="311"/>
                    <a:pt x="561" y="311"/>
                    <a:pt x="557" y="310"/>
                  </a:cubicBezTo>
                  <a:cubicBezTo>
                    <a:pt x="969" y="872"/>
                    <a:pt x="960" y="875"/>
                    <a:pt x="952" y="877"/>
                  </a:cubicBezTo>
                  <a:cubicBezTo>
                    <a:pt x="972" y="877"/>
                    <a:pt x="972" y="877"/>
                    <a:pt x="972" y="877"/>
                  </a:cubicBezTo>
                  <a:cubicBezTo>
                    <a:pt x="972" y="877"/>
                    <a:pt x="972" y="878"/>
                    <a:pt x="972" y="878"/>
                  </a:cubicBezTo>
                  <a:cubicBezTo>
                    <a:pt x="978" y="876"/>
                    <a:pt x="983" y="874"/>
                    <a:pt x="988" y="873"/>
                  </a:cubicBezTo>
                  <a:cubicBezTo>
                    <a:pt x="1014" y="864"/>
                    <a:pt x="1040" y="854"/>
                    <a:pt x="1065" y="843"/>
                  </a:cubicBezTo>
                  <a:cubicBezTo>
                    <a:pt x="1063" y="843"/>
                    <a:pt x="1062" y="843"/>
                    <a:pt x="1062" y="842"/>
                  </a:cubicBezTo>
                  <a:cubicBezTo>
                    <a:pt x="1062" y="841"/>
                    <a:pt x="1062" y="841"/>
                    <a:pt x="1062" y="841"/>
                  </a:cubicBezTo>
                  <a:cubicBezTo>
                    <a:pt x="1069" y="841"/>
                    <a:pt x="1069" y="841"/>
                    <a:pt x="1069" y="841"/>
                  </a:cubicBezTo>
                  <a:cubicBezTo>
                    <a:pt x="1069" y="841"/>
                    <a:pt x="1069" y="841"/>
                    <a:pt x="1069" y="841"/>
                  </a:cubicBezTo>
                  <a:cubicBezTo>
                    <a:pt x="1083" y="835"/>
                    <a:pt x="1096" y="829"/>
                    <a:pt x="1109" y="822"/>
                  </a:cubicBezTo>
                  <a:cubicBezTo>
                    <a:pt x="1112" y="821"/>
                    <a:pt x="1111" y="817"/>
                    <a:pt x="1110" y="816"/>
                  </a:cubicBezTo>
                  <a:cubicBezTo>
                    <a:pt x="1110" y="817"/>
                    <a:pt x="1109" y="819"/>
                    <a:pt x="1108" y="821"/>
                  </a:cubicBezTo>
                  <a:cubicBezTo>
                    <a:pt x="1107" y="822"/>
                    <a:pt x="1105" y="820"/>
                    <a:pt x="1104" y="822"/>
                  </a:cubicBezTo>
                  <a:cubicBezTo>
                    <a:pt x="1104" y="822"/>
                    <a:pt x="1104" y="822"/>
                    <a:pt x="1104" y="823"/>
                  </a:cubicBezTo>
                  <a:cubicBezTo>
                    <a:pt x="1096" y="823"/>
                    <a:pt x="1096" y="823"/>
                    <a:pt x="1096" y="823"/>
                  </a:cubicBezTo>
                  <a:cubicBezTo>
                    <a:pt x="1096" y="822"/>
                    <a:pt x="1097" y="821"/>
                    <a:pt x="1098" y="820"/>
                  </a:cubicBezTo>
                  <a:cubicBezTo>
                    <a:pt x="1096" y="821"/>
                    <a:pt x="1095" y="822"/>
                    <a:pt x="1094" y="822"/>
                  </a:cubicBezTo>
                  <a:cubicBezTo>
                    <a:pt x="1094" y="822"/>
                    <a:pt x="1094" y="823"/>
                    <a:pt x="1093" y="823"/>
                  </a:cubicBezTo>
                  <a:cubicBezTo>
                    <a:pt x="1092" y="823"/>
                    <a:pt x="1092" y="823"/>
                    <a:pt x="1092" y="823"/>
                  </a:cubicBezTo>
                  <a:cubicBezTo>
                    <a:pt x="1055" y="841"/>
                    <a:pt x="1016" y="856"/>
                    <a:pt x="977" y="869"/>
                  </a:cubicBezTo>
                  <a:cubicBezTo>
                    <a:pt x="1036" y="827"/>
                    <a:pt x="1019" y="835"/>
                    <a:pt x="1001" y="841"/>
                  </a:cubicBezTo>
                  <a:cubicBezTo>
                    <a:pt x="1011" y="841"/>
                    <a:pt x="1011" y="841"/>
                    <a:pt x="1011" y="841"/>
                  </a:cubicBezTo>
                  <a:cubicBezTo>
                    <a:pt x="1011" y="841"/>
                    <a:pt x="1010" y="842"/>
                    <a:pt x="1009" y="842"/>
                  </a:cubicBezTo>
                  <a:cubicBezTo>
                    <a:pt x="1009" y="843"/>
                    <a:pt x="1008" y="843"/>
                    <a:pt x="1008" y="843"/>
                  </a:cubicBezTo>
                  <a:cubicBezTo>
                    <a:pt x="1008" y="847"/>
                    <a:pt x="1003" y="848"/>
                    <a:pt x="1001" y="846"/>
                  </a:cubicBezTo>
                  <a:cubicBezTo>
                    <a:pt x="999" y="847"/>
                    <a:pt x="997" y="848"/>
                    <a:pt x="996" y="850"/>
                  </a:cubicBezTo>
                  <a:cubicBezTo>
                    <a:pt x="1024" y="840"/>
                    <a:pt x="1052" y="828"/>
                    <a:pt x="1079" y="816"/>
                  </a:cubicBezTo>
                  <a:cubicBezTo>
                    <a:pt x="1078" y="813"/>
                    <a:pt x="1078" y="811"/>
                    <a:pt x="1075" y="810"/>
                  </a:cubicBezTo>
                  <a:cubicBezTo>
                    <a:pt x="1068" y="813"/>
                    <a:pt x="1062" y="816"/>
                    <a:pt x="1056" y="819"/>
                  </a:cubicBezTo>
                  <a:cubicBezTo>
                    <a:pt x="1056" y="819"/>
                    <a:pt x="1056" y="819"/>
                    <a:pt x="1056" y="819"/>
                  </a:cubicBezTo>
                  <a:cubicBezTo>
                    <a:pt x="1055" y="820"/>
                    <a:pt x="1054" y="820"/>
                    <a:pt x="1054" y="820"/>
                  </a:cubicBezTo>
                  <a:cubicBezTo>
                    <a:pt x="1061" y="817"/>
                    <a:pt x="1062" y="816"/>
                    <a:pt x="1064" y="817"/>
                  </a:cubicBezTo>
                  <a:cubicBezTo>
                    <a:pt x="1064" y="818"/>
                    <a:pt x="1064" y="818"/>
                    <a:pt x="1065" y="818"/>
                  </a:cubicBezTo>
                  <a:cubicBezTo>
                    <a:pt x="1065" y="820"/>
                    <a:pt x="1062" y="822"/>
                    <a:pt x="1060" y="820"/>
                  </a:cubicBezTo>
                  <a:cubicBezTo>
                    <a:pt x="1060" y="819"/>
                    <a:pt x="1060" y="818"/>
                    <a:pt x="1060" y="818"/>
                  </a:cubicBezTo>
                  <a:cubicBezTo>
                    <a:pt x="1066" y="854"/>
                    <a:pt x="1043" y="863"/>
                    <a:pt x="1020" y="872"/>
                  </a:cubicBezTo>
                  <a:cubicBezTo>
                    <a:pt x="1016" y="874"/>
                    <a:pt x="1012" y="875"/>
                    <a:pt x="1009" y="877"/>
                  </a:cubicBezTo>
                  <a:cubicBezTo>
                    <a:pt x="1009" y="877"/>
                    <a:pt x="1009" y="877"/>
                    <a:pt x="1009" y="877"/>
                  </a:cubicBezTo>
                  <a:cubicBezTo>
                    <a:pt x="1010" y="879"/>
                    <a:pt x="1012" y="880"/>
                    <a:pt x="1013" y="883"/>
                  </a:cubicBezTo>
                  <a:cubicBezTo>
                    <a:pt x="1039" y="873"/>
                    <a:pt x="1064" y="862"/>
                    <a:pt x="1090" y="850"/>
                  </a:cubicBezTo>
                  <a:cubicBezTo>
                    <a:pt x="1089" y="850"/>
                    <a:pt x="1088" y="849"/>
                    <a:pt x="1088" y="848"/>
                  </a:cubicBezTo>
                  <a:cubicBezTo>
                    <a:pt x="1093" y="847"/>
                    <a:pt x="1090" y="846"/>
                    <a:pt x="1089" y="844"/>
                  </a:cubicBezTo>
                  <a:cubicBezTo>
                    <a:pt x="1023" y="877"/>
                    <a:pt x="1023" y="877"/>
                    <a:pt x="1023" y="877"/>
                  </a:cubicBezTo>
                  <a:cubicBezTo>
                    <a:pt x="1025" y="877"/>
                    <a:pt x="1025" y="877"/>
                    <a:pt x="1025" y="877"/>
                  </a:cubicBezTo>
                  <a:cubicBezTo>
                    <a:pt x="1024" y="877"/>
                    <a:pt x="1024" y="877"/>
                    <a:pt x="1023" y="877"/>
                  </a:cubicBezTo>
                  <a:cubicBezTo>
                    <a:pt x="1083" y="807"/>
                    <a:pt x="1083" y="809"/>
                    <a:pt x="1083" y="810"/>
                  </a:cubicBezTo>
                  <a:cubicBezTo>
                    <a:pt x="1085" y="809"/>
                    <a:pt x="1087" y="809"/>
                    <a:pt x="1087" y="807"/>
                  </a:cubicBezTo>
                  <a:cubicBezTo>
                    <a:pt x="1086" y="807"/>
                    <a:pt x="1085" y="806"/>
                    <a:pt x="1085" y="805"/>
                  </a:cubicBezTo>
                  <a:cubicBezTo>
                    <a:pt x="1085" y="805"/>
                    <a:pt x="1084" y="806"/>
                    <a:pt x="1083" y="806"/>
                  </a:cubicBezTo>
                  <a:cubicBezTo>
                    <a:pt x="678" y="327"/>
                    <a:pt x="678" y="327"/>
                    <a:pt x="678" y="327"/>
                  </a:cubicBezTo>
                  <a:cubicBezTo>
                    <a:pt x="678" y="326"/>
                    <a:pt x="678" y="324"/>
                    <a:pt x="676" y="323"/>
                  </a:cubicBezTo>
                  <a:cubicBezTo>
                    <a:pt x="672" y="322"/>
                    <a:pt x="668" y="321"/>
                    <a:pt x="665" y="321"/>
                  </a:cubicBezTo>
                  <a:cubicBezTo>
                    <a:pt x="665" y="322"/>
                    <a:pt x="664" y="324"/>
                    <a:pt x="664" y="325"/>
                  </a:cubicBezTo>
                  <a:cubicBezTo>
                    <a:pt x="658" y="326"/>
                    <a:pt x="657" y="323"/>
                    <a:pt x="657" y="320"/>
                  </a:cubicBezTo>
                  <a:cubicBezTo>
                    <a:pt x="655" y="319"/>
                    <a:pt x="653" y="319"/>
                    <a:pt x="650" y="319"/>
                  </a:cubicBezTo>
                  <a:cubicBezTo>
                    <a:pt x="650" y="319"/>
                    <a:pt x="650" y="319"/>
                    <a:pt x="650" y="319"/>
                  </a:cubicBezTo>
                  <a:cubicBezTo>
                    <a:pt x="649" y="319"/>
                    <a:pt x="648" y="319"/>
                    <a:pt x="647" y="318"/>
                  </a:cubicBezTo>
                  <a:cubicBezTo>
                    <a:pt x="646" y="322"/>
                    <a:pt x="642" y="322"/>
                    <a:pt x="637" y="321"/>
                  </a:cubicBezTo>
                  <a:cubicBezTo>
                    <a:pt x="637" y="320"/>
                    <a:pt x="638" y="318"/>
                    <a:pt x="637" y="317"/>
                  </a:cubicBezTo>
                  <a:cubicBezTo>
                    <a:pt x="637" y="317"/>
                    <a:pt x="636" y="317"/>
                    <a:pt x="636" y="317"/>
                  </a:cubicBezTo>
                  <a:cubicBezTo>
                    <a:pt x="636" y="319"/>
                    <a:pt x="634" y="321"/>
                    <a:pt x="631" y="320"/>
                  </a:cubicBezTo>
                  <a:cubicBezTo>
                    <a:pt x="630" y="319"/>
                    <a:pt x="631" y="318"/>
                    <a:pt x="631" y="316"/>
                  </a:cubicBezTo>
                  <a:cubicBezTo>
                    <a:pt x="630" y="316"/>
                    <a:pt x="629" y="316"/>
                    <a:pt x="628" y="316"/>
                  </a:cubicBezTo>
                  <a:cubicBezTo>
                    <a:pt x="628" y="316"/>
                    <a:pt x="627" y="316"/>
                    <a:pt x="627" y="316"/>
                  </a:cubicBezTo>
                  <a:cubicBezTo>
                    <a:pt x="627" y="316"/>
                    <a:pt x="626" y="316"/>
                    <a:pt x="626" y="316"/>
                  </a:cubicBezTo>
                  <a:cubicBezTo>
                    <a:pt x="624" y="316"/>
                    <a:pt x="621" y="315"/>
                    <a:pt x="618" y="315"/>
                  </a:cubicBezTo>
                  <a:cubicBezTo>
                    <a:pt x="618" y="316"/>
                    <a:pt x="617" y="318"/>
                    <a:pt x="617" y="320"/>
                  </a:cubicBezTo>
                  <a:cubicBezTo>
                    <a:pt x="616" y="321"/>
                    <a:pt x="612" y="319"/>
                    <a:pt x="611" y="321"/>
                  </a:cubicBezTo>
                  <a:cubicBezTo>
                    <a:pt x="612" y="322"/>
                    <a:pt x="614" y="322"/>
                    <a:pt x="614" y="323"/>
                  </a:cubicBezTo>
                  <a:cubicBezTo>
                    <a:pt x="618" y="323"/>
                    <a:pt x="622" y="323"/>
                    <a:pt x="625" y="324"/>
                  </a:cubicBezTo>
                  <a:cubicBezTo>
                    <a:pt x="625" y="323"/>
                    <a:pt x="625" y="322"/>
                    <a:pt x="625" y="321"/>
                  </a:cubicBezTo>
                  <a:cubicBezTo>
                    <a:pt x="627" y="321"/>
                    <a:pt x="628" y="320"/>
                    <a:pt x="629" y="320"/>
                  </a:cubicBezTo>
                  <a:cubicBezTo>
                    <a:pt x="628" y="322"/>
                    <a:pt x="630" y="324"/>
                    <a:pt x="631" y="324"/>
                  </a:cubicBezTo>
                  <a:cubicBezTo>
                    <a:pt x="634" y="325"/>
                    <a:pt x="637" y="325"/>
                    <a:pt x="640" y="326"/>
                  </a:cubicBezTo>
                  <a:cubicBezTo>
                    <a:pt x="640" y="325"/>
                    <a:pt x="640" y="325"/>
                    <a:pt x="640" y="325"/>
                  </a:cubicBezTo>
                  <a:cubicBezTo>
                    <a:pt x="647" y="327"/>
                    <a:pt x="646" y="321"/>
                    <a:pt x="652" y="322"/>
                  </a:cubicBezTo>
                  <a:cubicBezTo>
                    <a:pt x="651" y="324"/>
                    <a:pt x="654" y="324"/>
                    <a:pt x="653" y="326"/>
                  </a:cubicBezTo>
                  <a:cubicBezTo>
                    <a:pt x="650" y="325"/>
                    <a:pt x="649" y="326"/>
                    <a:pt x="648" y="327"/>
                  </a:cubicBezTo>
                  <a:cubicBezTo>
                    <a:pt x="663" y="328"/>
                    <a:pt x="677" y="330"/>
                    <a:pt x="691" y="333"/>
                  </a:cubicBezTo>
                  <a:cubicBezTo>
                    <a:pt x="713" y="336"/>
                    <a:pt x="734" y="340"/>
                    <a:pt x="756" y="344"/>
                  </a:cubicBezTo>
                  <a:cubicBezTo>
                    <a:pt x="792" y="344"/>
                    <a:pt x="792" y="344"/>
                    <a:pt x="792" y="344"/>
                  </a:cubicBezTo>
                  <a:cubicBezTo>
                    <a:pt x="763" y="338"/>
                    <a:pt x="734" y="332"/>
                    <a:pt x="705" y="327"/>
                  </a:cubicBezTo>
                  <a:cubicBezTo>
                    <a:pt x="704" y="327"/>
                    <a:pt x="704" y="327"/>
                    <a:pt x="704" y="327"/>
                  </a:cubicBezTo>
                  <a:cubicBezTo>
                    <a:pt x="704" y="327"/>
                    <a:pt x="704" y="327"/>
                    <a:pt x="704" y="327"/>
                  </a:cubicBezTo>
                  <a:cubicBezTo>
                    <a:pt x="703" y="327"/>
                    <a:pt x="702" y="327"/>
                    <a:pt x="701" y="327"/>
                  </a:cubicBezTo>
                  <a:cubicBezTo>
                    <a:pt x="701" y="327"/>
                    <a:pt x="701" y="327"/>
                    <a:pt x="701" y="327"/>
                  </a:cubicBezTo>
                  <a:cubicBezTo>
                    <a:pt x="687" y="327"/>
                    <a:pt x="687" y="327"/>
                    <a:pt x="687" y="327"/>
                  </a:cubicBezTo>
                  <a:cubicBezTo>
                    <a:pt x="688" y="326"/>
                    <a:pt x="687" y="326"/>
                    <a:pt x="687" y="324"/>
                  </a:cubicBezTo>
                  <a:cubicBezTo>
                    <a:pt x="684" y="324"/>
                    <a:pt x="680" y="323"/>
                    <a:pt x="677" y="323"/>
                  </a:cubicBezTo>
                  <a:cubicBezTo>
                    <a:pt x="680" y="323"/>
                    <a:pt x="683" y="325"/>
                    <a:pt x="684" y="327"/>
                  </a:cubicBezTo>
                  <a:cubicBezTo>
                    <a:pt x="1100" y="778"/>
                    <a:pt x="1099" y="779"/>
                    <a:pt x="1098" y="779"/>
                  </a:cubicBezTo>
                  <a:cubicBezTo>
                    <a:pt x="1098" y="780"/>
                    <a:pt x="1098" y="780"/>
                    <a:pt x="1098" y="781"/>
                  </a:cubicBezTo>
                  <a:cubicBezTo>
                    <a:pt x="1099" y="782"/>
                    <a:pt x="1101" y="783"/>
                    <a:pt x="1102" y="785"/>
                  </a:cubicBezTo>
                  <a:cubicBezTo>
                    <a:pt x="1102" y="785"/>
                    <a:pt x="1102" y="785"/>
                    <a:pt x="1103" y="784"/>
                  </a:cubicBezTo>
                  <a:cubicBezTo>
                    <a:pt x="1105" y="784"/>
                    <a:pt x="1105" y="781"/>
                    <a:pt x="1104" y="780"/>
                  </a:cubicBezTo>
                  <a:cubicBezTo>
                    <a:pt x="1103" y="780"/>
                    <a:pt x="1103" y="780"/>
                    <a:pt x="1102" y="779"/>
                  </a:cubicBezTo>
                  <a:cubicBezTo>
                    <a:pt x="1102" y="779"/>
                    <a:pt x="1102" y="778"/>
                    <a:pt x="1102" y="778"/>
                  </a:cubicBezTo>
                  <a:cubicBezTo>
                    <a:pt x="1101" y="778"/>
                    <a:pt x="1101" y="778"/>
                    <a:pt x="1100" y="778"/>
                  </a:cubicBezTo>
                  <a:cubicBezTo>
                    <a:pt x="1090" y="786"/>
                    <a:pt x="1088" y="784"/>
                    <a:pt x="1087" y="783"/>
                  </a:cubicBezTo>
                  <a:cubicBezTo>
                    <a:pt x="1085" y="783"/>
                    <a:pt x="1083" y="784"/>
                    <a:pt x="1081" y="784"/>
                  </a:cubicBezTo>
                  <a:cubicBezTo>
                    <a:pt x="1081" y="784"/>
                    <a:pt x="1081" y="785"/>
                    <a:pt x="1081" y="785"/>
                  </a:cubicBezTo>
                  <a:cubicBezTo>
                    <a:pt x="1081" y="786"/>
                    <a:pt x="1082" y="787"/>
                    <a:pt x="1082" y="787"/>
                  </a:cubicBezTo>
                  <a:cubicBezTo>
                    <a:pt x="1071" y="788"/>
                    <a:pt x="1071" y="788"/>
                    <a:pt x="1071" y="788"/>
                  </a:cubicBezTo>
                  <a:cubicBezTo>
                    <a:pt x="1071" y="787"/>
                    <a:pt x="1071" y="787"/>
                    <a:pt x="1071" y="787"/>
                  </a:cubicBezTo>
                  <a:cubicBezTo>
                    <a:pt x="1034" y="796"/>
                    <a:pt x="995" y="799"/>
                    <a:pt x="958" y="799"/>
                  </a:cubicBezTo>
                  <a:cubicBezTo>
                    <a:pt x="921" y="800"/>
                    <a:pt x="886" y="794"/>
                    <a:pt x="851" y="789"/>
                  </a:cubicBezTo>
                  <a:cubicBezTo>
                    <a:pt x="851" y="789"/>
                    <a:pt x="851" y="789"/>
                    <a:pt x="851" y="789"/>
                  </a:cubicBezTo>
                  <a:cubicBezTo>
                    <a:pt x="851" y="789"/>
                    <a:pt x="851" y="789"/>
                    <a:pt x="851" y="789"/>
                  </a:cubicBezTo>
                  <a:cubicBezTo>
                    <a:pt x="845" y="789"/>
                    <a:pt x="839" y="788"/>
                    <a:pt x="833" y="787"/>
                  </a:cubicBezTo>
                  <a:cubicBezTo>
                    <a:pt x="834" y="788"/>
                    <a:pt x="834" y="788"/>
                    <a:pt x="834" y="789"/>
                  </a:cubicBezTo>
                  <a:cubicBezTo>
                    <a:pt x="834" y="789"/>
                    <a:pt x="834" y="789"/>
                    <a:pt x="834" y="790"/>
                  </a:cubicBezTo>
                  <a:cubicBezTo>
                    <a:pt x="825" y="790"/>
                    <a:pt x="825" y="790"/>
                    <a:pt x="825" y="790"/>
                  </a:cubicBezTo>
                  <a:cubicBezTo>
                    <a:pt x="826" y="788"/>
                    <a:pt x="826" y="788"/>
                    <a:pt x="828" y="787"/>
                  </a:cubicBezTo>
                  <a:cubicBezTo>
                    <a:pt x="825" y="786"/>
                    <a:pt x="823" y="788"/>
                    <a:pt x="821" y="790"/>
                  </a:cubicBezTo>
                  <a:cubicBezTo>
                    <a:pt x="808" y="790"/>
                    <a:pt x="808" y="790"/>
                    <a:pt x="808" y="790"/>
                  </a:cubicBezTo>
                  <a:cubicBezTo>
                    <a:pt x="808" y="790"/>
                    <a:pt x="808" y="790"/>
                    <a:pt x="808" y="790"/>
                  </a:cubicBezTo>
                  <a:cubicBezTo>
                    <a:pt x="809" y="789"/>
                    <a:pt x="810" y="789"/>
                    <a:pt x="812" y="789"/>
                  </a:cubicBezTo>
                  <a:cubicBezTo>
                    <a:pt x="812" y="788"/>
                    <a:pt x="812" y="786"/>
                    <a:pt x="813" y="785"/>
                  </a:cubicBezTo>
                  <a:cubicBezTo>
                    <a:pt x="812" y="785"/>
                    <a:pt x="811" y="785"/>
                    <a:pt x="810" y="785"/>
                  </a:cubicBezTo>
                  <a:cubicBezTo>
                    <a:pt x="810" y="786"/>
                    <a:pt x="809" y="787"/>
                    <a:pt x="808" y="788"/>
                  </a:cubicBezTo>
                  <a:cubicBezTo>
                    <a:pt x="806" y="788"/>
                    <a:pt x="803" y="788"/>
                    <a:pt x="802" y="786"/>
                  </a:cubicBezTo>
                  <a:cubicBezTo>
                    <a:pt x="802" y="786"/>
                    <a:pt x="802" y="785"/>
                    <a:pt x="803" y="785"/>
                  </a:cubicBezTo>
                  <a:cubicBezTo>
                    <a:pt x="802" y="785"/>
                    <a:pt x="802" y="785"/>
                    <a:pt x="801" y="785"/>
                  </a:cubicBezTo>
                  <a:cubicBezTo>
                    <a:pt x="801" y="785"/>
                    <a:pt x="801" y="785"/>
                    <a:pt x="801" y="786"/>
                  </a:cubicBezTo>
                  <a:cubicBezTo>
                    <a:pt x="798" y="786"/>
                    <a:pt x="796" y="785"/>
                    <a:pt x="792" y="785"/>
                  </a:cubicBezTo>
                  <a:cubicBezTo>
                    <a:pt x="793" y="787"/>
                    <a:pt x="796" y="788"/>
                    <a:pt x="797" y="790"/>
                  </a:cubicBezTo>
                  <a:cubicBezTo>
                    <a:pt x="786" y="790"/>
                    <a:pt x="786" y="790"/>
                    <a:pt x="786" y="790"/>
                  </a:cubicBezTo>
                  <a:cubicBezTo>
                    <a:pt x="785" y="788"/>
                    <a:pt x="787" y="786"/>
                    <a:pt x="789" y="784"/>
                  </a:cubicBezTo>
                  <a:cubicBezTo>
                    <a:pt x="786" y="784"/>
                    <a:pt x="783" y="784"/>
                    <a:pt x="780" y="784"/>
                  </a:cubicBezTo>
                  <a:cubicBezTo>
                    <a:pt x="780" y="784"/>
                    <a:pt x="780" y="784"/>
                    <a:pt x="780" y="785"/>
                  </a:cubicBezTo>
                  <a:cubicBezTo>
                    <a:pt x="780" y="785"/>
                    <a:pt x="780" y="787"/>
                    <a:pt x="780" y="787"/>
                  </a:cubicBezTo>
                  <a:cubicBezTo>
                    <a:pt x="778" y="787"/>
                    <a:pt x="777" y="787"/>
                    <a:pt x="776" y="787"/>
                  </a:cubicBezTo>
                  <a:cubicBezTo>
                    <a:pt x="776" y="788"/>
                    <a:pt x="776" y="788"/>
                    <a:pt x="776" y="788"/>
                  </a:cubicBezTo>
                  <a:cubicBezTo>
                    <a:pt x="776" y="788"/>
                    <a:pt x="776" y="788"/>
                    <a:pt x="776" y="788"/>
                  </a:cubicBezTo>
                  <a:cubicBezTo>
                    <a:pt x="777" y="788"/>
                    <a:pt x="778" y="789"/>
                    <a:pt x="778" y="790"/>
                  </a:cubicBezTo>
                  <a:cubicBezTo>
                    <a:pt x="773" y="790"/>
                    <a:pt x="773" y="790"/>
                    <a:pt x="773" y="790"/>
                  </a:cubicBezTo>
                  <a:cubicBezTo>
                    <a:pt x="773" y="790"/>
                    <a:pt x="773" y="789"/>
                    <a:pt x="773" y="789"/>
                  </a:cubicBezTo>
                  <a:cubicBezTo>
                    <a:pt x="771" y="789"/>
                    <a:pt x="770" y="789"/>
                    <a:pt x="768" y="788"/>
                  </a:cubicBezTo>
                  <a:cubicBezTo>
                    <a:pt x="768" y="787"/>
                    <a:pt x="768" y="786"/>
                    <a:pt x="769" y="785"/>
                  </a:cubicBezTo>
                  <a:cubicBezTo>
                    <a:pt x="768" y="785"/>
                    <a:pt x="767" y="785"/>
                    <a:pt x="767" y="785"/>
                  </a:cubicBezTo>
                  <a:cubicBezTo>
                    <a:pt x="767" y="787"/>
                    <a:pt x="766" y="788"/>
                    <a:pt x="765" y="789"/>
                  </a:cubicBezTo>
                  <a:cubicBezTo>
                    <a:pt x="763" y="789"/>
                    <a:pt x="761" y="787"/>
                    <a:pt x="759" y="786"/>
                  </a:cubicBezTo>
                  <a:cubicBezTo>
                    <a:pt x="756" y="786"/>
                    <a:pt x="752" y="787"/>
                    <a:pt x="748" y="788"/>
                  </a:cubicBezTo>
                  <a:cubicBezTo>
                    <a:pt x="748" y="788"/>
                    <a:pt x="747" y="788"/>
                    <a:pt x="746" y="788"/>
                  </a:cubicBezTo>
                  <a:cubicBezTo>
                    <a:pt x="747" y="789"/>
                    <a:pt x="747" y="790"/>
                    <a:pt x="747" y="790"/>
                  </a:cubicBezTo>
                  <a:cubicBezTo>
                    <a:pt x="739" y="790"/>
                    <a:pt x="739" y="790"/>
                    <a:pt x="739" y="790"/>
                  </a:cubicBezTo>
                  <a:cubicBezTo>
                    <a:pt x="722" y="796"/>
                    <a:pt x="720" y="808"/>
                    <a:pt x="727" y="820"/>
                  </a:cubicBezTo>
                  <a:cubicBezTo>
                    <a:pt x="729" y="819"/>
                    <a:pt x="733" y="819"/>
                    <a:pt x="734" y="821"/>
                  </a:cubicBezTo>
                  <a:cubicBezTo>
                    <a:pt x="735" y="823"/>
                    <a:pt x="733" y="823"/>
                    <a:pt x="734" y="825"/>
                  </a:cubicBezTo>
                  <a:cubicBezTo>
                    <a:pt x="734" y="825"/>
                    <a:pt x="735" y="825"/>
                    <a:pt x="736" y="825"/>
                  </a:cubicBezTo>
                  <a:cubicBezTo>
                    <a:pt x="736" y="826"/>
                    <a:pt x="736" y="826"/>
                    <a:pt x="736" y="826"/>
                  </a:cubicBezTo>
                  <a:cubicBezTo>
                    <a:pt x="732" y="826"/>
                    <a:pt x="732" y="826"/>
                    <a:pt x="732" y="826"/>
                  </a:cubicBezTo>
                  <a:cubicBezTo>
                    <a:pt x="734" y="829"/>
                    <a:pt x="737" y="832"/>
                    <a:pt x="741" y="834"/>
                  </a:cubicBezTo>
                  <a:cubicBezTo>
                    <a:pt x="746" y="838"/>
                    <a:pt x="752" y="841"/>
                    <a:pt x="758" y="843"/>
                  </a:cubicBezTo>
                  <a:cubicBezTo>
                    <a:pt x="769" y="843"/>
                    <a:pt x="769" y="843"/>
                    <a:pt x="769" y="843"/>
                  </a:cubicBezTo>
                  <a:cubicBezTo>
                    <a:pt x="769" y="844"/>
                    <a:pt x="768" y="846"/>
                    <a:pt x="768" y="847"/>
                  </a:cubicBezTo>
                  <a:cubicBezTo>
                    <a:pt x="771" y="848"/>
                    <a:pt x="774" y="849"/>
                    <a:pt x="777" y="850"/>
                  </a:cubicBezTo>
                  <a:cubicBezTo>
                    <a:pt x="775" y="848"/>
                    <a:pt x="774" y="846"/>
                    <a:pt x="773" y="843"/>
                  </a:cubicBezTo>
                  <a:cubicBezTo>
                    <a:pt x="780" y="843"/>
                    <a:pt x="780" y="843"/>
                    <a:pt x="780" y="843"/>
                  </a:cubicBezTo>
                  <a:cubicBezTo>
                    <a:pt x="776" y="842"/>
                    <a:pt x="772" y="841"/>
                    <a:pt x="768" y="840"/>
                  </a:cubicBezTo>
                  <a:cubicBezTo>
                    <a:pt x="762" y="838"/>
                    <a:pt x="751" y="832"/>
                    <a:pt x="742" y="826"/>
                  </a:cubicBezTo>
                  <a:cubicBezTo>
                    <a:pt x="740" y="826"/>
                    <a:pt x="740" y="826"/>
                    <a:pt x="740" y="826"/>
                  </a:cubicBezTo>
                  <a:cubicBezTo>
                    <a:pt x="739" y="825"/>
                    <a:pt x="738" y="823"/>
                    <a:pt x="737" y="822"/>
                  </a:cubicBezTo>
                  <a:cubicBezTo>
                    <a:pt x="734" y="819"/>
                    <a:pt x="731" y="816"/>
                    <a:pt x="730" y="812"/>
                  </a:cubicBezTo>
                  <a:cubicBezTo>
                    <a:pt x="729" y="811"/>
                    <a:pt x="728" y="809"/>
                    <a:pt x="727" y="808"/>
                  </a:cubicBezTo>
                  <a:cubicBezTo>
                    <a:pt x="729" y="808"/>
                    <a:pt x="729" y="808"/>
                    <a:pt x="729" y="808"/>
                  </a:cubicBezTo>
                  <a:cubicBezTo>
                    <a:pt x="730" y="804"/>
                    <a:pt x="733" y="800"/>
                    <a:pt x="741" y="797"/>
                  </a:cubicBezTo>
                  <a:cubicBezTo>
                    <a:pt x="766" y="786"/>
                    <a:pt x="800" y="791"/>
                    <a:pt x="827" y="793"/>
                  </a:cubicBezTo>
                  <a:cubicBezTo>
                    <a:pt x="871" y="798"/>
                    <a:pt x="914" y="806"/>
                    <a:pt x="958" y="806"/>
                  </a:cubicBezTo>
                  <a:cubicBezTo>
                    <a:pt x="1003" y="806"/>
                    <a:pt x="1051" y="801"/>
                    <a:pt x="1094" y="787"/>
                  </a:cubicBezTo>
                  <a:cubicBezTo>
                    <a:pt x="1121" y="846"/>
                    <a:pt x="1120" y="846"/>
                    <a:pt x="1120" y="846"/>
                  </a:cubicBezTo>
                  <a:cubicBezTo>
                    <a:pt x="1119" y="846"/>
                    <a:pt x="1119" y="846"/>
                    <a:pt x="1118" y="846"/>
                  </a:cubicBezTo>
                  <a:cubicBezTo>
                    <a:pt x="1086" y="865"/>
                    <a:pt x="1053" y="880"/>
                    <a:pt x="1018" y="894"/>
                  </a:cubicBezTo>
                  <a:cubicBezTo>
                    <a:pt x="1019" y="894"/>
                    <a:pt x="1019" y="894"/>
                    <a:pt x="1019" y="894"/>
                  </a:cubicBezTo>
                  <a:cubicBezTo>
                    <a:pt x="1019" y="894"/>
                    <a:pt x="1019" y="895"/>
                    <a:pt x="1019" y="895"/>
                  </a:cubicBezTo>
                  <a:cubicBezTo>
                    <a:pt x="1015" y="895"/>
                    <a:pt x="1015" y="895"/>
                    <a:pt x="1015" y="895"/>
                  </a:cubicBezTo>
                  <a:cubicBezTo>
                    <a:pt x="998" y="901"/>
                    <a:pt x="981" y="907"/>
                    <a:pt x="964" y="913"/>
                  </a:cubicBezTo>
                  <a:cubicBezTo>
                    <a:pt x="964" y="915"/>
                    <a:pt x="961" y="915"/>
                    <a:pt x="961" y="918"/>
                  </a:cubicBezTo>
                  <a:cubicBezTo>
                    <a:pt x="960" y="918"/>
                    <a:pt x="956" y="919"/>
                    <a:pt x="956" y="917"/>
                  </a:cubicBezTo>
                  <a:cubicBezTo>
                    <a:pt x="955" y="917"/>
                    <a:pt x="955" y="916"/>
                    <a:pt x="955" y="916"/>
                  </a:cubicBezTo>
                  <a:cubicBezTo>
                    <a:pt x="955" y="916"/>
                    <a:pt x="955" y="916"/>
                    <a:pt x="954" y="916"/>
                  </a:cubicBezTo>
                  <a:cubicBezTo>
                    <a:pt x="954" y="916"/>
                    <a:pt x="954" y="916"/>
                    <a:pt x="954" y="916"/>
                  </a:cubicBezTo>
                  <a:cubicBezTo>
                    <a:pt x="954" y="916"/>
                    <a:pt x="954" y="916"/>
                    <a:pt x="954" y="916"/>
                  </a:cubicBezTo>
                  <a:cubicBezTo>
                    <a:pt x="953" y="919"/>
                    <a:pt x="950" y="918"/>
                    <a:pt x="947" y="918"/>
                  </a:cubicBezTo>
                  <a:cubicBezTo>
                    <a:pt x="947" y="918"/>
                    <a:pt x="947" y="918"/>
                    <a:pt x="947" y="918"/>
                  </a:cubicBezTo>
                  <a:cubicBezTo>
                    <a:pt x="944" y="919"/>
                    <a:pt x="940" y="921"/>
                    <a:pt x="936" y="922"/>
                  </a:cubicBezTo>
                  <a:cubicBezTo>
                    <a:pt x="936" y="922"/>
                    <a:pt x="936" y="923"/>
                    <a:pt x="935" y="924"/>
                  </a:cubicBezTo>
                  <a:cubicBezTo>
                    <a:pt x="936" y="924"/>
                    <a:pt x="937" y="924"/>
                    <a:pt x="937" y="924"/>
                  </a:cubicBezTo>
                  <a:cubicBezTo>
                    <a:pt x="937" y="924"/>
                    <a:pt x="937" y="924"/>
                    <a:pt x="937" y="924"/>
                  </a:cubicBezTo>
                  <a:cubicBezTo>
                    <a:pt x="937" y="924"/>
                    <a:pt x="938" y="924"/>
                    <a:pt x="938" y="924"/>
                  </a:cubicBezTo>
                  <a:cubicBezTo>
                    <a:pt x="938" y="925"/>
                    <a:pt x="939" y="926"/>
                    <a:pt x="939" y="926"/>
                  </a:cubicBezTo>
                  <a:cubicBezTo>
                    <a:pt x="940" y="926"/>
                    <a:pt x="940" y="926"/>
                    <a:pt x="941" y="926"/>
                  </a:cubicBezTo>
                  <a:cubicBezTo>
                    <a:pt x="941" y="926"/>
                    <a:pt x="941" y="927"/>
                    <a:pt x="941" y="927"/>
                  </a:cubicBezTo>
                  <a:cubicBezTo>
                    <a:pt x="951" y="924"/>
                    <a:pt x="961" y="921"/>
                    <a:pt x="971" y="918"/>
                  </a:cubicBezTo>
                  <a:cubicBezTo>
                    <a:pt x="972" y="916"/>
                    <a:pt x="972" y="915"/>
                    <a:pt x="972" y="913"/>
                  </a:cubicBezTo>
                  <a:cubicBezTo>
                    <a:pt x="971" y="913"/>
                    <a:pt x="970" y="913"/>
                    <a:pt x="969" y="913"/>
                  </a:cubicBezTo>
                  <a:cubicBezTo>
                    <a:pt x="976" y="913"/>
                    <a:pt x="976" y="913"/>
                    <a:pt x="976" y="913"/>
                  </a:cubicBezTo>
                  <a:cubicBezTo>
                    <a:pt x="976" y="913"/>
                    <a:pt x="976" y="913"/>
                    <a:pt x="975" y="913"/>
                  </a:cubicBezTo>
                  <a:cubicBezTo>
                    <a:pt x="975" y="913"/>
                    <a:pt x="975" y="913"/>
                    <a:pt x="975" y="913"/>
                  </a:cubicBezTo>
                  <a:cubicBezTo>
                    <a:pt x="976" y="913"/>
                    <a:pt x="976" y="914"/>
                    <a:pt x="976" y="914"/>
                  </a:cubicBezTo>
                  <a:cubicBezTo>
                    <a:pt x="977" y="913"/>
                    <a:pt x="977" y="913"/>
                    <a:pt x="977" y="913"/>
                  </a:cubicBezTo>
                  <a:cubicBezTo>
                    <a:pt x="985" y="913"/>
                    <a:pt x="985" y="913"/>
                    <a:pt x="985" y="913"/>
                  </a:cubicBezTo>
                  <a:cubicBezTo>
                    <a:pt x="985" y="913"/>
                    <a:pt x="984" y="913"/>
                    <a:pt x="984" y="913"/>
                  </a:cubicBezTo>
                  <a:cubicBezTo>
                    <a:pt x="987" y="912"/>
                    <a:pt x="990" y="911"/>
                    <a:pt x="994" y="910"/>
                  </a:cubicBezTo>
                  <a:cubicBezTo>
                    <a:pt x="1010" y="904"/>
                    <a:pt x="1026" y="898"/>
                    <a:pt x="1042" y="891"/>
                  </a:cubicBezTo>
                  <a:cubicBezTo>
                    <a:pt x="1043" y="890"/>
                    <a:pt x="1044" y="890"/>
                    <a:pt x="1044" y="889"/>
                  </a:cubicBezTo>
                  <a:cubicBezTo>
                    <a:pt x="1044" y="889"/>
                    <a:pt x="1045" y="890"/>
                    <a:pt x="1045" y="890"/>
                  </a:cubicBezTo>
                  <a:cubicBezTo>
                    <a:pt x="1071" y="879"/>
                    <a:pt x="1097" y="866"/>
                    <a:pt x="1122" y="852"/>
                  </a:cubicBezTo>
                  <a:cubicBezTo>
                    <a:pt x="1124" y="850"/>
                    <a:pt x="1123" y="848"/>
                    <a:pt x="1122" y="847"/>
                  </a:cubicBezTo>
                  <a:cubicBezTo>
                    <a:pt x="1121" y="847"/>
                    <a:pt x="1121" y="847"/>
                    <a:pt x="1121" y="847"/>
                  </a:cubicBezTo>
                  <a:cubicBezTo>
                    <a:pt x="891" y="1127"/>
                    <a:pt x="891" y="1127"/>
                    <a:pt x="891" y="1127"/>
                  </a:cubicBezTo>
                  <a:cubicBezTo>
                    <a:pt x="891" y="1128"/>
                    <a:pt x="891" y="1128"/>
                    <a:pt x="891" y="1128"/>
                  </a:cubicBezTo>
                  <a:cubicBezTo>
                    <a:pt x="890" y="1129"/>
                    <a:pt x="888" y="1128"/>
                    <a:pt x="887" y="1128"/>
                  </a:cubicBezTo>
                  <a:cubicBezTo>
                    <a:pt x="886" y="1128"/>
                    <a:pt x="885" y="1129"/>
                    <a:pt x="884" y="1129"/>
                  </a:cubicBezTo>
                  <a:cubicBezTo>
                    <a:pt x="885" y="1131"/>
                    <a:pt x="886" y="1133"/>
                    <a:pt x="887" y="1135"/>
                  </a:cubicBezTo>
                  <a:cubicBezTo>
                    <a:pt x="889" y="1134"/>
                    <a:pt x="890" y="1134"/>
                    <a:pt x="891" y="1134"/>
                  </a:cubicBezTo>
                  <a:cubicBezTo>
                    <a:pt x="891" y="1133"/>
                    <a:pt x="891" y="1132"/>
                    <a:pt x="892" y="1131"/>
                  </a:cubicBezTo>
                  <a:cubicBezTo>
                    <a:pt x="893" y="1131"/>
                    <a:pt x="894" y="1131"/>
                    <a:pt x="895" y="1131"/>
                  </a:cubicBezTo>
                  <a:cubicBezTo>
                    <a:pt x="895" y="1130"/>
                    <a:pt x="895" y="1129"/>
                    <a:pt x="895" y="1127"/>
                  </a:cubicBezTo>
                  <a:cubicBezTo>
                    <a:pt x="909" y="1127"/>
                    <a:pt x="909" y="1127"/>
                    <a:pt x="909" y="1127"/>
                  </a:cubicBezTo>
                  <a:cubicBezTo>
                    <a:pt x="924" y="1121"/>
                    <a:pt x="939" y="1114"/>
                    <a:pt x="953" y="1107"/>
                  </a:cubicBezTo>
                  <a:cubicBezTo>
                    <a:pt x="954" y="1106"/>
                    <a:pt x="955" y="1106"/>
                    <a:pt x="955" y="1106"/>
                  </a:cubicBezTo>
                  <a:cubicBezTo>
                    <a:pt x="954" y="1104"/>
                    <a:pt x="952" y="1102"/>
                    <a:pt x="950" y="1101"/>
                  </a:cubicBezTo>
                  <a:cubicBezTo>
                    <a:pt x="930" y="1111"/>
                    <a:pt x="910" y="1120"/>
                    <a:pt x="889" y="1127"/>
                  </a:cubicBezTo>
                  <a:cubicBezTo>
                    <a:pt x="936" y="1109"/>
                    <a:pt x="939" y="1109"/>
                    <a:pt x="941" y="1110"/>
                  </a:cubicBezTo>
                  <a:cubicBezTo>
                    <a:pt x="711" y="1133"/>
                    <a:pt x="707" y="1132"/>
                    <a:pt x="706" y="1130"/>
                  </a:cubicBezTo>
                  <a:cubicBezTo>
                    <a:pt x="706" y="1130"/>
                    <a:pt x="706" y="1130"/>
                    <a:pt x="705" y="1130"/>
                  </a:cubicBezTo>
                  <a:cubicBezTo>
                    <a:pt x="705" y="1132"/>
                    <a:pt x="703" y="1133"/>
                    <a:pt x="702" y="1135"/>
                  </a:cubicBezTo>
                  <a:cubicBezTo>
                    <a:pt x="699" y="1134"/>
                    <a:pt x="699" y="1132"/>
                    <a:pt x="697" y="1131"/>
                  </a:cubicBezTo>
                  <a:cubicBezTo>
                    <a:pt x="697" y="1130"/>
                    <a:pt x="698" y="1129"/>
                    <a:pt x="698" y="1129"/>
                  </a:cubicBezTo>
                  <a:cubicBezTo>
                    <a:pt x="702" y="1129"/>
                    <a:pt x="702" y="1129"/>
                    <a:pt x="702" y="1129"/>
                  </a:cubicBezTo>
                  <a:cubicBezTo>
                    <a:pt x="687" y="1124"/>
                    <a:pt x="673" y="1118"/>
                    <a:pt x="658" y="1112"/>
                  </a:cubicBezTo>
                  <a:cubicBezTo>
                    <a:pt x="654" y="1112"/>
                    <a:pt x="654" y="1112"/>
                    <a:pt x="654" y="1112"/>
                  </a:cubicBezTo>
                  <a:cubicBezTo>
                    <a:pt x="653" y="1112"/>
                    <a:pt x="652" y="1112"/>
                    <a:pt x="652" y="1111"/>
                  </a:cubicBezTo>
                  <a:cubicBezTo>
                    <a:pt x="650" y="1111"/>
                    <a:pt x="650" y="1109"/>
                    <a:pt x="646" y="1109"/>
                  </a:cubicBezTo>
                  <a:cubicBezTo>
                    <a:pt x="646" y="1109"/>
                    <a:pt x="646" y="1109"/>
                    <a:pt x="646" y="1109"/>
                  </a:cubicBezTo>
                  <a:cubicBezTo>
                    <a:pt x="648" y="1109"/>
                    <a:pt x="650" y="1111"/>
                    <a:pt x="651" y="1112"/>
                  </a:cubicBezTo>
                  <a:cubicBezTo>
                    <a:pt x="642" y="1112"/>
                    <a:pt x="642" y="1112"/>
                    <a:pt x="642" y="1112"/>
                  </a:cubicBezTo>
                  <a:cubicBezTo>
                    <a:pt x="657" y="1118"/>
                    <a:pt x="671" y="1123"/>
                    <a:pt x="685" y="1129"/>
                  </a:cubicBezTo>
                  <a:cubicBezTo>
                    <a:pt x="698" y="1134"/>
                    <a:pt x="711" y="1138"/>
                    <a:pt x="723" y="1142"/>
                  </a:cubicBezTo>
                  <a:cubicBezTo>
                    <a:pt x="724" y="1142"/>
                    <a:pt x="724" y="1142"/>
                    <a:pt x="724" y="1142"/>
                  </a:cubicBezTo>
                  <a:cubicBezTo>
                    <a:pt x="729" y="1144"/>
                    <a:pt x="730" y="1139"/>
                    <a:pt x="733" y="1139"/>
                  </a:cubicBezTo>
                  <a:cubicBezTo>
                    <a:pt x="732" y="1141"/>
                    <a:pt x="731" y="1142"/>
                    <a:pt x="730" y="1144"/>
                  </a:cubicBezTo>
                  <a:cubicBezTo>
                    <a:pt x="740" y="1147"/>
                    <a:pt x="750" y="1149"/>
                    <a:pt x="761" y="1150"/>
                  </a:cubicBezTo>
                  <a:cubicBezTo>
                    <a:pt x="789" y="1154"/>
                    <a:pt x="818" y="1152"/>
                    <a:pt x="847" y="1146"/>
                  </a:cubicBezTo>
                  <a:cubicBezTo>
                    <a:pt x="840" y="1146"/>
                    <a:pt x="840" y="1146"/>
                    <a:pt x="840" y="1146"/>
                  </a:cubicBezTo>
                  <a:cubicBezTo>
                    <a:pt x="839" y="1145"/>
                    <a:pt x="839" y="1143"/>
                    <a:pt x="840" y="1140"/>
                  </a:cubicBezTo>
                  <a:cubicBezTo>
                    <a:pt x="842" y="1140"/>
                    <a:pt x="843" y="1140"/>
                    <a:pt x="844" y="1140"/>
                  </a:cubicBezTo>
                  <a:cubicBezTo>
                    <a:pt x="845" y="1140"/>
                    <a:pt x="845" y="1140"/>
                    <a:pt x="845" y="1139"/>
                  </a:cubicBezTo>
                  <a:cubicBezTo>
                    <a:pt x="844" y="1139"/>
                    <a:pt x="844" y="1140"/>
                    <a:pt x="844" y="1140"/>
                  </a:cubicBezTo>
                  <a:cubicBezTo>
                    <a:pt x="844" y="1140"/>
                    <a:pt x="844" y="1140"/>
                    <a:pt x="844" y="1140"/>
                  </a:cubicBezTo>
                  <a:cubicBezTo>
                    <a:pt x="844" y="1140"/>
                    <a:pt x="844" y="1140"/>
                    <a:pt x="844" y="1140"/>
                  </a:cubicBezTo>
                  <a:cubicBezTo>
                    <a:pt x="841" y="1140"/>
                    <a:pt x="837" y="1141"/>
                    <a:pt x="834" y="1141"/>
                  </a:cubicBezTo>
                  <a:cubicBezTo>
                    <a:pt x="833" y="1142"/>
                    <a:pt x="832" y="1142"/>
                    <a:pt x="831" y="1143"/>
                  </a:cubicBezTo>
                  <a:cubicBezTo>
                    <a:pt x="831" y="1142"/>
                    <a:pt x="831" y="1142"/>
                    <a:pt x="831" y="1142"/>
                  </a:cubicBezTo>
                  <a:cubicBezTo>
                    <a:pt x="829" y="1142"/>
                    <a:pt x="828" y="1142"/>
                    <a:pt x="826" y="1143"/>
                  </a:cubicBezTo>
                  <a:cubicBezTo>
                    <a:pt x="826" y="1143"/>
                    <a:pt x="826" y="1143"/>
                    <a:pt x="826" y="1143"/>
                  </a:cubicBezTo>
                  <a:cubicBezTo>
                    <a:pt x="826" y="1143"/>
                    <a:pt x="826" y="1143"/>
                    <a:pt x="826" y="1143"/>
                  </a:cubicBezTo>
                  <a:cubicBezTo>
                    <a:pt x="810" y="1145"/>
                    <a:pt x="794" y="1146"/>
                    <a:pt x="778" y="1145"/>
                  </a:cubicBezTo>
                  <a:cubicBezTo>
                    <a:pt x="776" y="1145"/>
                    <a:pt x="774" y="1145"/>
                    <a:pt x="771" y="1144"/>
                  </a:cubicBezTo>
                  <a:cubicBezTo>
                    <a:pt x="771" y="1145"/>
                    <a:pt x="771" y="1145"/>
                    <a:pt x="771" y="1145"/>
                  </a:cubicBezTo>
                  <a:cubicBezTo>
                    <a:pt x="770" y="1145"/>
                    <a:pt x="770" y="1144"/>
                    <a:pt x="769" y="1144"/>
                  </a:cubicBezTo>
                  <a:cubicBezTo>
                    <a:pt x="751" y="1143"/>
                    <a:pt x="732" y="1138"/>
                    <a:pt x="713" y="1133"/>
                  </a:cubicBezTo>
                  <a:cubicBezTo>
                    <a:pt x="713" y="1133"/>
                    <a:pt x="713" y="1133"/>
                    <a:pt x="713" y="1133"/>
                  </a:cubicBezTo>
                  <a:cubicBezTo>
                    <a:pt x="752" y="1144"/>
                    <a:pt x="754" y="1145"/>
                    <a:pt x="755" y="1147"/>
                  </a:cubicBezTo>
                  <a:cubicBezTo>
                    <a:pt x="750" y="1147"/>
                    <a:pt x="750" y="1147"/>
                    <a:pt x="750" y="1147"/>
                  </a:cubicBezTo>
                  <a:cubicBezTo>
                    <a:pt x="749" y="1146"/>
                    <a:pt x="749" y="1144"/>
                    <a:pt x="750" y="1143"/>
                  </a:cubicBezTo>
                  <a:cubicBezTo>
                    <a:pt x="627" y="1130"/>
                    <a:pt x="626" y="1131"/>
                    <a:pt x="626" y="1131"/>
                  </a:cubicBezTo>
                  <a:cubicBezTo>
                    <a:pt x="632" y="1134"/>
                    <a:pt x="639" y="1137"/>
                    <a:pt x="646" y="1140"/>
                  </a:cubicBezTo>
                  <a:cubicBezTo>
                    <a:pt x="646" y="1140"/>
                    <a:pt x="646" y="1139"/>
                    <a:pt x="646" y="1138"/>
                  </a:cubicBezTo>
                  <a:cubicBezTo>
                    <a:pt x="648" y="1137"/>
                    <a:pt x="649" y="1136"/>
                    <a:pt x="650" y="1134"/>
                  </a:cubicBezTo>
                  <a:cubicBezTo>
                    <a:pt x="634" y="1128"/>
                    <a:pt x="618" y="1120"/>
                    <a:pt x="603" y="1112"/>
                  </a:cubicBezTo>
                  <a:cubicBezTo>
                    <a:pt x="587" y="1113"/>
                    <a:pt x="587" y="1113"/>
                    <a:pt x="587" y="1113"/>
                  </a:cubicBezTo>
                  <a:cubicBezTo>
                    <a:pt x="599" y="1118"/>
                    <a:pt x="611" y="1124"/>
                    <a:pt x="622" y="1130"/>
                  </a:cubicBezTo>
                  <a:cubicBezTo>
                    <a:pt x="988" y="1101"/>
                    <a:pt x="988" y="1098"/>
                    <a:pt x="989" y="1096"/>
                  </a:cubicBezTo>
                  <a:cubicBezTo>
                    <a:pt x="988" y="1097"/>
                    <a:pt x="987" y="1097"/>
                    <a:pt x="987" y="1097"/>
                  </a:cubicBezTo>
                  <a:cubicBezTo>
                    <a:pt x="987" y="1098"/>
                    <a:pt x="987" y="1098"/>
                    <a:pt x="987" y="1098"/>
                  </a:cubicBezTo>
                  <a:cubicBezTo>
                    <a:pt x="985" y="1100"/>
                    <a:pt x="982" y="1100"/>
                    <a:pt x="981" y="1103"/>
                  </a:cubicBezTo>
                  <a:cubicBezTo>
                    <a:pt x="983" y="1104"/>
                    <a:pt x="984" y="1105"/>
                    <a:pt x="984" y="1107"/>
                  </a:cubicBezTo>
                  <a:cubicBezTo>
                    <a:pt x="985" y="1107"/>
                    <a:pt x="985" y="1107"/>
                    <a:pt x="985" y="1106"/>
                  </a:cubicBezTo>
                  <a:cubicBezTo>
                    <a:pt x="986" y="1105"/>
                    <a:pt x="986" y="1103"/>
                    <a:pt x="988" y="1103"/>
                  </a:cubicBezTo>
                  <a:cubicBezTo>
                    <a:pt x="1137" y="1008"/>
                    <a:pt x="1130" y="1014"/>
                    <a:pt x="1124" y="1020"/>
                  </a:cubicBezTo>
                  <a:cubicBezTo>
                    <a:pt x="1124" y="1020"/>
                    <a:pt x="1125" y="1020"/>
                    <a:pt x="1125" y="1020"/>
                  </a:cubicBezTo>
                  <a:cubicBezTo>
                    <a:pt x="1125" y="1021"/>
                    <a:pt x="1125" y="1021"/>
                    <a:pt x="1125" y="1021"/>
                  </a:cubicBezTo>
                  <a:cubicBezTo>
                    <a:pt x="1127" y="1021"/>
                    <a:pt x="1128" y="1022"/>
                    <a:pt x="1129" y="1024"/>
                  </a:cubicBezTo>
                  <a:cubicBezTo>
                    <a:pt x="1131" y="1022"/>
                    <a:pt x="1133" y="1021"/>
                    <a:pt x="1135" y="1019"/>
                  </a:cubicBezTo>
                  <a:cubicBezTo>
                    <a:pt x="1135" y="1019"/>
                    <a:pt x="1135" y="1018"/>
                    <a:pt x="1135" y="1018"/>
                  </a:cubicBezTo>
                  <a:cubicBezTo>
                    <a:pt x="1136" y="1018"/>
                    <a:pt x="1136" y="1018"/>
                    <a:pt x="1136" y="1018"/>
                  </a:cubicBezTo>
                  <a:cubicBezTo>
                    <a:pt x="1140" y="1015"/>
                    <a:pt x="1144" y="1011"/>
                    <a:pt x="1147" y="1008"/>
                  </a:cubicBezTo>
                  <a:cubicBezTo>
                    <a:pt x="1151" y="1005"/>
                    <a:pt x="1147" y="1000"/>
                    <a:pt x="1143" y="1003"/>
                  </a:cubicBezTo>
                  <a:cubicBezTo>
                    <a:pt x="1099" y="1049"/>
                    <a:pt x="1107" y="1043"/>
                    <a:pt x="1114" y="1037"/>
                  </a:cubicBezTo>
                  <a:cubicBezTo>
                    <a:pt x="1103" y="1037"/>
                    <a:pt x="1103" y="1037"/>
                    <a:pt x="1103" y="1037"/>
                  </a:cubicBezTo>
                  <a:cubicBezTo>
                    <a:pt x="1096" y="1043"/>
                    <a:pt x="1088" y="1049"/>
                    <a:pt x="1081" y="1054"/>
                  </a:cubicBezTo>
                  <a:cubicBezTo>
                    <a:pt x="1041" y="1090"/>
                    <a:pt x="1041" y="1090"/>
                    <a:pt x="1041" y="1090"/>
                  </a:cubicBezTo>
                  <a:cubicBezTo>
                    <a:pt x="1050" y="1085"/>
                    <a:pt x="1059" y="1079"/>
                    <a:pt x="1067" y="1073"/>
                  </a:cubicBezTo>
                  <a:cubicBezTo>
                    <a:pt x="1055" y="1073"/>
                    <a:pt x="1055" y="1073"/>
                    <a:pt x="1055" y="1073"/>
                  </a:cubicBezTo>
                  <a:cubicBezTo>
                    <a:pt x="1047" y="1079"/>
                    <a:pt x="1038" y="1085"/>
                    <a:pt x="1029" y="1090"/>
                  </a:cubicBezTo>
                  <a:cubicBezTo>
                    <a:pt x="510" y="288"/>
                    <a:pt x="514" y="288"/>
                    <a:pt x="514" y="292"/>
                  </a:cubicBezTo>
                  <a:cubicBezTo>
                    <a:pt x="518" y="292"/>
                    <a:pt x="517" y="288"/>
                    <a:pt x="517" y="285"/>
                  </a:cubicBezTo>
                  <a:cubicBezTo>
                    <a:pt x="516" y="288"/>
                    <a:pt x="510" y="287"/>
                    <a:pt x="512" y="283"/>
                  </a:cubicBezTo>
                  <a:cubicBezTo>
                    <a:pt x="510" y="283"/>
                    <a:pt x="511" y="285"/>
                    <a:pt x="509" y="285"/>
                  </a:cubicBezTo>
                  <a:cubicBezTo>
                    <a:pt x="407" y="284"/>
                    <a:pt x="409" y="285"/>
                    <a:pt x="411" y="286"/>
                  </a:cubicBezTo>
                  <a:cubicBezTo>
                    <a:pt x="413" y="286"/>
                    <a:pt x="415" y="286"/>
                    <a:pt x="417" y="286"/>
                  </a:cubicBezTo>
                  <a:cubicBezTo>
                    <a:pt x="417" y="286"/>
                    <a:pt x="417" y="286"/>
                    <a:pt x="417" y="286"/>
                  </a:cubicBezTo>
                  <a:cubicBezTo>
                    <a:pt x="417" y="286"/>
                    <a:pt x="417" y="286"/>
                    <a:pt x="418" y="286"/>
                  </a:cubicBezTo>
                  <a:cubicBezTo>
                    <a:pt x="428" y="285"/>
                    <a:pt x="438" y="285"/>
                    <a:pt x="447" y="285"/>
                  </a:cubicBezTo>
                  <a:cubicBezTo>
                    <a:pt x="448" y="282"/>
                    <a:pt x="449" y="280"/>
                    <a:pt x="452" y="280"/>
                  </a:cubicBezTo>
                  <a:cubicBezTo>
                    <a:pt x="447" y="276"/>
                    <a:pt x="445" y="283"/>
                    <a:pt x="440" y="283"/>
                  </a:cubicBezTo>
                  <a:cubicBezTo>
                    <a:pt x="440" y="281"/>
                    <a:pt x="440" y="280"/>
                    <a:pt x="439" y="278"/>
                  </a:cubicBezTo>
                  <a:cubicBezTo>
                    <a:pt x="435" y="278"/>
                    <a:pt x="431" y="278"/>
                    <a:pt x="427" y="278"/>
                  </a:cubicBezTo>
                  <a:cubicBezTo>
                    <a:pt x="428" y="283"/>
                    <a:pt x="417" y="284"/>
                    <a:pt x="418" y="279"/>
                  </a:cubicBezTo>
                  <a:cubicBezTo>
                    <a:pt x="418" y="279"/>
                    <a:pt x="418" y="279"/>
                    <a:pt x="418" y="279"/>
                  </a:cubicBezTo>
                  <a:cubicBezTo>
                    <a:pt x="413" y="279"/>
                    <a:pt x="407" y="280"/>
                    <a:pt x="402" y="280"/>
                  </a:cubicBezTo>
                  <a:cubicBezTo>
                    <a:pt x="403" y="282"/>
                    <a:pt x="401" y="283"/>
                    <a:pt x="403" y="284"/>
                  </a:cubicBezTo>
                  <a:cubicBezTo>
                    <a:pt x="413" y="279"/>
                    <a:pt x="413" y="281"/>
                    <a:pt x="417" y="281"/>
                  </a:cubicBezTo>
                  <a:cubicBezTo>
                    <a:pt x="417" y="282"/>
                    <a:pt x="417" y="282"/>
                    <a:pt x="417" y="283"/>
                  </a:cubicBezTo>
                  <a:cubicBezTo>
                    <a:pt x="416" y="283"/>
                    <a:pt x="415" y="284"/>
                    <a:pt x="415" y="284"/>
                  </a:cubicBezTo>
                  <a:cubicBezTo>
                    <a:pt x="414" y="282"/>
                    <a:pt x="410" y="283"/>
                    <a:pt x="410" y="281"/>
                  </a:cubicBezTo>
                  <a:cubicBezTo>
                    <a:pt x="328" y="293"/>
                    <a:pt x="295" y="302"/>
                    <a:pt x="264" y="314"/>
                  </a:cubicBezTo>
                  <a:cubicBezTo>
                    <a:pt x="264" y="314"/>
                    <a:pt x="264" y="314"/>
                    <a:pt x="264" y="314"/>
                  </a:cubicBezTo>
                  <a:cubicBezTo>
                    <a:pt x="269" y="314"/>
                    <a:pt x="273" y="315"/>
                    <a:pt x="276" y="317"/>
                  </a:cubicBezTo>
                  <a:cubicBezTo>
                    <a:pt x="281" y="315"/>
                    <a:pt x="285" y="314"/>
                    <a:pt x="289" y="312"/>
                  </a:cubicBezTo>
                  <a:cubicBezTo>
                    <a:pt x="313" y="304"/>
                    <a:pt x="337" y="298"/>
                    <a:pt x="362" y="293"/>
                  </a:cubicBezTo>
                  <a:cubicBezTo>
                    <a:pt x="362" y="291"/>
                    <a:pt x="361" y="289"/>
                    <a:pt x="360" y="286"/>
                  </a:cubicBezTo>
                  <a:cubicBezTo>
                    <a:pt x="343" y="295"/>
                    <a:pt x="343" y="295"/>
                    <a:pt x="343" y="295"/>
                  </a:cubicBezTo>
                  <a:cubicBezTo>
                    <a:pt x="343" y="294"/>
                    <a:pt x="343" y="293"/>
                    <a:pt x="343" y="292"/>
                  </a:cubicBezTo>
                  <a:cubicBezTo>
                    <a:pt x="346" y="292"/>
                    <a:pt x="349" y="292"/>
                    <a:pt x="350" y="293"/>
                  </a:cubicBezTo>
                  <a:cubicBezTo>
                    <a:pt x="350" y="294"/>
                    <a:pt x="350" y="294"/>
                    <a:pt x="350" y="295"/>
                  </a:cubicBezTo>
                  <a:cubicBezTo>
                    <a:pt x="528" y="286"/>
                    <a:pt x="527" y="286"/>
                    <a:pt x="525" y="285"/>
                  </a:cubicBezTo>
                  <a:cubicBezTo>
                    <a:pt x="527" y="287"/>
                    <a:pt x="528" y="288"/>
                    <a:pt x="530" y="289"/>
                  </a:cubicBezTo>
                  <a:cubicBezTo>
                    <a:pt x="530" y="288"/>
                    <a:pt x="530" y="287"/>
                    <a:pt x="529" y="286"/>
                  </a:cubicBezTo>
                  <a:cubicBezTo>
                    <a:pt x="544" y="289"/>
                    <a:pt x="546" y="290"/>
                    <a:pt x="547" y="291"/>
                  </a:cubicBezTo>
                  <a:cubicBezTo>
                    <a:pt x="547" y="290"/>
                    <a:pt x="547" y="290"/>
                    <a:pt x="547" y="289"/>
                  </a:cubicBezTo>
                  <a:cubicBezTo>
                    <a:pt x="546" y="289"/>
                    <a:pt x="545" y="289"/>
                    <a:pt x="543" y="288"/>
                  </a:cubicBezTo>
                  <a:cubicBezTo>
                    <a:pt x="555" y="291"/>
                    <a:pt x="555" y="291"/>
                    <a:pt x="555" y="291"/>
                  </a:cubicBezTo>
                  <a:cubicBezTo>
                    <a:pt x="555" y="291"/>
                    <a:pt x="555" y="292"/>
                    <a:pt x="555" y="292"/>
                  </a:cubicBezTo>
                  <a:cubicBezTo>
                    <a:pt x="558" y="293"/>
                    <a:pt x="560" y="292"/>
                    <a:pt x="561" y="292"/>
                  </a:cubicBezTo>
                  <a:cubicBezTo>
                    <a:pt x="559" y="291"/>
                    <a:pt x="557" y="291"/>
                    <a:pt x="555" y="291"/>
                  </a:cubicBezTo>
                  <a:cubicBezTo>
                    <a:pt x="217" y="341"/>
                    <a:pt x="231" y="335"/>
                    <a:pt x="245" y="329"/>
                  </a:cubicBezTo>
                  <a:cubicBezTo>
                    <a:pt x="245" y="328"/>
                    <a:pt x="245" y="328"/>
                    <a:pt x="245" y="327"/>
                  </a:cubicBezTo>
                  <a:cubicBezTo>
                    <a:pt x="246" y="327"/>
                    <a:pt x="247" y="327"/>
                    <a:pt x="247" y="328"/>
                  </a:cubicBezTo>
                  <a:cubicBezTo>
                    <a:pt x="250" y="327"/>
                    <a:pt x="252" y="326"/>
                    <a:pt x="255" y="325"/>
                  </a:cubicBezTo>
                  <a:cubicBezTo>
                    <a:pt x="255" y="323"/>
                    <a:pt x="254" y="321"/>
                    <a:pt x="253" y="321"/>
                  </a:cubicBezTo>
                  <a:cubicBezTo>
                    <a:pt x="251" y="327"/>
                    <a:pt x="244" y="327"/>
                    <a:pt x="240" y="324"/>
                  </a:cubicBezTo>
                  <a:cubicBezTo>
                    <a:pt x="227" y="329"/>
                    <a:pt x="215" y="335"/>
                    <a:pt x="204" y="341"/>
                  </a:cubicBezTo>
                  <a:cubicBezTo>
                    <a:pt x="199" y="344"/>
                    <a:pt x="194" y="346"/>
                    <a:pt x="190" y="349"/>
                  </a:cubicBezTo>
                  <a:cubicBezTo>
                    <a:pt x="195" y="1223"/>
                    <a:pt x="195" y="1223"/>
                    <a:pt x="195" y="1223"/>
                  </a:cubicBezTo>
                  <a:cubicBezTo>
                    <a:pt x="196" y="1223"/>
                    <a:pt x="196" y="1223"/>
                    <a:pt x="197" y="1223"/>
                  </a:cubicBezTo>
                  <a:cubicBezTo>
                    <a:pt x="200" y="1220"/>
                    <a:pt x="203" y="1217"/>
                    <a:pt x="206" y="1214"/>
                  </a:cubicBezTo>
                  <a:cubicBezTo>
                    <a:pt x="204" y="1212"/>
                    <a:pt x="202" y="1210"/>
                    <a:pt x="201" y="1209"/>
                  </a:cubicBezTo>
                  <a:cubicBezTo>
                    <a:pt x="200" y="1209"/>
                    <a:pt x="200" y="1210"/>
                    <a:pt x="199" y="1211"/>
                  </a:cubicBezTo>
                  <a:cubicBezTo>
                    <a:pt x="200" y="1212"/>
                    <a:pt x="200" y="1213"/>
                    <a:pt x="198" y="1215"/>
                  </a:cubicBezTo>
                  <a:cubicBezTo>
                    <a:pt x="197" y="1215"/>
                    <a:pt x="197" y="1215"/>
                    <a:pt x="196" y="1214"/>
                  </a:cubicBezTo>
                  <a:cubicBezTo>
                    <a:pt x="194" y="1216"/>
                    <a:pt x="193" y="1218"/>
                    <a:pt x="191" y="1219"/>
                  </a:cubicBezTo>
                  <a:cubicBezTo>
                    <a:pt x="188" y="1222"/>
                    <a:pt x="193" y="1227"/>
                    <a:pt x="196" y="1223"/>
                  </a:cubicBezTo>
                  <a:cubicBezTo>
                    <a:pt x="196" y="1223"/>
                    <a:pt x="197" y="1223"/>
                    <a:pt x="197" y="1223"/>
                  </a:cubicBezTo>
                  <a:cubicBezTo>
                    <a:pt x="668" y="790"/>
                    <a:pt x="668" y="790"/>
                    <a:pt x="667" y="791"/>
                  </a:cubicBezTo>
                  <a:cubicBezTo>
                    <a:pt x="666" y="791"/>
                    <a:pt x="666" y="791"/>
                    <a:pt x="666" y="791"/>
                  </a:cubicBezTo>
                  <a:cubicBezTo>
                    <a:pt x="662" y="797"/>
                    <a:pt x="659" y="804"/>
                    <a:pt x="658" y="812"/>
                  </a:cubicBezTo>
                  <a:cubicBezTo>
                    <a:pt x="658" y="811"/>
                    <a:pt x="658" y="811"/>
                    <a:pt x="659" y="811"/>
                  </a:cubicBezTo>
                  <a:cubicBezTo>
                    <a:pt x="659" y="810"/>
                    <a:pt x="660" y="810"/>
                    <a:pt x="660" y="811"/>
                  </a:cubicBezTo>
                  <a:cubicBezTo>
                    <a:pt x="661" y="810"/>
                    <a:pt x="661" y="809"/>
                    <a:pt x="661" y="808"/>
                  </a:cubicBezTo>
                  <a:cubicBezTo>
                    <a:pt x="665" y="808"/>
                    <a:pt x="665" y="808"/>
                    <a:pt x="665" y="808"/>
                  </a:cubicBezTo>
                  <a:cubicBezTo>
                    <a:pt x="666" y="803"/>
                    <a:pt x="669" y="797"/>
                    <a:pt x="673" y="792"/>
                  </a:cubicBezTo>
                  <a:cubicBezTo>
                    <a:pt x="676" y="789"/>
                    <a:pt x="678" y="787"/>
                    <a:pt x="681" y="785"/>
                  </a:cubicBezTo>
                  <a:cubicBezTo>
                    <a:pt x="681" y="785"/>
                    <a:pt x="681" y="784"/>
                    <a:pt x="681" y="784"/>
                  </a:cubicBezTo>
                  <a:cubicBezTo>
                    <a:pt x="683" y="784"/>
                    <a:pt x="683" y="783"/>
                    <a:pt x="685" y="783"/>
                  </a:cubicBezTo>
                  <a:cubicBezTo>
                    <a:pt x="687" y="782"/>
                    <a:pt x="688" y="781"/>
                    <a:pt x="690" y="781"/>
                  </a:cubicBezTo>
                  <a:cubicBezTo>
                    <a:pt x="690" y="778"/>
                    <a:pt x="691" y="776"/>
                    <a:pt x="694" y="776"/>
                  </a:cubicBezTo>
                  <a:cubicBezTo>
                    <a:pt x="694" y="776"/>
                    <a:pt x="695" y="776"/>
                    <a:pt x="695" y="776"/>
                  </a:cubicBezTo>
                  <a:cubicBezTo>
                    <a:pt x="696" y="775"/>
                    <a:pt x="698" y="773"/>
                    <a:pt x="699" y="772"/>
                  </a:cubicBezTo>
                  <a:cubicBezTo>
                    <a:pt x="706" y="772"/>
                    <a:pt x="706" y="772"/>
                    <a:pt x="706" y="772"/>
                  </a:cubicBezTo>
                  <a:cubicBezTo>
                    <a:pt x="706" y="772"/>
                    <a:pt x="706" y="773"/>
                    <a:pt x="706" y="773"/>
                  </a:cubicBezTo>
                  <a:cubicBezTo>
                    <a:pt x="704" y="773"/>
                    <a:pt x="703" y="773"/>
                    <a:pt x="702" y="773"/>
                  </a:cubicBezTo>
                  <a:cubicBezTo>
                    <a:pt x="703" y="774"/>
                    <a:pt x="704" y="775"/>
                    <a:pt x="705" y="776"/>
                  </a:cubicBezTo>
                  <a:cubicBezTo>
                    <a:pt x="709" y="776"/>
                    <a:pt x="713" y="775"/>
                    <a:pt x="717" y="775"/>
                  </a:cubicBezTo>
                  <a:cubicBezTo>
                    <a:pt x="717" y="774"/>
                    <a:pt x="718" y="773"/>
                    <a:pt x="718" y="772"/>
                  </a:cubicBezTo>
                  <a:cubicBezTo>
                    <a:pt x="721" y="772"/>
                    <a:pt x="721" y="772"/>
                    <a:pt x="721" y="772"/>
                  </a:cubicBezTo>
                  <a:cubicBezTo>
                    <a:pt x="724" y="773"/>
                    <a:pt x="725" y="774"/>
                    <a:pt x="727" y="774"/>
                  </a:cubicBezTo>
                  <a:cubicBezTo>
                    <a:pt x="731" y="774"/>
                    <a:pt x="735" y="774"/>
                    <a:pt x="738" y="774"/>
                  </a:cubicBezTo>
                  <a:cubicBezTo>
                    <a:pt x="734" y="775"/>
                    <a:pt x="730" y="776"/>
                    <a:pt x="726" y="777"/>
                  </a:cubicBezTo>
                  <a:cubicBezTo>
                    <a:pt x="726" y="777"/>
                    <a:pt x="725" y="777"/>
                    <a:pt x="724" y="777"/>
                  </a:cubicBezTo>
                  <a:cubicBezTo>
                    <a:pt x="723" y="778"/>
                    <a:pt x="722" y="779"/>
                    <a:pt x="720" y="779"/>
                  </a:cubicBezTo>
                  <a:cubicBezTo>
                    <a:pt x="719" y="779"/>
                    <a:pt x="718" y="780"/>
                    <a:pt x="717" y="780"/>
                  </a:cubicBezTo>
                  <a:cubicBezTo>
                    <a:pt x="718" y="780"/>
                    <a:pt x="720" y="780"/>
                    <a:pt x="721" y="780"/>
                  </a:cubicBezTo>
                  <a:cubicBezTo>
                    <a:pt x="722" y="781"/>
                    <a:pt x="722" y="783"/>
                    <a:pt x="722" y="786"/>
                  </a:cubicBezTo>
                  <a:cubicBezTo>
                    <a:pt x="721" y="786"/>
                    <a:pt x="720" y="787"/>
                    <a:pt x="719" y="787"/>
                  </a:cubicBezTo>
                  <a:cubicBezTo>
                    <a:pt x="720" y="787"/>
                    <a:pt x="720" y="787"/>
                    <a:pt x="720" y="787"/>
                  </a:cubicBezTo>
                  <a:cubicBezTo>
                    <a:pt x="721" y="786"/>
                    <a:pt x="722" y="786"/>
                    <a:pt x="723" y="786"/>
                  </a:cubicBezTo>
                  <a:cubicBezTo>
                    <a:pt x="723" y="785"/>
                    <a:pt x="723" y="785"/>
                    <a:pt x="723" y="784"/>
                  </a:cubicBezTo>
                  <a:cubicBezTo>
                    <a:pt x="726" y="782"/>
                    <a:pt x="731" y="782"/>
                    <a:pt x="736" y="782"/>
                  </a:cubicBezTo>
                  <a:cubicBezTo>
                    <a:pt x="739" y="781"/>
                    <a:pt x="742" y="781"/>
                    <a:pt x="745" y="780"/>
                  </a:cubicBezTo>
                  <a:cubicBezTo>
                    <a:pt x="745" y="780"/>
                    <a:pt x="745" y="780"/>
                    <a:pt x="745" y="780"/>
                  </a:cubicBezTo>
                  <a:cubicBezTo>
                    <a:pt x="745" y="779"/>
                    <a:pt x="745" y="778"/>
                    <a:pt x="745" y="777"/>
                  </a:cubicBezTo>
                  <a:cubicBezTo>
                    <a:pt x="744" y="777"/>
                    <a:pt x="743" y="777"/>
                    <a:pt x="743" y="778"/>
                  </a:cubicBezTo>
                  <a:cubicBezTo>
                    <a:pt x="743" y="776"/>
                    <a:pt x="744" y="774"/>
                    <a:pt x="744" y="772"/>
                  </a:cubicBezTo>
                  <a:cubicBezTo>
                    <a:pt x="757" y="772"/>
                    <a:pt x="757" y="772"/>
                    <a:pt x="757" y="772"/>
                  </a:cubicBezTo>
                  <a:cubicBezTo>
                    <a:pt x="757" y="774"/>
                    <a:pt x="759" y="775"/>
                    <a:pt x="759" y="777"/>
                  </a:cubicBezTo>
                  <a:cubicBezTo>
                    <a:pt x="762" y="775"/>
                    <a:pt x="765" y="773"/>
                    <a:pt x="769" y="772"/>
                  </a:cubicBezTo>
                  <a:cubicBezTo>
                    <a:pt x="790" y="772"/>
                    <a:pt x="790" y="772"/>
                    <a:pt x="790" y="772"/>
                  </a:cubicBezTo>
                  <a:cubicBezTo>
                    <a:pt x="787" y="773"/>
                    <a:pt x="786" y="775"/>
                    <a:pt x="783" y="775"/>
                  </a:cubicBezTo>
                  <a:cubicBezTo>
                    <a:pt x="783" y="777"/>
                    <a:pt x="786" y="778"/>
                    <a:pt x="788" y="779"/>
                  </a:cubicBezTo>
                  <a:cubicBezTo>
                    <a:pt x="788" y="778"/>
                    <a:pt x="789" y="778"/>
                    <a:pt x="789" y="777"/>
                  </a:cubicBezTo>
                  <a:cubicBezTo>
                    <a:pt x="790" y="777"/>
                    <a:pt x="791" y="778"/>
                    <a:pt x="793" y="778"/>
                  </a:cubicBezTo>
                  <a:cubicBezTo>
                    <a:pt x="792" y="777"/>
                    <a:pt x="790" y="776"/>
                    <a:pt x="790" y="775"/>
                  </a:cubicBezTo>
                  <a:cubicBezTo>
                    <a:pt x="788" y="773"/>
                    <a:pt x="795" y="771"/>
                    <a:pt x="794" y="775"/>
                  </a:cubicBezTo>
                  <a:cubicBezTo>
                    <a:pt x="796" y="774"/>
                    <a:pt x="795" y="773"/>
                    <a:pt x="795" y="772"/>
                  </a:cubicBezTo>
                  <a:cubicBezTo>
                    <a:pt x="802" y="772"/>
                    <a:pt x="802" y="772"/>
                    <a:pt x="802" y="772"/>
                  </a:cubicBezTo>
                  <a:cubicBezTo>
                    <a:pt x="802" y="772"/>
                    <a:pt x="802" y="772"/>
                    <a:pt x="802" y="772"/>
                  </a:cubicBezTo>
                  <a:cubicBezTo>
                    <a:pt x="802" y="772"/>
                    <a:pt x="802" y="772"/>
                    <a:pt x="802" y="772"/>
                  </a:cubicBezTo>
                  <a:cubicBezTo>
                    <a:pt x="806" y="771"/>
                    <a:pt x="806" y="771"/>
                    <a:pt x="806" y="771"/>
                  </a:cubicBezTo>
                  <a:cubicBezTo>
                    <a:pt x="774" y="768"/>
                    <a:pt x="743" y="765"/>
                    <a:pt x="712" y="769"/>
                  </a:cubicBezTo>
                  <a:cubicBezTo>
                    <a:pt x="698" y="770"/>
                    <a:pt x="684" y="775"/>
                    <a:pt x="674" y="783"/>
                  </a:cubicBezTo>
                  <a:cubicBezTo>
                    <a:pt x="674" y="783"/>
                    <a:pt x="674" y="783"/>
                    <a:pt x="675" y="783"/>
                  </a:cubicBezTo>
                  <a:cubicBezTo>
                    <a:pt x="675" y="787"/>
                    <a:pt x="672" y="789"/>
                    <a:pt x="670" y="790"/>
                  </a:cubicBezTo>
                  <a:cubicBezTo>
                    <a:pt x="669" y="789"/>
                    <a:pt x="669" y="788"/>
                    <a:pt x="669" y="788"/>
                  </a:cubicBezTo>
                  <a:cubicBezTo>
                    <a:pt x="669" y="788"/>
                    <a:pt x="668" y="789"/>
                    <a:pt x="668" y="789"/>
                  </a:cubicBezTo>
                  <a:cubicBezTo>
                    <a:pt x="727" y="777"/>
                    <a:pt x="729" y="777"/>
                    <a:pt x="732" y="776"/>
                  </a:cubicBezTo>
                  <a:cubicBezTo>
                    <a:pt x="733" y="780"/>
                    <a:pt x="729" y="782"/>
                    <a:pt x="727" y="780"/>
                  </a:cubicBezTo>
                  <a:cubicBezTo>
                    <a:pt x="187" y="351"/>
                    <a:pt x="186" y="351"/>
                    <a:pt x="186" y="351"/>
                  </a:cubicBezTo>
                  <a:cubicBezTo>
                    <a:pt x="186" y="352"/>
                    <a:pt x="187" y="353"/>
                    <a:pt x="189" y="352"/>
                  </a:cubicBezTo>
                  <a:cubicBezTo>
                    <a:pt x="189" y="352"/>
                    <a:pt x="188" y="351"/>
                    <a:pt x="188" y="350"/>
                  </a:cubicBezTo>
                  <a:cubicBezTo>
                    <a:pt x="396" y="281"/>
                    <a:pt x="394" y="281"/>
                    <a:pt x="391" y="282"/>
                  </a:cubicBezTo>
                  <a:cubicBezTo>
                    <a:pt x="391" y="282"/>
                    <a:pt x="391" y="282"/>
                    <a:pt x="390" y="282"/>
                  </a:cubicBezTo>
                  <a:cubicBezTo>
                    <a:pt x="390" y="282"/>
                    <a:pt x="390" y="282"/>
                    <a:pt x="390" y="282"/>
                  </a:cubicBezTo>
                  <a:cubicBezTo>
                    <a:pt x="386" y="282"/>
                    <a:pt x="382" y="283"/>
                    <a:pt x="378" y="283"/>
                  </a:cubicBezTo>
                  <a:cubicBezTo>
                    <a:pt x="378" y="284"/>
                    <a:pt x="378" y="284"/>
                    <a:pt x="378" y="285"/>
                  </a:cubicBezTo>
                  <a:cubicBezTo>
                    <a:pt x="377" y="285"/>
                    <a:pt x="376" y="284"/>
                    <a:pt x="375" y="284"/>
                  </a:cubicBezTo>
                  <a:cubicBezTo>
                    <a:pt x="374" y="284"/>
                    <a:pt x="372" y="284"/>
                    <a:pt x="371" y="285"/>
                  </a:cubicBezTo>
                  <a:cubicBezTo>
                    <a:pt x="368" y="286"/>
                    <a:pt x="366" y="288"/>
                    <a:pt x="363" y="290"/>
                  </a:cubicBezTo>
                  <a:cubicBezTo>
                    <a:pt x="365" y="290"/>
                    <a:pt x="366" y="291"/>
                    <a:pt x="367" y="292"/>
                  </a:cubicBezTo>
                  <a:cubicBezTo>
                    <a:pt x="371" y="291"/>
                    <a:pt x="375" y="291"/>
                    <a:pt x="380" y="290"/>
                  </a:cubicBezTo>
                  <a:cubicBezTo>
                    <a:pt x="380" y="289"/>
                    <a:pt x="380" y="288"/>
                    <a:pt x="381" y="287"/>
                  </a:cubicBezTo>
                  <a:cubicBezTo>
                    <a:pt x="386" y="285"/>
                    <a:pt x="387" y="290"/>
                    <a:pt x="389" y="288"/>
                  </a:cubicBezTo>
                  <a:cubicBezTo>
                    <a:pt x="389" y="286"/>
                    <a:pt x="389" y="285"/>
                    <a:pt x="390" y="284"/>
                  </a:cubicBezTo>
                  <a:cubicBezTo>
                    <a:pt x="392" y="284"/>
                    <a:pt x="394" y="284"/>
                    <a:pt x="395" y="284"/>
                  </a:cubicBezTo>
                  <a:cubicBezTo>
                    <a:pt x="396" y="285"/>
                    <a:pt x="397" y="287"/>
                    <a:pt x="396" y="288"/>
                  </a:cubicBezTo>
                  <a:cubicBezTo>
                    <a:pt x="398" y="288"/>
                    <a:pt x="399" y="287"/>
                    <a:pt x="400" y="287"/>
                  </a:cubicBezTo>
                  <a:cubicBezTo>
                    <a:pt x="398" y="285"/>
                    <a:pt x="397" y="282"/>
                    <a:pt x="399" y="281"/>
                  </a:cubicBezTo>
                  <a:cubicBezTo>
                    <a:pt x="462" y="285"/>
                    <a:pt x="462" y="285"/>
                    <a:pt x="462" y="284"/>
                  </a:cubicBezTo>
                  <a:cubicBezTo>
                    <a:pt x="462" y="285"/>
                    <a:pt x="461" y="285"/>
                    <a:pt x="461" y="285"/>
                  </a:cubicBezTo>
                  <a:cubicBezTo>
                    <a:pt x="461" y="285"/>
                    <a:pt x="462" y="285"/>
                    <a:pt x="462" y="285"/>
                  </a:cubicBezTo>
                  <a:cubicBezTo>
                    <a:pt x="595" y="1142"/>
                    <a:pt x="596" y="1139"/>
                    <a:pt x="598" y="1138"/>
                  </a:cubicBezTo>
                  <a:cubicBezTo>
                    <a:pt x="597" y="1138"/>
                    <a:pt x="596" y="1137"/>
                    <a:pt x="596" y="1136"/>
                  </a:cubicBezTo>
                  <a:cubicBezTo>
                    <a:pt x="595" y="1136"/>
                    <a:pt x="595" y="1136"/>
                    <a:pt x="595" y="1135"/>
                  </a:cubicBezTo>
                  <a:cubicBezTo>
                    <a:pt x="594" y="1136"/>
                    <a:pt x="594" y="1136"/>
                    <a:pt x="593" y="1135"/>
                  </a:cubicBezTo>
                  <a:cubicBezTo>
                    <a:pt x="593" y="1135"/>
                    <a:pt x="593" y="1135"/>
                    <a:pt x="592" y="1134"/>
                  </a:cubicBezTo>
                  <a:cubicBezTo>
                    <a:pt x="581" y="1128"/>
                    <a:pt x="569" y="1120"/>
                    <a:pt x="558" y="1113"/>
                  </a:cubicBezTo>
                  <a:cubicBezTo>
                    <a:pt x="546" y="1113"/>
                    <a:pt x="546" y="1113"/>
                    <a:pt x="546" y="1113"/>
                  </a:cubicBezTo>
                  <a:cubicBezTo>
                    <a:pt x="554" y="1119"/>
                    <a:pt x="563" y="1125"/>
                    <a:pt x="572" y="1130"/>
                  </a:cubicBezTo>
                  <a:cubicBezTo>
                    <a:pt x="575" y="1130"/>
                    <a:pt x="575" y="1130"/>
                    <a:pt x="575" y="1130"/>
                  </a:cubicBezTo>
                  <a:cubicBezTo>
                    <a:pt x="575" y="1130"/>
                    <a:pt x="576" y="1131"/>
                    <a:pt x="576" y="1131"/>
                  </a:cubicBezTo>
                  <a:cubicBezTo>
                    <a:pt x="578" y="1131"/>
                    <a:pt x="579" y="1130"/>
                    <a:pt x="582" y="1131"/>
                  </a:cubicBezTo>
                  <a:cubicBezTo>
                    <a:pt x="581" y="1131"/>
                    <a:pt x="581" y="1130"/>
                    <a:pt x="580" y="1130"/>
                  </a:cubicBezTo>
                  <a:cubicBezTo>
                    <a:pt x="584" y="1130"/>
                    <a:pt x="584" y="1130"/>
                    <a:pt x="584" y="1130"/>
                  </a:cubicBezTo>
                  <a:cubicBezTo>
                    <a:pt x="583" y="1130"/>
                    <a:pt x="583" y="1131"/>
                    <a:pt x="583" y="1132"/>
                  </a:cubicBezTo>
                  <a:cubicBezTo>
                    <a:pt x="583" y="1132"/>
                    <a:pt x="583" y="1132"/>
                    <a:pt x="583" y="1132"/>
                  </a:cubicBezTo>
                  <a:cubicBezTo>
                    <a:pt x="579" y="1136"/>
                    <a:pt x="583" y="1134"/>
                    <a:pt x="584" y="1137"/>
                  </a:cubicBezTo>
                  <a:cubicBezTo>
                    <a:pt x="585" y="1137"/>
                    <a:pt x="585" y="1138"/>
                    <a:pt x="585" y="1138"/>
                  </a:cubicBezTo>
                  <a:cubicBezTo>
                    <a:pt x="586" y="1138"/>
                    <a:pt x="586" y="1138"/>
                    <a:pt x="586" y="1138"/>
                  </a:cubicBezTo>
                  <a:cubicBezTo>
                    <a:pt x="587" y="1137"/>
                    <a:pt x="588" y="1136"/>
                    <a:pt x="589" y="1136"/>
                  </a:cubicBezTo>
                  <a:cubicBezTo>
                    <a:pt x="590" y="1137"/>
                    <a:pt x="591" y="1139"/>
                    <a:pt x="590" y="1141"/>
                  </a:cubicBezTo>
                  <a:cubicBezTo>
                    <a:pt x="591" y="1141"/>
                    <a:pt x="592" y="1142"/>
                    <a:pt x="593" y="1142"/>
                  </a:cubicBezTo>
                  <a:cubicBezTo>
                    <a:pt x="333" y="315"/>
                    <a:pt x="325" y="318"/>
                    <a:pt x="316" y="321"/>
                  </a:cubicBezTo>
                  <a:cubicBezTo>
                    <a:pt x="317" y="325"/>
                    <a:pt x="313" y="326"/>
                    <a:pt x="313" y="329"/>
                  </a:cubicBezTo>
                  <a:cubicBezTo>
                    <a:pt x="315" y="328"/>
                    <a:pt x="317" y="328"/>
                    <a:pt x="319" y="327"/>
                  </a:cubicBezTo>
                  <a:cubicBezTo>
                    <a:pt x="319" y="326"/>
                    <a:pt x="319" y="325"/>
                    <a:pt x="319" y="324"/>
                  </a:cubicBezTo>
                  <a:cubicBezTo>
                    <a:pt x="322" y="324"/>
                    <a:pt x="325" y="325"/>
                    <a:pt x="324" y="322"/>
                  </a:cubicBezTo>
                  <a:cubicBezTo>
                    <a:pt x="326" y="322"/>
                    <a:pt x="328" y="322"/>
                    <a:pt x="329" y="324"/>
                  </a:cubicBezTo>
                  <a:cubicBezTo>
                    <a:pt x="334" y="322"/>
                    <a:pt x="339" y="320"/>
                    <a:pt x="345" y="319"/>
                  </a:cubicBezTo>
                  <a:cubicBezTo>
                    <a:pt x="342" y="318"/>
                    <a:pt x="342" y="315"/>
                    <a:pt x="342" y="313"/>
                  </a:cubicBezTo>
                  <a:cubicBezTo>
                    <a:pt x="475" y="286"/>
                    <a:pt x="475" y="286"/>
                    <a:pt x="476" y="286"/>
                  </a:cubicBezTo>
                  <a:cubicBezTo>
                    <a:pt x="474" y="284"/>
                    <a:pt x="473" y="283"/>
                    <a:pt x="471" y="284"/>
                  </a:cubicBezTo>
                  <a:cubicBezTo>
                    <a:pt x="472" y="284"/>
                    <a:pt x="473" y="285"/>
                    <a:pt x="474" y="286"/>
                  </a:cubicBezTo>
                  <a:cubicBezTo>
                    <a:pt x="506" y="280"/>
                    <a:pt x="506" y="280"/>
                    <a:pt x="506" y="280"/>
                  </a:cubicBezTo>
                  <a:cubicBezTo>
                    <a:pt x="506" y="280"/>
                    <a:pt x="506" y="280"/>
                    <a:pt x="506" y="280"/>
                  </a:cubicBezTo>
                  <a:cubicBezTo>
                    <a:pt x="506" y="280"/>
                    <a:pt x="506" y="280"/>
                    <a:pt x="506" y="281"/>
                  </a:cubicBezTo>
                  <a:cubicBezTo>
                    <a:pt x="482" y="290"/>
                    <a:pt x="481" y="290"/>
                    <a:pt x="481" y="290"/>
                  </a:cubicBezTo>
                  <a:cubicBezTo>
                    <a:pt x="480" y="290"/>
                    <a:pt x="480" y="290"/>
                    <a:pt x="480" y="290"/>
                  </a:cubicBezTo>
                  <a:cubicBezTo>
                    <a:pt x="481" y="290"/>
                    <a:pt x="482" y="292"/>
                    <a:pt x="482" y="291"/>
                  </a:cubicBezTo>
                  <a:cubicBezTo>
                    <a:pt x="249" y="816"/>
                    <a:pt x="249" y="816"/>
                    <a:pt x="249" y="816"/>
                  </a:cubicBezTo>
                  <a:cubicBezTo>
                    <a:pt x="249" y="817"/>
                    <a:pt x="249" y="817"/>
                    <a:pt x="249" y="817"/>
                  </a:cubicBezTo>
                  <a:cubicBezTo>
                    <a:pt x="249" y="816"/>
                    <a:pt x="249" y="816"/>
                    <a:pt x="249" y="816"/>
                  </a:cubicBezTo>
                  <a:cubicBezTo>
                    <a:pt x="374" y="351"/>
                    <a:pt x="376" y="350"/>
                    <a:pt x="378" y="350"/>
                  </a:cubicBezTo>
                  <a:cubicBezTo>
                    <a:pt x="376" y="352"/>
                    <a:pt x="377" y="353"/>
                    <a:pt x="377" y="356"/>
                  </a:cubicBezTo>
                  <a:cubicBezTo>
                    <a:pt x="383" y="355"/>
                    <a:pt x="388" y="354"/>
                    <a:pt x="393" y="353"/>
                  </a:cubicBezTo>
                  <a:cubicBezTo>
                    <a:pt x="393" y="353"/>
                    <a:pt x="393" y="353"/>
                    <a:pt x="393" y="353"/>
                  </a:cubicBezTo>
                  <a:cubicBezTo>
                    <a:pt x="393" y="351"/>
                    <a:pt x="393" y="349"/>
                    <a:pt x="393" y="347"/>
                  </a:cubicBezTo>
                  <a:cubicBezTo>
                    <a:pt x="405" y="347"/>
                    <a:pt x="405" y="347"/>
                    <a:pt x="405" y="347"/>
                  </a:cubicBezTo>
                  <a:cubicBezTo>
                    <a:pt x="405" y="348"/>
                    <a:pt x="405" y="349"/>
                    <a:pt x="405" y="350"/>
                  </a:cubicBezTo>
                  <a:cubicBezTo>
                    <a:pt x="405" y="350"/>
                    <a:pt x="404" y="351"/>
                    <a:pt x="403" y="351"/>
                  </a:cubicBezTo>
                  <a:cubicBezTo>
                    <a:pt x="405" y="351"/>
                    <a:pt x="407" y="350"/>
                    <a:pt x="409" y="350"/>
                  </a:cubicBezTo>
                  <a:cubicBezTo>
                    <a:pt x="412" y="349"/>
                    <a:pt x="416" y="348"/>
                    <a:pt x="420" y="347"/>
                  </a:cubicBezTo>
                  <a:cubicBezTo>
                    <a:pt x="420" y="348"/>
                    <a:pt x="420" y="348"/>
                    <a:pt x="420" y="348"/>
                  </a:cubicBezTo>
                  <a:cubicBezTo>
                    <a:pt x="422" y="348"/>
                    <a:pt x="423" y="348"/>
                    <a:pt x="424" y="348"/>
                  </a:cubicBezTo>
                  <a:cubicBezTo>
                    <a:pt x="424" y="348"/>
                    <a:pt x="424" y="347"/>
                    <a:pt x="424" y="347"/>
                  </a:cubicBezTo>
                  <a:cubicBezTo>
                    <a:pt x="431" y="347"/>
                    <a:pt x="431" y="347"/>
                    <a:pt x="431" y="347"/>
                  </a:cubicBezTo>
                  <a:cubicBezTo>
                    <a:pt x="485" y="340"/>
                    <a:pt x="541" y="341"/>
                    <a:pt x="596" y="345"/>
                  </a:cubicBezTo>
                  <a:cubicBezTo>
                    <a:pt x="608" y="345"/>
                    <a:pt x="608" y="345"/>
                    <a:pt x="608" y="345"/>
                  </a:cubicBezTo>
                  <a:cubicBezTo>
                    <a:pt x="608" y="346"/>
                    <a:pt x="608" y="346"/>
                    <a:pt x="609" y="347"/>
                  </a:cubicBezTo>
                  <a:cubicBezTo>
                    <a:pt x="613" y="347"/>
                    <a:pt x="617" y="347"/>
                    <a:pt x="622" y="348"/>
                  </a:cubicBezTo>
                  <a:cubicBezTo>
                    <a:pt x="622" y="347"/>
                    <a:pt x="621" y="346"/>
                    <a:pt x="621" y="345"/>
                  </a:cubicBezTo>
                  <a:cubicBezTo>
                    <a:pt x="629" y="345"/>
                    <a:pt x="629" y="345"/>
                    <a:pt x="629" y="345"/>
                  </a:cubicBezTo>
                  <a:cubicBezTo>
                    <a:pt x="630" y="346"/>
                    <a:pt x="630" y="348"/>
                    <a:pt x="630" y="349"/>
                  </a:cubicBezTo>
                  <a:cubicBezTo>
                    <a:pt x="641" y="350"/>
                    <a:pt x="652" y="352"/>
                    <a:pt x="663" y="353"/>
                  </a:cubicBezTo>
                  <a:cubicBezTo>
                    <a:pt x="665" y="351"/>
                    <a:pt x="668" y="350"/>
                    <a:pt x="673" y="351"/>
                  </a:cubicBezTo>
                  <a:cubicBezTo>
                    <a:pt x="673" y="353"/>
                    <a:pt x="673" y="354"/>
                    <a:pt x="672" y="355"/>
                  </a:cubicBezTo>
                  <a:cubicBezTo>
                    <a:pt x="676" y="355"/>
                    <a:pt x="680" y="356"/>
                    <a:pt x="683" y="356"/>
                  </a:cubicBezTo>
                  <a:cubicBezTo>
                    <a:pt x="683" y="356"/>
                    <a:pt x="683" y="356"/>
                    <a:pt x="683" y="356"/>
                  </a:cubicBezTo>
                  <a:cubicBezTo>
                    <a:pt x="683" y="353"/>
                    <a:pt x="681" y="351"/>
                    <a:pt x="680" y="348"/>
                  </a:cubicBezTo>
                  <a:cubicBezTo>
                    <a:pt x="674" y="347"/>
                    <a:pt x="667" y="346"/>
                    <a:pt x="661" y="345"/>
                  </a:cubicBezTo>
                  <a:cubicBezTo>
                    <a:pt x="661" y="345"/>
                    <a:pt x="661" y="346"/>
                    <a:pt x="660" y="346"/>
                  </a:cubicBezTo>
                  <a:cubicBezTo>
                    <a:pt x="656" y="346"/>
                    <a:pt x="654" y="348"/>
                    <a:pt x="649" y="347"/>
                  </a:cubicBezTo>
                  <a:cubicBezTo>
                    <a:pt x="648" y="347"/>
                    <a:pt x="648" y="346"/>
                    <a:pt x="648" y="345"/>
                  </a:cubicBezTo>
                  <a:cubicBezTo>
                    <a:pt x="659" y="345"/>
                    <a:pt x="659" y="345"/>
                    <a:pt x="659" y="345"/>
                  </a:cubicBezTo>
                  <a:cubicBezTo>
                    <a:pt x="567" y="332"/>
                    <a:pt x="473" y="329"/>
                    <a:pt x="382" y="349"/>
                  </a:cubicBezTo>
                  <a:cubicBezTo>
                    <a:pt x="378" y="350"/>
                    <a:pt x="375" y="350"/>
                    <a:pt x="371" y="351"/>
                  </a:cubicBezTo>
                  <a:cubicBezTo>
                    <a:pt x="644" y="347"/>
                    <a:pt x="638" y="346"/>
                    <a:pt x="634" y="345"/>
                  </a:cubicBezTo>
                  <a:cubicBezTo>
                    <a:pt x="99" y="392"/>
                    <a:pt x="100" y="394"/>
                    <a:pt x="101" y="395"/>
                  </a:cubicBezTo>
                  <a:cubicBezTo>
                    <a:pt x="102" y="394"/>
                    <a:pt x="103" y="393"/>
                    <a:pt x="104" y="392"/>
                  </a:cubicBezTo>
                  <a:cubicBezTo>
                    <a:pt x="103" y="391"/>
                    <a:pt x="102" y="390"/>
                    <a:pt x="99" y="390"/>
                  </a:cubicBezTo>
                  <a:cubicBezTo>
                    <a:pt x="307" y="330"/>
                    <a:pt x="304" y="330"/>
                    <a:pt x="301" y="331"/>
                  </a:cubicBezTo>
                  <a:cubicBezTo>
                    <a:pt x="290" y="331"/>
                    <a:pt x="290" y="331"/>
                    <a:pt x="290" y="331"/>
                  </a:cubicBezTo>
                  <a:cubicBezTo>
                    <a:pt x="277" y="336"/>
                    <a:pt x="264" y="342"/>
                    <a:pt x="251" y="348"/>
                  </a:cubicBezTo>
                  <a:cubicBezTo>
                    <a:pt x="267" y="348"/>
                    <a:pt x="267" y="348"/>
                    <a:pt x="267" y="348"/>
                  </a:cubicBezTo>
                  <a:cubicBezTo>
                    <a:pt x="281" y="342"/>
                    <a:pt x="296" y="336"/>
                    <a:pt x="310" y="330"/>
                  </a:cubicBezTo>
                  <a:cubicBezTo>
                    <a:pt x="341" y="361"/>
                    <a:pt x="342" y="362"/>
                    <a:pt x="341" y="363"/>
                  </a:cubicBezTo>
                  <a:cubicBezTo>
                    <a:pt x="337" y="365"/>
                    <a:pt x="335" y="364"/>
                    <a:pt x="332" y="362"/>
                  </a:cubicBezTo>
                  <a:cubicBezTo>
                    <a:pt x="314" y="368"/>
                    <a:pt x="296" y="376"/>
                    <a:pt x="280" y="384"/>
                  </a:cubicBezTo>
                  <a:cubicBezTo>
                    <a:pt x="294" y="384"/>
                    <a:pt x="294" y="384"/>
                    <a:pt x="294" y="384"/>
                  </a:cubicBezTo>
                  <a:cubicBezTo>
                    <a:pt x="317" y="373"/>
                    <a:pt x="341" y="365"/>
                    <a:pt x="365" y="359"/>
                  </a:cubicBezTo>
                  <a:cubicBezTo>
                    <a:pt x="366" y="358"/>
                    <a:pt x="367" y="357"/>
                    <a:pt x="367" y="356"/>
                  </a:cubicBezTo>
                  <a:cubicBezTo>
                    <a:pt x="369" y="356"/>
                    <a:pt x="371" y="356"/>
                    <a:pt x="372" y="356"/>
                  </a:cubicBezTo>
                  <a:cubicBezTo>
                    <a:pt x="372" y="354"/>
                    <a:pt x="369" y="354"/>
                    <a:pt x="370" y="351"/>
                  </a:cubicBezTo>
                  <a:cubicBezTo>
                    <a:pt x="361" y="354"/>
                    <a:pt x="351" y="356"/>
                    <a:pt x="341" y="359"/>
                  </a:cubicBezTo>
                  <a:cubicBezTo>
                    <a:pt x="165" y="887"/>
                    <a:pt x="164" y="888"/>
                    <a:pt x="164" y="888"/>
                  </a:cubicBezTo>
                  <a:cubicBezTo>
                    <a:pt x="164" y="888"/>
                    <a:pt x="164" y="888"/>
                    <a:pt x="165" y="888"/>
                  </a:cubicBezTo>
                  <a:cubicBezTo>
                    <a:pt x="165" y="888"/>
                    <a:pt x="165" y="888"/>
                    <a:pt x="165" y="887"/>
                  </a:cubicBezTo>
                  <a:cubicBezTo>
                    <a:pt x="66" y="423"/>
                    <a:pt x="67" y="424"/>
                    <a:pt x="68" y="427"/>
                  </a:cubicBezTo>
                  <a:cubicBezTo>
                    <a:pt x="69" y="426"/>
                    <a:pt x="70" y="425"/>
                    <a:pt x="70" y="424"/>
                  </a:cubicBezTo>
                  <a:cubicBezTo>
                    <a:pt x="70" y="423"/>
                    <a:pt x="70" y="422"/>
                    <a:pt x="70" y="421"/>
                  </a:cubicBezTo>
                  <a:cubicBezTo>
                    <a:pt x="73" y="421"/>
                    <a:pt x="73" y="421"/>
                    <a:pt x="73" y="421"/>
                  </a:cubicBezTo>
                  <a:cubicBezTo>
                    <a:pt x="80" y="414"/>
                    <a:pt x="87" y="407"/>
                    <a:pt x="95" y="401"/>
                  </a:cubicBezTo>
                  <a:cubicBezTo>
                    <a:pt x="94" y="400"/>
                    <a:pt x="93" y="399"/>
                    <a:pt x="94" y="397"/>
                  </a:cubicBezTo>
                  <a:cubicBezTo>
                    <a:pt x="92" y="398"/>
                    <a:pt x="93" y="401"/>
                    <a:pt x="89" y="400"/>
                  </a:cubicBezTo>
                  <a:cubicBezTo>
                    <a:pt x="89" y="402"/>
                    <a:pt x="91" y="402"/>
                    <a:pt x="90" y="404"/>
                  </a:cubicBezTo>
                  <a:cubicBezTo>
                    <a:pt x="85" y="404"/>
                    <a:pt x="85" y="404"/>
                    <a:pt x="85" y="404"/>
                  </a:cubicBezTo>
                  <a:cubicBezTo>
                    <a:pt x="85" y="401"/>
                    <a:pt x="88" y="400"/>
                    <a:pt x="88" y="398"/>
                  </a:cubicBezTo>
                  <a:cubicBezTo>
                    <a:pt x="88" y="398"/>
                    <a:pt x="87" y="398"/>
                    <a:pt x="87" y="398"/>
                  </a:cubicBezTo>
                  <a:cubicBezTo>
                    <a:pt x="86" y="399"/>
                    <a:pt x="85" y="400"/>
                    <a:pt x="84" y="401"/>
                  </a:cubicBezTo>
                  <a:cubicBezTo>
                    <a:pt x="84" y="402"/>
                    <a:pt x="84" y="403"/>
                    <a:pt x="84" y="404"/>
                  </a:cubicBezTo>
                  <a:cubicBezTo>
                    <a:pt x="81" y="404"/>
                    <a:pt x="81" y="404"/>
                    <a:pt x="81" y="404"/>
                  </a:cubicBezTo>
                  <a:cubicBezTo>
                    <a:pt x="75" y="410"/>
                    <a:pt x="69" y="415"/>
                    <a:pt x="63" y="421"/>
                  </a:cubicBezTo>
                  <a:cubicBezTo>
                    <a:pt x="138" y="891"/>
                    <a:pt x="137" y="890"/>
                    <a:pt x="135" y="890"/>
                  </a:cubicBezTo>
                  <a:cubicBezTo>
                    <a:pt x="135" y="892"/>
                    <a:pt x="134" y="895"/>
                    <a:pt x="133" y="897"/>
                  </a:cubicBezTo>
                  <a:cubicBezTo>
                    <a:pt x="133" y="899"/>
                    <a:pt x="134" y="901"/>
                    <a:pt x="135" y="903"/>
                  </a:cubicBezTo>
                  <a:cubicBezTo>
                    <a:pt x="132" y="903"/>
                    <a:pt x="132" y="903"/>
                    <a:pt x="132" y="903"/>
                  </a:cubicBezTo>
                  <a:cubicBezTo>
                    <a:pt x="127" y="925"/>
                    <a:pt x="121" y="947"/>
                    <a:pt x="116" y="968"/>
                  </a:cubicBezTo>
                  <a:cubicBezTo>
                    <a:pt x="117" y="967"/>
                    <a:pt x="119" y="967"/>
                    <a:pt x="118" y="964"/>
                  </a:cubicBezTo>
                  <a:cubicBezTo>
                    <a:pt x="121" y="964"/>
                    <a:pt x="122" y="965"/>
                    <a:pt x="123" y="965"/>
                  </a:cubicBezTo>
                  <a:cubicBezTo>
                    <a:pt x="124" y="968"/>
                    <a:pt x="122" y="969"/>
                    <a:pt x="122" y="971"/>
                  </a:cubicBezTo>
                  <a:cubicBezTo>
                    <a:pt x="125" y="960"/>
                    <a:pt x="128" y="949"/>
                    <a:pt x="130" y="938"/>
                  </a:cubicBezTo>
                  <a:cubicBezTo>
                    <a:pt x="128" y="938"/>
                    <a:pt x="128" y="938"/>
                    <a:pt x="128" y="938"/>
                  </a:cubicBezTo>
                  <a:cubicBezTo>
                    <a:pt x="128" y="938"/>
                    <a:pt x="128" y="937"/>
                    <a:pt x="128" y="936"/>
                  </a:cubicBezTo>
                  <a:cubicBezTo>
                    <a:pt x="129" y="937"/>
                    <a:pt x="130" y="937"/>
                    <a:pt x="131" y="937"/>
                  </a:cubicBezTo>
                  <a:cubicBezTo>
                    <a:pt x="131" y="936"/>
                    <a:pt x="131" y="935"/>
                    <a:pt x="131" y="934"/>
                  </a:cubicBezTo>
                  <a:cubicBezTo>
                    <a:pt x="131" y="935"/>
                    <a:pt x="130" y="935"/>
                    <a:pt x="129" y="935"/>
                  </a:cubicBezTo>
                  <a:cubicBezTo>
                    <a:pt x="127" y="933"/>
                    <a:pt x="128" y="928"/>
                    <a:pt x="132" y="929"/>
                  </a:cubicBezTo>
                  <a:cubicBezTo>
                    <a:pt x="132" y="929"/>
                    <a:pt x="132" y="930"/>
                    <a:pt x="133" y="930"/>
                  </a:cubicBezTo>
                  <a:cubicBezTo>
                    <a:pt x="135" y="920"/>
                    <a:pt x="137" y="911"/>
                    <a:pt x="139" y="901"/>
                  </a:cubicBezTo>
                  <a:cubicBezTo>
                    <a:pt x="139" y="901"/>
                    <a:pt x="138" y="901"/>
                    <a:pt x="138" y="901"/>
                  </a:cubicBezTo>
                  <a:cubicBezTo>
                    <a:pt x="134" y="898"/>
                    <a:pt x="134" y="892"/>
                    <a:pt x="139" y="891"/>
                  </a:cubicBezTo>
                  <a:cubicBezTo>
                    <a:pt x="579" y="1134"/>
                    <a:pt x="579" y="1134"/>
                    <a:pt x="578" y="1134"/>
                  </a:cubicBezTo>
                  <a:cubicBezTo>
                    <a:pt x="579" y="1134"/>
                    <a:pt x="579" y="1134"/>
                    <a:pt x="579" y="1134"/>
                  </a:cubicBezTo>
                  <a:cubicBezTo>
                    <a:pt x="579" y="1134"/>
                    <a:pt x="579" y="1134"/>
                    <a:pt x="579" y="1134"/>
                  </a:cubicBezTo>
                  <a:cubicBezTo>
                    <a:pt x="214" y="376"/>
                    <a:pt x="226" y="369"/>
                    <a:pt x="239" y="362"/>
                  </a:cubicBezTo>
                  <a:cubicBezTo>
                    <a:pt x="239" y="360"/>
                    <a:pt x="240" y="359"/>
                    <a:pt x="240" y="357"/>
                  </a:cubicBezTo>
                  <a:cubicBezTo>
                    <a:pt x="242" y="357"/>
                    <a:pt x="246" y="357"/>
                    <a:pt x="247" y="358"/>
                  </a:cubicBezTo>
                  <a:cubicBezTo>
                    <a:pt x="247" y="358"/>
                    <a:pt x="247" y="358"/>
                    <a:pt x="247" y="358"/>
                  </a:cubicBezTo>
                  <a:cubicBezTo>
                    <a:pt x="247" y="358"/>
                    <a:pt x="248" y="358"/>
                    <a:pt x="248" y="357"/>
                  </a:cubicBezTo>
                  <a:cubicBezTo>
                    <a:pt x="248" y="357"/>
                    <a:pt x="248" y="357"/>
                    <a:pt x="248" y="357"/>
                  </a:cubicBezTo>
                  <a:cubicBezTo>
                    <a:pt x="248" y="354"/>
                    <a:pt x="248" y="352"/>
                    <a:pt x="248" y="350"/>
                  </a:cubicBezTo>
                  <a:cubicBezTo>
                    <a:pt x="227" y="360"/>
                    <a:pt x="208" y="372"/>
                    <a:pt x="189" y="385"/>
                  </a:cubicBezTo>
                  <a:cubicBezTo>
                    <a:pt x="899" y="788"/>
                    <a:pt x="898" y="787"/>
                    <a:pt x="898" y="787"/>
                  </a:cubicBezTo>
                  <a:cubicBezTo>
                    <a:pt x="898" y="784"/>
                    <a:pt x="901" y="785"/>
                    <a:pt x="903" y="784"/>
                  </a:cubicBezTo>
                  <a:cubicBezTo>
                    <a:pt x="903" y="784"/>
                    <a:pt x="903" y="783"/>
                    <a:pt x="903" y="782"/>
                  </a:cubicBezTo>
                  <a:cubicBezTo>
                    <a:pt x="899" y="782"/>
                    <a:pt x="895" y="782"/>
                    <a:pt x="891" y="781"/>
                  </a:cubicBezTo>
                  <a:cubicBezTo>
                    <a:pt x="891" y="781"/>
                    <a:pt x="891" y="782"/>
                    <a:pt x="891" y="782"/>
                  </a:cubicBezTo>
                  <a:cubicBezTo>
                    <a:pt x="889" y="782"/>
                    <a:pt x="888" y="781"/>
                    <a:pt x="888" y="781"/>
                  </a:cubicBezTo>
                  <a:cubicBezTo>
                    <a:pt x="885" y="781"/>
                    <a:pt x="882" y="781"/>
                    <a:pt x="879" y="780"/>
                  </a:cubicBezTo>
                  <a:cubicBezTo>
                    <a:pt x="879" y="783"/>
                    <a:pt x="878" y="785"/>
                    <a:pt x="876" y="786"/>
                  </a:cubicBezTo>
                  <a:cubicBezTo>
                    <a:pt x="879" y="787"/>
                    <a:pt x="882" y="787"/>
                    <a:pt x="886" y="787"/>
                  </a:cubicBezTo>
                  <a:cubicBezTo>
                    <a:pt x="886" y="787"/>
                    <a:pt x="886" y="786"/>
                    <a:pt x="886" y="785"/>
                  </a:cubicBezTo>
                  <a:cubicBezTo>
                    <a:pt x="888" y="784"/>
                    <a:pt x="888" y="784"/>
                    <a:pt x="891" y="785"/>
                  </a:cubicBezTo>
                  <a:cubicBezTo>
                    <a:pt x="891" y="786"/>
                    <a:pt x="891" y="787"/>
                    <a:pt x="891" y="788"/>
                  </a:cubicBezTo>
                  <a:cubicBezTo>
                    <a:pt x="894" y="788"/>
                    <a:pt x="896" y="788"/>
                    <a:pt x="899" y="788"/>
                  </a:cubicBezTo>
                  <a:cubicBezTo>
                    <a:pt x="772" y="777"/>
                    <a:pt x="773" y="776"/>
                    <a:pt x="775" y="775"/>
                  </a:cubicBezTo>
                  <a:cubicBezTo>
                    <a:pt x="772" y="775"/>
                    <a:pt x="769" y="777"/>
                    <a:pt x="767" y="778"/>
                  </a:cubicBezTo>
                  <a:cubicBezTo>
                    <a:pt x="768" y="778"/>
                    <a:pt x="770" y="778"/>
                    <a:pt x="772" y="778"/>
                  </a:cubicBezTo>
                  <a:cubicBezTo>
                    <a:pt x="1091" y="771"/>
                    <a:pt x="1084" y="773"/>
                    <a:pt x="1077" y="774"/>
                  </a:cubicBezTo>
                  <a:cubicBezTo>
                    <a:pt x="1077" y="775"/>
                    <a:pt x="1078" y="776"/>
                    <a:pt x="1078" y="777"/>
                  </a:cubicBezTo>
                  <a:cubicBezTo>
                    <a:pt x="1079" y="777"/>
                    <a:pt x="1081" y="777"/>
                    <a:pt x="1082" y="777"/>
                  </a:cubicBezTo>
                  <a:cubicBezTo>
                    <a:pt x="1083" y="778"/>
                    <a:pt x="1083" y="779"/>
                    <a:pt x="1083" y="780"/>
                  </a:cubicBezTo>
                  <a:cubicBezTo>
                    <a:pt x="1084" y="779"/>
                    <a:pt x="1086" y="779"/>
                    <a:pt x="1087" y="779"/>
                  </a:cubicBezTo>
                  <a:cubicBezTo>
                    <a:pt x="1086" y="777"/>
                    <a:pt x="1084" y="776"/>
                    <a:pt x="1082" y="775"/>
                  </a:cubicBezTo>
                  <a:cubicBezTo>
                    <a:pt x="1083" y="772"/>
                    <a:pt x="1086" y="773"/>
                    <a:pt x="1089" y="773"/>
                  </a:cubicBezTo>
                  <a:cubicBezTo>
                    <a:pt x="1089" y="775"/>
                    <a:pt x="1090" y="776"/>
                    <a:pt x="1092" y="777"/>
                  </a:cubicBezTo>
                  <a:cubicBezTo>
                    <a:pt x="1093" y="777"/>
                    <a:pt x="1093" y="777"/>
                    <a:pt x="1094" y="777"/>
                  </a:cubicBezTo>
                  <a:cubicBezTo>
                    <a:pt x="1096" y="776"/>
                    <a:pt x="1099" y="776"/>
                    <a:pt x="1101" y="775"/>
                  </a:cubicBezTo>
                  <a:cubicBezTo>
                    <a:pt x="1101" y="775"/>
                    <a:pt x="1102" y="775"/>
                    <a:pt x="1102" y="775"/>
                  </a:cubicBezTo>
                  <a:cubicBezTo>
                    <a:pt x="1102" y="774"/>
                    <a:pt x="1102" y="773"/>
                    <a:pt x="1103" y="772"/>
                  </a:cubicBezTo>
                  <a:cubicBezTo>
                    <a:pt x="1102" y="770"/>
                    <a:pt x="1101" y="768"/>
                    <a:pt x="1098" y="769"/>
                  </a:cubicBezTo>
                  <a:cubicBezTo>
                    <a:pt x="753" y="362"/>
                    <a:pt x="753" y="362"/>
                    <a:pt x="753" y="362"/>
                  </a:cubicBezTo>
                  <a:cubicBezTo>
                    <a:pt x="753" y="362"/>
                    <a:pt x="753" y="362"/>
                    <a:pt x="753" y="362"/>
                  </a:cubicBezTo>
                  <a:cubicBezTo>
                    <a:pt x="752" y="362"/>
                    <a:pt x="752" y="362"/>
                    <a:pt x="751" y="361"/>
                  </a:cubicBezTo>
                  <a:cubicBezTo>
                    <a:pt x="751" y="362"/>
                    <a:pt x="751" y="362"/>
                    <a:pt x="751" y="362"/>
                  </a:cubicBezTo>
                  <a:cubicBezTo>
                    <a:pt x="741" y="363"/>
                    <a:pt x="741" y="363"/>
                    <a:pt x="741" y="363"/>
                  </a:cubicBezTo>
                  <a:cubicBezTo>
                    <a:pt x="741" y="362"/>
                    <a:pt x="741" y="362"/>
                    <a:pt x="742" y="362"/>
                  </a:cubicBezTo>
                  <a:cubicBezTo>
                    <a:pt x="742" y="362"/>
                    <a:pt x="743" y="362"/>
                    <a:pt x="744" y="362"/>
                  </a:cubicBezTo>
                  <a:cubicBezTo>
                    <a:pt x="744" y="362"/>
                    <a:pt x="744" y="361"/>
                    <a:pt x="745" y="361"/>
                  </a:cubicBezTo>
                  <a:cubicBezTo>
                    <a:pt x="747" y="361"/>
                    <a:pt x="749" y="361"/>
                    <a:pt x="751" y="361"/>
                  </a:cubicBezTo>
                  <a:cubicBezTo>
                    <a:pt x="745" y="360"/>
                    <a:pt x="738" y="359"/>
                    <a:pt x="732" y="358"/>
                  </a:cubicBezTo>
                  <a:cubicBezTo>
                    <a:pt x="733" y="358"/>
                    <a:pt x="733" y="358"/>
                    <a:pt x="733" y="358"/>
                  </a:cubicBezTo>
                  <a:cubicBezTo>
                    <a:pt x="733" y="359"/>
                    <a:pt x="733" y="360"/>
                    <a:pt x="733" y="362"/>
                  </a:cubicBezTo>
                  <a:cubicBezTo>
                    <a:pt x="730" y="362"/>
                    <a:pt x="727" y="362"/>
                    <a:pt x="727" y="360"/>
                  </a:cubicBezTo>
                  <a:cubicBezTo>
                    <a:pt x="728" y="359"/>
                    <a:pt x="730" y="357"/>
                    <a:pt x="732" y="357"/>
                  </a:cubicBezTo>
                  <a:cubicBezTo>
                    <a:pt x="728" y="357"/>
                    <a:pt x="724" y="356"/>
                    <a:pt x="720" y="355"/>
                  </a:cubicBezTo>
                  <a:cubicBezTo>
                    <a:pt x="720" y="355"/>
                    <a:pt x="720" y="355"/>
                    <a:pt x="720" y="355"/>
                  </a:cubicBezTo>
                  <a:cubicBezTo>
                    <a:pt x="717" y="357"/>
                    <a:pt x="710" y="361"/>
                    <a:pt x="709" y="355"/>
                  </a:cubicBezTo>
                  <a:cubicBezTo>
                    <a:pt x="712" y="357"/>
                    <a:pt x="713" y="355"/>
                    <a:pt x="714" y="354"/>
                  </a:cubicBezTo>
                  <a:cubicBezTo>
                    <a:pt x="707" y="353"/>
                    <a:pt x="700" y="351"/>
                    <a:pt x="692" y="350"/>
                  </a:cubicBezTo>
                  <a:cubicBezTo>
                    <a:pt x="693" y="351"/>
                    <a:pt x="693" y="353"/>
                    <a:pt x="693" y="356"/>
                  </a:cubicBezTo>
                  <a:cubicBezTo>
                    <a:pt x="691" y="356"/>
                    <a:pt x="690" y="357"/>
                    <a:pt x="688" y="357"/>
                  </a:cubicBezTo>
                  <a:cubicBezTo>
                    <a:pt x="696" y="358"/>
                    <a:pt x="703" y="360"/>
                    <a:pt x="711" y="361"/>
                  </a:cubicBezTo>
                  <a:cubicBezTo>
                    <a:pt x="711" y="361"/>
                    <a:pt x="711" y="361"/>
                    <a:pt x="711" y="361"/>
                  </a:cubicBezTo>
                  <a:cubicBezTo>
                    <a:pt x="715" y="360"/>
                    <a:pt x="719" y="360"/>
                    <a:pt x="721" y="358"/>
                  </a:cubicBezTo>
                  <a:cubicBezTo>
                    <a:pt x="723" y="358"/>
                    <a:pt x="724" y="359"/>
                    <a:pt x="723" y="361"/>
                  </a:cubicBezTo>
                  <a:cubicBezTo>
                    <a:pt x="720" y="360"/>
                    <a:pt x="719" y="361"/>
                    <a:pt x="719" y="363"/>
                  </a:cubicBezTo>
                  <a:cubicBezTo>
                    <a:pt x="746" y="368"/>
                    <a:pt x="772" y="373"/>
                    <a:pt x="798" y="379"/>
                  </a:cubicBezTo>
                  <a:cubicBezTo>
                    <a:pt x="806" y="379"/>
                    <a:pt x="806" y="379"/>
                    <a:pt x="806" y="379"/>
                  </a:cubicBezTo>
                  <a:cubicBezTo>
                    <a:pt x="806" y="380"/>
                    <a:pt x="807" y="380"/>
                    <a:pt x="807" y="381"/>
                  </a:cubicBezTo>
                  <a:cubicBezTo>
                    <a:pt x="808" y="382"/>
                    <a:pt x="809" y="382"/>
                    <a:pt x="811" y="382"/>
                  </a:cubicBezTo>
                  <a:cubicBezTo>
                    <a:pt x="811" y="382"/>
                    <a:pt x="810" y="380"/>
                    <a:pt x="809" y="379"/>
                  </a:cubicBezTo>
                  <a:cubicBezTo>
                    <a:pt x="826" y="379"/>
                    <a:pt x="826" y="379"/>
                    <a:pt x="826" y="379"/>
                  </a:cubicBezTo>
                  <a:cubicBezTo>
                    <a:pt x="803" y="373"/>
                    <a:pt x="779" y="368"/>
                    <a:pt x="755" y="362"/>
                  </a:cubicBezTo>
                  <a:cubicBezTo>
                    <a:pt x="839" y="316"/>
                    <a:pt x="838" y="318"/>
                    <a:pt x="836" y="318"/>
                  </a:cubicBezTo>
                  <a:cubicBezTo>
                    <a:pt x="836" y="319"/>
                    <a:pt x="843" y="320"/>
                    <a:pt x="842" y="317"/>
                  </a:cubicBezTo>
                  <a:cubicBezTo>
                    <a:pt x="807" y="349"/>
                    <a:pt x="807" y="351"/>
                    <a:pt x="802" y="349"/>
                  </a:cubicBezTo>
                  <a:cubicBezTo>
                    <a:pt x="802" y="351"/>
                    <a:pt x="802" y="352"/>
                    <a:pt x="802" y="353"/>
                  </a:cubicBezTo>
                  <a:cubicBezTo>
                    <a:pt x="803" y="353"/>
                    <a:pt x="803" y="353"/>
                    <a:pt x="804" y="353"/>
                  </a:cubicBezTo>
                  <a:cubicBezTo>
                    <a:pt x="805" y="353"/>
                    <a:pt x="806" y="353"/>
                    <a:pt x="807" y="354"/>
                  </a:cubicBezTo>
                  <a:cubicBezTo>
                    <a:pt x="809" y="354"/>
                    <a:pt x="810" y="355"/>
                    <a:pt x="812" y="355"/>
                  </a:cubicBezTo>
                  <a:cubicBezTo>
                    <a:pt x="813" y="354"/>
                    <a:pt x="814" y="353"/>
                    <a:pt x="817" y="354"/>
                  </a:cubicBezTo>
                  <a:cubicBezTo>
                    <a:pt x="815" y="350"/>
                    <a:pt x="810" y="354"/>
                    <a:pt x="808" y="351"/>
                  </a:cubicBezTo>
                  <a:cubicBezTo>
                    <a:pt x="808" y="350"/>
                    <a:pt x="809" y="349"/>
                    <a:pt x="810" y="348"/>
                  </a:cubicBezTo>
                  <a:cubicBezTo>
                    <a:pt x="810" y="348"/>
                    <a:pt x="809" y="348"/>
                    <a:pt x="809" y="348"/>
                  </a:cubicBezTo>
                  <a:cubicBezTo>
                    <a:pt x="809" y="348"/>
                    <a:pt x="809" y="347"/>
                    <a:pt x="809" y="347"/>
                  </a:cubicBezTo>
                  <a:cubicBezTo>
                    <a:pt x="809" y="347"/>
                    <a:pt x="809" y="347"/>
                    <a:pt x="808" y="347"/>
                  </a:cubicBezTo>
                  <a:cubicBezTo>
                    <a:pt x="812" y="323"/>
                    <a:pt x="812" y="324"/>
                    <a:pt x="812" y="325"/>
                  </a:cubicBezTo>
                  <a:cubicBezTo>
                    <a:pt x="813" y="325"/>
                    <a:pt x="814" y="325"/>
                    <a:pt x="815" y="325"/>
                  </a:cubicBezTo>
                  <a:cubicBezTo>
                    <a:pt x="814" y="324"/>
                    <a:pt x="813" y="324"/>
                    <a:pt x="813" y="323"/>
                  </a:cubicBezTo>
                  <a:cubicBezTo>
                    <a:pt x="117" y="992"/>
                    <a:pt x="120" y="982"/>
                    <a:pt x="122" y="972"/>
                  </a:cubicBezTo>
                  <a:cubicBezTo>
                    <a:pt x="121" y="973"/>
                    <a:pt x="121" y="974"/>
                    <a:pt x="119" y="973"/>
                  </a:cubicBezTo>
                  <a:cubicBezTo>
                    <a:pt x="117" y="973"/>
                    <a:pt x="119" y="969"/>
                    <a:pt x="116" y="970"/>
                  </a:cubicBezTo>
                  <a:cubicBezTo>
                    <a:pt x="116" y="969"/>
                    <a:pt x="116" y="969"/>
                    <a:pt x="116" y="969"/>
                  </a:cubicBezTo>
                  <a:cubicBezTo>
                    <a:pt x="113" y="980"/>
                    <a:pt x="111" y="991"/>
                    <a:pt x="108" y="1001"/>
                  </a:cubicBezTo>
                  <a:cubicBezTo>
                    <a:pt x="107" y="1006"/>
                    <a:pt x="113" y="1007"/>
                    <a:pt x="114" y="1002"/>
                  </a:cubicBezTo>
                  <a:cubicBezTo>
                    <a:pt x="393" y="1075"/>
                    <a:pt x="392" y="1075"/>
                    <a:pt x="392" y="1074"/>
                  </a:cubicBezTo>
                  <a:cubicBezTo>
                    <a:pt x="392" y="1075"/>
                    <a:pt x="393" y="1076"/>
                    <a:pt x="394" y="1077"/>
                  </a:cubicBezTo>
                  <a:cubicBezTo>
                    <a:pt x="395" y="1077"/>
                    <a:pt x="396" y="1077"/>
                    <a:pt x="397" y="1078"/>
                  </a:cubicBezTo>
                  <a:cubicBezTo>
                    <a:pt x="398" y="1077"/>
                    <a:pt x="399" y="1076"/>
                    <a:pt x="401" y="1076"/>
                  </a:cubicBezTo>
                  <a:cubicBezTo>
                    <a:pt x="398" y="1072"/>
                    <a:pt x="396" y="1069"/>
                    <a:pt x="394" y="1065"/>
                  </a:cubicBezTo>
                  <a:cubicBezTo>
                    <a:pt x="393" y="1065"/>
                    <a:pt x="392" y="1066"/>
                    <a:pt x="391" y="1067"/>
                  </a:cubicBezTo>
                  <a:cubicBezTo>
                    <a:pt x="391" y="1067"/>
                    <a:pt x="391" y="1068"/>
                    <a:pt x="391" y="1069"/>
                  </a:cubicBezTo>
                  <a:cubicBezTo>
                    <a:pt x="392" y="1069"/>
                    <a:pt x="393" y="1069"/>
                    <a:pt x="394" y="1069"/>
                  </a:cubicBezTo>
                  <a:cubicBezTo>
                    <a:pt x="395" y="1071"/>
                    <a:pt x="396" y="1073"/>
                    <a:pt x="394" y="1074"/>
                  </a:cubicBezTo>
                  <a:cubicBezTo>
                    <a:pt x="344" y="828"/>
                    <a:pt x="344" y="827"/>
                    <a:pt x="344" y="826"/>
                  </a:cubicBezTo>
                  <a:cubicBezTo>
                    <a:pt x="341" y="848"/>
                    <a:pt x="340" y="870"/>
                    <a:pt x="341" y="892"/>
                  </a:cubicBezTo>
                  <a:cubicBezTo>
                    <a:pt x="341" y="892"/>
                    <a:pt x="341" y="891"/>
                    <a:pt x="342" y="890"/>
                  </a:cubicBezTo>
                  <a:cubicBezTo>
                    <a:pt x="345" y="891"/>
                    <a:pt x="347" y="893"/>
                    <a:pt x="348" y="895"/>
                  </a:cubicBezTo>
                  <a:cubicBezTo>
                    <a:pt x="348" y="894"/>
                    <a:pt x="348" y="893"/>
                    <a:pt x="348" y="892"/>
                  </a:cubicBezTo>
                  <a:cubicBezTo>
                    <a:pt x="347" y="892"/>
                    <a:pt x="347" y="892"/>
                    <a:pt x="347" y="892"/>
                  </a:cubicBezTo>
                  <a:cubicBezTo>
                    <a:pt x="347" y="892"/>
                    <a:pt x="347" y="892"/>
                    <a:pt x="348" y="892"/>
                  </a:cubicBezTo>
                  <a:cubicBezTo>
                    <a:pt x="347" y="890"/>
                    <a:pt x="347" y="888"/>
                    <a:pt x="347" y="887"/>
                  </a:cubicBezTo>
                  <a:cubicBezTo>
                    <a:pt x="347" y="885"/>
                    <a:pt x="346" y="884"/>
                    <a:pt x="347" y="882"/>
                  </a:cubicBezTo>
                  <a:cubicBezTo>
                    <a:pt x="347" y="882"/>
                    <a:pt x="347" y="882"/>
                    <a:pt x="347" y="882"/>
                  </a:cubicBezTo>
                  <a:cubicBezTo>
                    <a:pt x="347" y="865"/>
                    <a:pt x="348" y="847"/>
                    <a:pt x="350" y="829"/>
                  </a:cubicBezTo>
                  <a:cubicBezTo>
                    <a:pt x="347" y="830"/>
                    <a:pt x="347" y="829"/>
                    <a:pt x="343" y="829"/>
                  </a:cubicBezTo>
                  <a:cubicBezTo>
                    <a:pt x="336" y="758"/>
                    <a:pt x="336" y="758"/>
                    <a:pt x="336" y="758"/>
                  </a:cubicBezTo>
                  <a:cubicBezTo>
                    <a:pt x="334" y="764"/>
                    <a:pt x="333" y="770"/>
                    <a:pt x="331" y="776"/>
                  </a:cubicBezTo>
                  <a:cubicBezTo>
                    <a:pt x="338" y="776"/>
                    <a:pt x="338" y="776"/>
                    <a:pt x="338" y="776"/>
                  </a:cubicBezTo>
                  <a:cubicBezTo>
                    <a:pt x="340" y="769"/>
                    <a:pt x="341" y="763"/>
                    <a:pt x="343" y="757"/>
                  </a:cubicBezTo>
                  <a:cubicBezTo>
                    <a:pt x="343" y="757"/>
                    <a:pt x="343" y="757"/>
                    <a:pt x="342" y="757"/>
                  </a:cubicBezTo>
                  <a:cubicBezTo>
                    <a:pt x="342" y="755"/>
                    <a:pt x="343" y="755"/>
                    <a:pt x="344" y="754"/>
                  </a:cubicBezTo>
                  <a:cubicBezTo>
                    <a:pt x="345" y="750"/>
                    <a:pt x="347" y="746"/>
                    <a:pt x="348" y="742"/>
                  </a:cubicBezTo>
                  <a:cubicBezTo>
                    <a:pt x="347" y="743"/>
                    <a:pt x="346" y="743"/>
                    <a:pt x="344" y="742"/>
                  </a:cubicBezTo>
                  <a:cubicBezTo>
                    <a:pt x="344" y="742"/>
                    <a:pt x="344" y="741"/>
                    <a:pt x="344" y="740"/>
                  </a:cubicBezTo>
                  <a:cubicBezTo>
                    <a:pt x="349" y="740"/>
                    <a:pt x="349" y="740"/>
                    <a:pt x="349" y="740"/>
                  </a:cubicBezTo>
                  <a:cubicBezTo>
                    <a:pt x="349" y="740"/>
                    <a:pt x="349" y="740"/>
                    <a:pt x="349" y="741"/>
                  </a:cubicBezTo>
                  <a:cubicBezTo>
                    <a:pt x="351" y="732"/>
                    <a:pt x="355" y="724"/>
                    <a:pt x="358" y="717"/>
                  </a:cubicBezTo>
                  <a:cubicBezTo>
                    <a:pt x="357" y="715"/>
                    <a:pt x="356" y="712"/>
                    <a:pt x="357" y="709"/>
                  </a:cubicBezTo>
                  <a:cubicBezTo>
                    <a:pt x="358" y="709"/>
                    <a:pt x="360" y="709"/>
                    <a:pt x="361" y="710"/>
                  </a:cubicBezTo>
                  <a:cubicBezTo>
                    <a:pt x="362" y="708"/>
                    <a:pt x="362" y="707"/>
                    <a:pt x="363" y="705"/>
                  </a:cubicBezTo>
                  <a:cubicBezTo>
                    <a:pt x="363" y="705"/>
                    <a:pt x="362" y="704"/>
                    <a:pt x="362" y="704"/>
                  </a:cubicBezTo>
                  <a:cubicBezTo>
                    <a:pt x="364" y="704"/>
                    <a:pt x="364" y="704"/>
                    <a:pt x="364" y="704"/>
                  </a:cubicBezTo>
                  <a:cubicBezTo>
                    <a:pt x="367" y="698"/>
                    <a:pt x="370" y="692"/>
                    <a:pt x="373" y="686"/>
                  </a:cubicBezTo>
                  <a:cubicBezTo>
                    <a:pt x="372" y="686"/>
                    <a:pt x="372" y="685"/>
                    <a:pt x="372" y="684"/>
                  </a:cubicBezTo>
                  <a:cubicBezTo>
                    <a:pt x="370" y="684"/>
                    <a:pt x="368" y="684"/>
                    <a:pt x="367" y="684"/>
                  </a:cubicBezTo>
                  <a:cubicBezTo>
                    <a:pt x="361" y="694"/>
                    <a:pt x="356" y="705"/>
                    <a:pt x="351" y="716"/>
                  </a:cubicBezTo>
                  <a:cubicBezTo>
                    <a:pt x="352" y="716"/>
                    <a:pt x="352" y="716"/>
                    <a:pt x="352" y="716"/>
                  </a:cubicBezTo>
                  <a:cubicBezTo>
                    <a:pt x="352" y="717"/>
                    <a:pt x="351" y="717"/>
                    <a:pt x="351" y="717"/>
                  </a:cubicBezTo>
                  <a:cubicBezTo>
                    <a:pt x="349" y="721"/>
                    <a:pt x="348" y="725"/>
                    <a:pt x="346" y="728"/>
                  </a:cubicBezTo>
                  <a:cubicBezTo>
                    <a:pt x="343" y="737"/>
                    <a:pt x="340" y="746"/>
                    <a:pt x="337" y="755"/>
                  </a:cubicBezTo>
                  <a:cubicBezTo>
                    <a:pt x="338" y="756"/>
                    <a:pt x="338" y="757"/>
                    <a:pt x="338" y="758"/>
                  </a:cubicBezTo>
                  <a:cubicBezTo>
                    <a:pt x="495" y="1105"/>
                    <a:pt x="495" y="1102"/>
                    <a:pt x="498" y="1100"/>
                  </a:cubicBezTo>
                  <a:cubicBezTo>
                    <a:pt x="497" y="1100"/>
                    <a:pt x="496" y="1099"/>
                    <a:pt x="495" y="1099"/>
                  </a:cubicBezTo>
                  <a:cubicBezTo>
                    <a:pt x="494" y="1100"/>
                    <a:pt x="492" y="1101"/>
                    <a:pt x="489" y="1102"/>
                  </a:cubicBezTo>
                  <a:cubicBezTo>
                    <a:pt x="489" y="1099"/>
                    <a:pt x="489" y="1097"/>
                    <a:pt x="488" y="1095"/>
                  </a:cubicBezTo>
                  <a:cubicBezTo>
                    <a:pt x="491" y="1095"/>
                    <a:pt x="491" y="1095"/>
                    <a:pt x="491" y="1095"/>
                  </a:cubicBezTo>
                  <a:cubicBezTo>
                    <a:pt x="483" y="1089"/>
                    <a:pt x="475" y="1082"/>
                    <a:pt x="468" y="1075"/>
                  </a:cubicBezTo>
                  <a:cubicBezTo>
                    <a:pt x="468" y="1076"/>
                    <a:pt x="468" y="1077"/>
                    <a:pt x="468" y="1078"/>
                  </a:cubicBezTo>
                  <a:cubicBezTo>
                    <a:pt x="460" y="1078"/>
                    <a:pt x="460" y="1078"/>
                    <a:pt x="460" y="1078"/>
                  </a:cubicBezTo>
                  <a:cubicBezTo>
                    <a:pt x="471" y="1089"/>
                    <a:pt x="484" y="1099"/>
                    <a:pt x="496" y="1109"/>
                  </a:cubicBezTo>
                  <a:cubicBezTo>
                    <a:pt x="496" y="1108"/>
                    <a:pt x="496" y="1107"/>
                    <a:pt x="496" y="1107"/>
                  </a:cubicBezTo>
                  <a:cubicBezTo>
                    <a:pt x="444" y="1134"/>
                    <a:pt x="445" y="1135"/>
                    <a:pt x="446" y="1137"/>
                  </a:cubicBezTo>
                  <a:cubicBezTo>
                    <a:pt x="448" y="1134"/>
                    <a:pt x="444" y="1135"/>
                    <a:pt x="446" y="1132"/>
                  </a:cubicBezTo>
                  <a:cubicBezTo>
                    <a:pt x="446" y="1132"/>
                    <a:pt x="446" y="1132"/>
                    <a:pt x="447" y="1131"/>
                  </a:cubicBezTo>
                  <a:cubicBezTo>
                    <a:pt x="450" y="1131"/>
                    <a:pt x="450" y="1131"/>
                    <a:pt x="450" y="1131"/>
                  </a:cubicBezTo>
                  <a:cubicBezTo>
                    <a:pt x="444" y="1125"/>
                    <a:pt x="437" y="1118"/>
                    <a:pt x="430" y="1111"/>
                  </a:cubicBezTo>
                  <a:cubicBezTo>
                    <a:pt x="430" y="1112"/>
                    <a:pt x="429" y="1113"/>
                    <a:pt x="428" y="1114"/>
                  </a:cubicBezTo>
                  <a:cubicBezTo>
                    <a:pt x="424" y="1114"/>
                    <a:pt x="424" y="1114"/>
                    <a:pt x="424" y="1114"/>
                  </a:cubicBezTo>
                  <a:cubicBezTo>
                    <a:pt x="427" y="1117"/>
                    <a:pt x="430" y="1121"/>
                    <a:pt x="433" y="1124"/>
                  </a:cubicBezTo>
                  <a:cubicBezTo>
                    <a:pt x="436" y="1126"/>
                    <a:pt x="438" y="1129"/>
                    <a:pt x="441" y="1131"/>
                  </a:cubicBezTo>
                  <a:cubicBezTo>
                    <a:pt x="443" y="1131"/>
                    <a:pt x="443" y="1131"/>
                    <a:pt x="443" y="1131"/>
                  </a:cubicBezTo>
                  <a:cubicBezTo>
                    <a:pt x="443" y="1132"/>
                    <a:pt x="443" y="1132"/>
                    <a:pt x="442" y="1133"/>
                  </a:cubicBezTo>
                  <a:cubicBezTo>
                    <a:pt x="355" y="680"/>
                    <a:pt x="355" y="680"/>
                    <a:pt x="355" y="680"/>
                  </a:cubicBezTo>
                  <a:cubicBezTo>
                    <a:pt x="355" y="680"/>
                    <a:pt x="355" y="680"/>
                    <a:pt x="355" y="681"/>
                  </a:cubicBezTo>
                  <a:cubicBezTo>
                    <a:pt x="355" y="681"/>
                    <a:pt x="355" y="680"/>
                    <a:pt x="355" y="680"/>
                  </a:cubicBezTo>
                  <a:cubicBezTo>
                    <a:pt x="452" y="1139"/>
                    <a:pt x="451" y="1138"/>
                    <a:pt x="447" y="1137"/>
                  </a:cubicBezTo>
                  <a:cubicBezTo>
                    <a:pt x="448" y="1138"/>
                    <a:pt x="450" y="1140"/>
                    <a:pt x="451" y="1141"/>
                  </a:cubicBezTo>
                  <a:cubicBezTo>
                    <a:pt x="452" y="1140"/>
                    <a:pt x="454" y="1139"/>
                    <a:pt x="456" y="1138"/>
                  </a:cubicBezTo>
                  <a:cubicBezTo>
                    <a:pt x="227" y="813"/>
                    <a:pt x="227" y="813"/>
                    <a:pt x="226" y="813"/>
                  </a:cubicBezTo>
                  <a:cubicBezTo>
                    <a:pt x="226" y="813"/>
                    <a:pt x="226" y="812"/>
                    <a:pt x="226" y="812"/>
                  </a:cubicBezTo>
                  <a:cubicBezTo>
                    <a:pt x="233" y="812"/>
                    <a:pt x="233" y="812"/>
                    <a:pt x="233" y="812"/>
                  </a:cubicBezTo>
                  <a:cubicBezTo>
                    <a:pt x="239" y="792"/>
                    <a:pt x="245" y="771"/>
                    <a:pt x="252" y="751"/>
                  </a:cubicBezTo>
                  <a:cubicBezTo>
                    <a:pt x="252" y="749"/>
                    <a:pt x="252" y="748"/>
                    <a:pt x="253" y="746"/>
                  </a:cubicBezTo>
                  <a:cubicBezTo>
                    <a:pt x="254" y="746"/>
                    <a:pt x="254" y="746"/>
                    <a:pt x="255" y="746"/>
                  </a:cubicBezTo>
                  <a:cubicBezTo>
                    <a:pt x="255" y="745"/>
                    <a:pt x="255" y="745"/>
                    <a:pt x="255" y="745"/>
                  </a:cubicBezTo>
                  <a:cubicBezTo>
                    <a:pt x="254" y="744"/>
                    <a:pt x="253" y="743"/>
                    <a:pt x="254" y="741"/>
                  </a:cubicBezTo>
                  <a:cubicBezTo>
                    <a:pt x="254" y="741"/>
                    <a:pt x="254" y="741"/>
                    <a:pt x="254" y="741"/>
                  </a:cubicBezTo>
                  <a:cubicBezTo>
                    <a:pt x="254" y="741"/>
                    <a:pt x="253" y="741"/>
                    <a:pt x="253" y="741"/>
                  </a:cubicBezTo>
                  <a:cubicBezTo>
                    <a:pt x="256" y="741"/>
                    <a:pt x="256" y="741"/>
                    <a:pt x="256" y="741"/>
                  </a:cubicBezTo>
                  <a:cubicBezTo>
                    <a:pt x="259" y="733"/>
                    <a:pt x="263" y="725"/>
                    <a:pt x="266" y="718"/>
                  </a:cubicBezTo>
                  <a:cubicBezTo>
                    <a:pt x="266" y="718"/>
                    <a:pt x="265" y="718"/>
                    <a:pt x="264" y="718"/>
                  </a:cubicBezTo>
                  <a:cubicBezTo>
                    <a:pt x="264" y="716"/>
                    <a:pt x="261" y="715"/>
                    <a:pt x="260" y="713"/>
                  </a:cubicBezTo>
                  <a:cubicBezTo>
                    <a:pt x="256" y="723"/>
                    <a:pt x="252" y="733"/>
                    <a:pt x="248" y="743"/>
                  </a:cubicBezTo>
                  <a:cubicBezTo>
                    <a:pt x="249" y="744"/>
                    <a:pt x="249" y="745"/>
                    <a:pt x="249" y="747"/>
                  </a:cubicBezTo>
                  <a:cubicBezTo>
                    <a:pt x="248" y="748"/>
                    <a:pt x="247" y="748"/>
                    <a:pt x="246" y="748"/>
                  </a:cubicBezTo>
                  <a:cubicBezTo>
                    <a:pt x="245" y="751"/>
                    <a:pt x="244" y="755"/>
                    <a:pt x="243" y="758"/>
                  </a:cubicBezTo>
                  <a:cubicBezTo>
                    <a:pt x="243" y="758"/>
                    <a:pt x="244" y="758"/>
                    <a:pt x="244" y="758"/>
                  </a:cubicBezTo>
                  <a:cubicBezTo>
                    <a:pt x="245" y="758"/>
                    <a:pt x="245" y="759"/>
                    <a:pt x="245" y="759"/>
                  </a:cubicBezTo>
                  <a:cubicBezTo>
                    <a:pt x="242" y="759"/>
                    <a:pt x="242" y="759"/>
                    <a:pt x="242" y="759"/>
                  </a:cubicBezTo>
                  <a:cubicBezTo>
                    <a:pt x="236" y="777"/>
                    <a:pt x="230" y="796"/>
                    <a:pt x="225" y="814"/>
                  </a:cubicBezTo>
                  <a:cubicBezTo>
                    <a:pt x="226" y="814"/>
                    <a:pt x="227" y="814"/>
                    <a:pt x="227" y="813"/>
                  </a:cubicBezTo>
                  <a:cubicBezTo>
                    <a:pt x="240" y="778"/>
                    <a:pt x="241" y="778"/>
                    <a:pt x="243" y="779"/>
                  </a:cubicBezTo>
                  <a:cubicBezTo>
                    <a:pt x="242" y="781"/>
                    <a:pt x="241" y="784"/>
                    <a:pt x="238" y="784"/>
                  </a:cubicBezTo>
                  <a:cubicBezTo>
                    <a:pt x="237" y="782"/>
                    <a:pt x="236" y="780"/>
                    <a:pt x="237" y="778"/>
                  </a:cubicBezTo>
                  <a:cubicBezTo>
                    <a:pt x="237" y="787"/>
                    <a:pt x="239" y="788"/>
                    <a:pt x="239" y="791"/>
                  </a:cubicBezTo>
                  <a:cubicBezTo>
                    <a:pt x="238" y="791"/>
                    <a:pt x="236" y="792"/>
                    <a:pt x="234" y="791"/>
                  </a:cubicBezTo>
                  <a:cubicBezTo>
                    <a:pt x="233" y="789"/>
                    <a:pt x="234" y="788"/>
                    <a:pt x="235" y="787"/>
                  </a:cubicBezTo>
                  <a:cubicBezTo>
                    <a:pt x="219" y="854"/>
                    <a:pt x="221" y="855"/>
                    <a:pt x="222" y="857"/>
                  </a:cubicBezTo>
                  <a:cubicBezTo>
                    <a:pt x="222" y="856"/>
                    <a:pt x="223" y="855"/>
                    <a:pt x="223" y="854"/>
                  </a:cubicBezTo>
                  <a:cubicBezTo>
                    <a:pt x="220" y="853"/>
                    <a:pt x="219" y="850"/>
                    <a:pt x="218" y="848"/>
                  </a:cubicBezTo>
                  <a:cubicBezTo>
                    <a:pt x="224" y="848"/>
                    <a:pt x="224" y="848"/>
                    <a:pt x="224" y="848"/>
                  </a:cubicBezTo>
                  <a:cubicBezTo>
                    <a:pt x="226" y="837"/>
                    <a:pt x="229" y="827"/>
                    <a:pt x="232" y="817"/>
                  </a:cubicBezTo>
                  <a:cubicBezTo>
                    <a:pt x="231" y="819"/>
                    <a:pt x="227" y="820"/>
                    <a:pt x="224" y="819"/>
                  </a:cubicBezTo>
                  <a:cubicBezTo>
                    <a:pt x="221" y="831"/>
                    <a:pt x="218" y="842"/>
                    <a:pt x="216" y="854"/>
                  </a:cubicBezTo>
                  <a:cubicBezTo>
                    <a:pt x="197" y="827"/>
                    <a:pt x="196" y="823"/>
                    <a:pt x="199" y="821"/>
                  </a:cubicBezTo>
                  <a:cubicBezTo>
                    <a:pt x="200" y="821"/>
                    <a:pt x="200" y="822"/>
                    <a:pt x="200" y="822"/>
                  </a:cubicBezTo>
                  <a:cubicBezTo>
                    <a:pt x="202" y="813"/>
                    <a:pt x="204" y="804"/>
                    <a:pt x="205" y="795"/>
                  </a:cubicBezTo>
                  <a:cubicBezTo>
                    <a:pt x="205" y="795"/>
                    <a:pt x="205" y="795"/>
                    <a:pt x="205" y="795"/>
                  </a:cubicBezTo>
                  <a:cubicBezTo>
                    <a:pt x="205" y="793"/>
                    <a:pt x="206" y="792"/>
                    <a:pt x="206" y="790"/>
                  </a:cubicBezTo>
                  <a:cubicBezTo>
                    <a:pt x="210" y="776"/>
                    <a:pt x="214" y="762"/>
                    <a:pt x="218" y="748"/>
                  </a:cubicBezTo>
                  <a:cubicBezTo>
                    <a:pt x="217" y="748"/>
                    <a:pt x="217" y="749"/>
                    <a:pt x="216" y="749"/>
                  </a:cubicBezTo>
                  <a:cubicBezTo>
                    <a:pt x="217" y="752"/>
                    <a:pt x="216" y="756"/>
                    <a:pt x="214" y="759"/>
                  </a:cubicBezTo>
                  <a:cubicBezTo>
                    <a:pt x="212" y="759"/>
                    <a:pt x="212" y="759"/>
                    <a:pt x="212" y="759"/>
                  </a:cubicBezTo>
                  <a:cubicBezTo>
                    <a:pt x="210" y="759"/>
                    <a:pt x="209" y="758"/>
                    <a:pt x="208" y="757"/>
                  </a:cubicBezTo>
                  <a:cubicBezTo>
                    <a:pt x="205" y="766"/>
                    <a:pt x="203" y="774"/>
                    <a:pt x="201" y="783"/>
                  </a:cubicBezTo>
                  <a:cubicBezTo>
                    <a:pt x="201" y="784"/>
                    <a:pt x="201" y="785"/>
                    <a:pt x="202" y="785"/>
                  </a:cubicBezTo>
                  <a:cubicBezTo>
                    <a:pt x="202" y="782"/>
                    <a:pt x="204" y="782"/>
                    <a:pt x="205" y="783"/>
                  </a:cubicBezTo>
                  <a:cubicBezTo>
                    <a:pt x="205" y="786"/>
                    <a:pt x="203" y="787"/>
                    <a:pt x="200" y="786"/>
                  </a:cubicBezTo>
                  <a:cubicBezTo>
                    <a:pt x="199" y="790"/>
                    <a:pt x="198" y="794"/>
                    <a:pt x="197" y="799"/>
                  </a:cubicBezTo>
                  <a:cubicBezTo>
                    <a:pt x="196" y="804"/>
                    <a:pt x="195" y="810"/>
                    <a:pt x="194" y="815"/>
                  </a:cubicBezTo>
                  <a:cubicBezTo>
                    <a:pt x="194" y="815"/>
                    <a:pt x="194" y="815"/>
                    <a:pt x="194" y="815"/>
                  </a:cubicBezTo>
                  <a:cubicBezTo>
                    <a:pt x="195" y="817"/>
                    <a:pt x="199" y="816"/>
                    <a:pt x="200" y="817"/>
                  </a:cubicBezTo>
                  <a:cubicBezTo>
                    <a:pt x="200" y="819"/>
                    <a:pt x="199" y="820"/>
                    <a:pt x="198" y="821"/>
                  </a:cubicBezTo>
                  <a:cubicBezTo>
                    <a:pt x="195" y="822"/>
                    <a:pt x="194" y="820"/>
                    <a:pt x="194" y="818"/>
                  </a:cubicBezTo>
                  <a:cubicBezTo>
                    <a:pt x="193" y="821"/>
                    <a:pt x="193" y="824"/>
                    <a:pt x="192" y="828"/>
                  </a:cubicBezTo>
                  <a:cubicBezTo>
                    <a:pt x="103" y="386"/>
                    <a:pt x="103" y="388"/>
                    <a:pt x="105" y="389"/>
                  </a:cubicBezTo>
                  <a:cubicBezTo>
                    <a:pt x="107" y="388"/>
                    <a:pt x="105" y="387"/>
                    <a:pt x="104" y="385"/>
                  </a:cubicBezTo>
                  <a:cubicBezTo>
                    <a:pt x="112" y="385"/>
                    <a:pt x="112" y="385"/>
                    <a:pt x="112" y="385"/>
                  </a:cubicBezTo>
                  <a:cubicBezTo>
                    <a:pt x="119" y="379"/>
                    <a:pt x="126" y="373"/>
                    <a:pt x="133" y="368"/>
                  </a:cubicBezTo>
                  <a:cubicBezTo>
                    <a:pt x="121" y="368"/>
                    <a:pt x="121" y="368"/>
                    <a:pt x="121" y="368"/>
                  </a:cubicBezTo>
                  <a:cubicBezTo>
                    <a:pt x="114" y="374"/>
                    <a:pt x="107" y="379"/>
                    <a:pt x="101" y="385"/>
                  </a:cubicBezTo>
                  <a:cubicBezTo>
                    <a:pt x="296" y="652"/>
                    <a:pt x="296" y="652"/>
                    <a:pt x="296" y="652"/>
                  </a:cubicBezTo>
                  <a:cubicBezTo>
                    <a:pt x="295" y="651"/>
                    <a:pt x="295" y="650"/>
                    <a:pt x="294" y="649"/>
                  </a:cubicBezTo>
                  <a:cubicBezTo>
                    <a:pt x="290" y="655"/>
                    <a:pt x="286" y="662"/>
                    <a:pt x="282" y="669"/>
                  </a:cubicBezTo>
                  <a:cubicBezTo>
                    <a:pt x="290" y="669"/>
                    <a:pt x="290" y="669"/>
                    <a:pt x="290" y="669"/>
                  </a:cubicBezTo>
                  <a:cubicBezTo>
                    <a:pt x="294" y="663"/>
                    <a:pt x="297" y="657"/>
                    <a:pt x="301" y="652"/>
                  </a:cubicBezTo>
                  <a:cubicBezTo>
                    <a:pt x="317" y="616"/>
                    <a:pt x="317" y="616"/>
                    <a:pt x="317" y="616"/>
                  </a:cubicBezTo>
                  <a:cubicBezTo>
                    <a:pt x="313" y="621"/>
                    <a:pt x="308" y="627"/>
                    <a:pt x="304" y="633"/>
                  </a:cubicBezTo>
                  <a:cubicBezTo>
                    <a:pt x="313" y="633"/>
                    <a:pt x="313" y="633"/>
                    <a:pt x="313" y="633"/>
                  </a:cubicBezTo>
                  <a:cubicBezTo>
                    <a:pt x="317" y="627"/>
                    <a:pt x="321" y="621"/>
                    <a:pt x="326" y="616"/>
                  </a:cubicBezTo>
                  <a:cubicBezTo>
                    <a:pt x="356" y="638"/>
                    <a:pt x="358" y="636"/>
                    <a:pt x="360" y="634"/>
                  </a:cubicBezTo>
                  <a:cubicBezTo>
                    <a:pt x="359" y="634"/>
                    <a:pt x="359" y="633"/>
                    <a:pt x="358" y="633"/>
                  </a:cubicBezTo>
                  <a:cubicBezTo>
                    <a:pt x="361" y="633"/>
                    <a:pt x="361" y="633"/>
                    <a:pt x="361" y="633"/>
                  </a:cubicBezTo>
                  <a:cubicBezTo>
                    <a:pt x="367" y="625"/>
                    <a:pt x="374" y="617"/>
                    <a:pt x="381" y="610"/>
                  </a:cubicBezTo>
                  <a:cubicBezTo>
                    <a:pt x="380" y="609"/>
                    <a:pt x="378" y="610"/>
                    <a:pt x="377" y="608"/>
                  </a:cubicBezTo>
                  <a:cubicBezTo>
                    <a:pt x="378" y="607"/>
                    <a:pt x="378" y="606"/>
                    <a:pt x="377" y="605"/>
                  </a:cubicBezTo>
                  <a:cubicBezTo>
                    <a:pt x="376" y="607"/>
                    <a:pt x="374" y="609"/>
                    <a:pt x="372" y="610"/>
                  </a:cubicBezTo>
                  <a:cubicBezTo>
                    <a:pt x="365" y="618"/>
                    <a:pt x="358" y="625"/>
                    <a:pt x="352" y="634"/>
                  </a:cubicBezTo>
                  <a:cubicBezTo>
                    <a:pt x="352" y="634"/>
                    <a:pt x="352" y="634"/>
                    <a:pt x="352" y="634"/>
                  </a:cubicBezTo>
                  <a:cubicBezTo>
                    <a:pt x="352" y="637"/>
                    <a:pt x="353" y="639"/>
                    <a:pt x="355" y="640"/>
                  </a:cubicBezTo>
                  <a:cubicBezTo>
                    <a:pt x="158" y="921"/>
                    <a:pt x="158" y="920"/>
                    <a:pt x="159" y="920"/>
                  </a:cubicBezTo>
                  <a:cubicBezTo>
                    <a:pt x="159" y="920"/>
                    <a:pt x="159" y="920"/>
                    <a:pt x="159" y="920"/>
                  </a:cubicBezTo>
                  <a:cubicBezTo>
                    <a:pt x="161" y="910"/>
                    <a:pt x="163" y="901"/>
                    <a:pt x="164" y="892"/>
                  </a:cubicBezTo>
                  <a:cubicBezTo>
                    <a:pt x="160" y="891"/>
                    <a:pt x="159" y="887"/>
                    <a:pt x="161" y="884"/>
                  </a:cubicBezTo>
                  <a:cubicBezTo>
                    <a:pt x="165" y="884"/>
                    <a:pt x="165" y="884"/>
                    <a:pt x="165" y="884"/>
                  </a:cubicBezTo>
                  <a:cubicBezTo>
                    <a:pt x="169" y="865"/>
                    <a:pt x="172" y="845"/>
                    <a:pt x="176" y="826"/>
                  </a:cubicBezTo>
                  <a:cubicBezTo>
                    <a:pt x="175" y="825"/>
                    <a:pt x="175" y="823"/>
                    <a:pt x="174" y="822"/>
                  </a:cubicBezTo>
                  <a:cubicBezTo>
                    <a:pt x="175" y="821"/>
                    <a:pt x="176" y="821"/>
                    <a:pt x="177" y="822"/>
                  </a:cubicBezTo>
                  <a:cubicBezTo>
                    <a:pt x="178" y="819"/>
                    <a:pt x="178" y="816"/>
                    <a:pt x="179" y="813"/>
                  </a:cubicBezTo>
                  <a:cubicBezTo>
                    <a:pt x="179" y="813"/>
                    <a:pt x="179" y="813"/>
                    <a:pt x="179" y="813"/>
                  </a:cubicBezTo>
                  <a:cubicBezTo>
                    <a:pt x="179" y="813"/>
                    <a:pt x="179" y="813"/>
                    <a:pt x="179" y="813"/>
                  </a:cubicBezTo>
                  <a:cubicBezTo>
                    <a:pt x="181" y="802"/>
                    <a:pt x="184" y="792"/>
                    <a:pt x="186" y="782"/>
                  </a:cubicBezTo>
                  <a:cubicBezTo>
                    <a:pt x="185" y="782"/>
                    <a:pt x="183" y="782"/>
                    <a:pt x="182" y="782"/>
                  </a:cubicBezTo>
                  <a:cubicBezTo>
                    <a:pt x="182" y="781"/>
                    <a:pt x="181" y="780"/>
                    <a:pt x="181" y="780"/>
                  </a:cubicBezTo>
                  <a:cubicBezTo>
                    <a:pt x="183" y="778"/>
                    <a:pt x="184" y="779"/>
                    <a:pt x="187" y="780"/>
                  </a:cubicBezTo>
                  <a:cubicBezTo>
                    <a:pt x="188" y="774"/>
                    <a:pt x="189" y="769"/>
                    <a:pt x="191" y="764"/>
                  </a:cubicBezTo>
                  <a:cubicBezTo>
                    <a:pt x="191" y="762"/>
                    <a:pt x="191" y="761"/>
                    <a:pt x="192" y="759"/>
                  </a:cubicBezTo>
                  <a:cubicBezTo>
                    <a:pt x="185" y="760"/>
                    <a:pt x="185" y="760"/>
                    <a:pt x="185" y="760"/>
                  </a:cubicBezTo>
                  <a:cubicBezTo>
                    <a:pt x="185" y="759"/>
                    <a:pt x="185" y="759"/>
                    <a:pt x="185" y="759"/>
                  </a:cubicBezTo>
                  <a:cubicBezTo>
                    <a:pt x="182" y="769"/>
                    <a:pt x="180" y="779"/>
                    <a:pt x="177" y="789"/>
                  </a:cubicBezTo>
                  <a:cubicBezTo>
                    <a:pt x="178" y="789"/>
                    <a:pt x="179" y="789"/>
                    <a:pt x="179" y="789"/>
                  </a:cubicBezTo>
                  <a:cubicBezTo>
                    <a:pt x="180" y="792"/>
                    <a:pt x="178" y="792"/>
                    <a:pt x="177" y="792"/>
                  </a:cubicBezTo>
                  <a:cubicBezTo>
                    <a:pt x="174" y="803"/>
                    <a:pt x="172" y="814"/>
                    <a:pt x="170" y="825"/>
                  </a:cubicBezTo>
                  <a:cubicBezTo>
                    <a:pt x="170" y="826"/>
                    <a:pt x="169" y="827"/>
                    <a:pt x="169" y="827"/>
                  </a:cubicBezTo>
                  <a:cubicBezTo>
                    <a:pt x="169" y="827"/>
                    <a:pt x="169" y="827"/>
                    <a:pt x="169" y="827"/>
                  </a:cubicBezTo>
                  <a:cubicBezTo>
                    <a:pt x="168" y="834"/>
                    <a:pt x="166" y="841"/>
                    <a:pt x="165" y="848"/>
                  </a:cubicBezTo>
                  <a:cubicBezTo>
                    <a:pt x="169" y="848"/>
                    <a:pt x="169" y="848"/>
                    <a:pt x="169" y="848"/>
                  </a:cubicBezTo>
                  <a:cubicBezTo>
                    <a:pt x="168" y="850"/>
                    <a:pt x="168" y="852"/>
                    <a:pt x="168" y="854"/>
                  </a:cubicBezTo>
                  <a:cubicBezTo>
                    <a:pt x="166" y="855"/>
                    <a:pt x="165" y="855"/>
                    <a:pt x="164" y="854"/>
                  </a:cubicBezTo>
                  <a:cubicBezTo>
                    <a:pt x="164" y="856"/>
                    <a:pt x="163" y="857"/>
                    <a:pt x="163" y="859"/>
                  </a:cubicBezTo>
                  <a:cubicBezTo>
                    <a:pt x="164" y="858"/>
                    <a:pt x="165" y="858"/>
                    <a:pt x="167" y="858"/>
                  </a:cubicBezTo>
                  <a:cubicBezTo>
                    <a:pt x="168" y="860"/>
                    <a:pt x="166" y="864"/>
                    <a:pt x="162" y="863"/>
                  </a:cubicBezTo>
                  <a:cubicBezTo>
                    <a:pt x="161" y="872"/>
                    <a:pt x="159" y="882"/>
                    <a:pt x="158" y="891"/>
                  </a:cubicBezTo>
                  <a:cubicBezTo>
                    <a:pt x="158" y="892"/>
                    <a:pt x="159" y="892"/>
                    <a:pt x="158" y="894"/>
                  </a:cubicBezTo>
                  <a:cubicBezTo>
                    <a:pt x="158" y="894"/>
                    <a:pt x="157" y="894"/>
                    <a:pt x="157" y="894"/>
                  </a:cubicBezTo>
                  <a:cubicBezTo>
                    <a:pt x="156" y="903"/>
                    <a:pt x="154" y="911"/>
                    <a:pt x="153" y="920"/>
                  </a:cubicBezTo>
                  <a:cubicBezTo>
                    <a:pt x="156" y="920"/>
                    <a:pt x="156" y="920"/>
                    <a:pt x="156" y="920"/>
                  </a:cubicBezTo>
                  <a:cubicBezTo>
                    <a:pt x="155" y="920"/>
                    <a:pt x="155" y="921"/>
                    <a:pt x="156" y="921"/>
                  </a:cubicBezTo>
                  <a:cubicBezTo>
                    <a:pt x="345" y="334"/>
                    <a:pt x="313" y="346"/>
                    <a:pt x="282" y="361"/>
                  </a:cubicBezTo>
                  <a:cubicBezTo>
                    <a:pt x="284" y="362"/>
                    <a:pt x="285" y="364"/>
                    <a:pt x="285" y="366"/>
                  </a:cubicBezTo>
                  <a:cubicBezTo>
                    <a:pt x="287" y="366"/>
                    <a:pt x="289" y="365"/>
                    <a:pt x="291" y="364"/>
                  </a:cubicBezTo>
                  <a:cubicBezTo>
                    <a:pt x="290" y="364"/>
                    <a:pt x="290" y="364"/>
                    <a:pt x="290" y="364"/>
                  </a:cubicBezTo>
                  <a:cubicBezTo>
                    <a:pt x="286" y="358"/>
                    <a:pt x="296" y="358"/>
                    <a:pt x="295" y="362"/>
                  </a:cubicBezTo>
                  <a:cubicBezTo>
                    <a:pt x="330" y="346"/>
                    <a:pt x="367" y="335"/>
                    <a:pt x="405" y="328"/>
                  </a:cubicBezTo>
                  <a:cubicBezTo>
                    <a:pt x="407" y="325"/>
                    <a:pt x="411" y="323"/>
                    <a:pt x="415" y="325"/>
                  </a:cubicBezTo>
                  <a:cubicBezTo>
                    <a:pt x="415" y="325"/>
                    <a:pt x="415" y="326"/>
                    <a:pt x="415" y="326"/>
                  </a:cubicBezTo>
                  <a:cubicBezTo>
                    <a:pt x="419" y="326"/>
                    <a:pt x="423" y="325"/>
                    <a:pt x="426" y="324"/>
                  </a:cubicBezTo>
                  <a:cubicBezTo>
                    <a:pt x="425" y="323"/>
                    <a:pt x="424" y="322"/>
                    <a:pt x="424" y="319"/>
                  </a:cubicBezTo>
                  <a:cubicBezTo>
                    <a:pt x="424" y="318"/>
                    <a:pt x="425" y="317"/>
                    <a:pt x="426" y="317"/>
                  </a:cubicBezTo>
                  <a:cubicBezTo>
                    <a:pt x="424" y="317"/>
                    <a:pt x="423" y="317"/>
                    <a:pt x="422" y="317"/>
                  </a:cubicBezTo>
                  <a:cubicBezTo>
                    <a:pt x="422" y="318"/>
                    <a:pt x="422" y="319"/>
                    <a:pt x="422" y="320"/>
                  </a:cubicBezTo>
                  <a:cubicBezTo>
                    <a:pt x="419" y="321"/>
                    <a:pt x="418" y="322"/>
                    <a:pt x="415" y="322"/>
                  </a:cubicBezTo>
                  <a:cubicBezTo>
                    <a:pt x="413" y="321"/>
                    <a:pt x="414" y="319"/>
                    <a:pt x="411" y="319"/>
                  </a:cubicBezTo>
                  <a:cubicBezTo>
                    <a:pt x="411" y="319"/>
                    <a:pt x="410" y="319"/>
                    <a:pt x="410" y="319"/>
                  </a:cubicBezTo>
                  <a:cubicBezTo>
                    <a:pt x="410" y="322"/>
                    <a:pt x="407" y="322"/>
                    <a:pt x="405" y="321"/>
                  </a:cubicBezTo>
                  <a:cubicBezTo>
                    <a:pt x="405" y="321"/>
                    <a:pt x="405" y="320"/>
                    <a:pt x="405" y="320"/>
                  </a:cubicBezTo>
                  <a:cubicBezTo>
                    <a:pt x="403" y="321"/>
                    <a:pt x="402" y="321"/>
                    <a:pt x="401" y="321"/>
                  </a:cubicBezTo>
                  <a:cubicBezTo>
                    <a:pt x="401" y="324"/>
                    <a:pt x="402" y="327"/>
                    <a:pt x="401" y="327"/>
                  </a:cubicBezTo>
                  <a:cubicBezTo>
                    <a:pt x="401" y="325"/>
                    <a:pt x="396" y="326"/>
                    <a:pt x="394" y="326"/>
                  </a:cubicBezTo>
                  <a:cubicBezTo>
                    <a:pt x="394" y="325"/>
                    <a:pt x="393" y="324"/>
                    <a:pt x="393" y="323"/>
                  </a:cubicBezTo>
                  <a:cubicBezTo>
                    <a:pt x="389" y="324"/>
                    <a:pt x="384" y="325"/>
                    <a:pt x="379" y="326"/>
                  </a:cubicBezTo>
                  <a:cubicBezTo>
                    <a:pt x="384" y="327"/>
                    <a:pt x="389" y="325"/>
                    <a:pt x="393" y="327"/>
                  </a:cubicBezTo>
                  <a:cubicBezTo>
                    <a:pt x="393" y="328"/>
                    <a:pt x="393" y="329"/>
                    <a:pt x="393" y="330"/>
                  </a:cubicBezTo>
                  <a:cubicBezTo>
                    <a:pt x="384" y="330"/>
                    <a:pt x="384" y="330"/>
                    <a:pt x="384" y="330"/>
                  </a:cubicBezTo>
                  <a:cubicBezTo>
                    <a:pt x="382" y="330"/>
                    <a:pt x="381" y="330"/>
                    <a:pt x="379" y="330"/>
                  </a:cubicBezTo>
                  <a:cubicBezTo>
                    <a:pt x="379" y="328"/>
                    <a:pt x="378" y="327"/>
                    <a:pt x="377" y="326"/>
                  </a:cubicBezTo>
                  <a:cubicBezTo>
                    <a:pt x="688" y="1211"/>
                    <a:pt x="682" y="1211"/>
                    <a:pt x="676" y="1211"/>
                  </a:cubicBezTo>
                  <a:cubicBezTo>
                    <a:pt x="676" y="1212"/>
                    <a:pt x="676" y="1213"/>
                    <a:pt x="676" y="1214"/>
                  </a:cubicBezTo>
                  <a:cubicBezTo>
                    <a:pt x="673" y="1215"/>
                    <a:pt x="672" y="1212"/>
                    <a:pt x="670" y="1214"/>
                  </a:cubicBezTo>
                  <a:cubicBezTo>
                    <a:pt x="669" y="1216"/>
                    <a:pt x="668" y="1217"/>
                    <a:pt x="667" y="1219"/>
                  </a:cubicBezTo>
                  <a:cubicBezTo>
                    <a:pt x="671" y="1219"/>
                    <a:pt x="676" y="1219"/>
                    <a:pt x="680" y="1218"/>
                  </a:cubicBezTo>
                  <a:cubicBezTo>
                    <a:pt x="679" y="1217"/>
                    <a:pt x="678" y="1216"/>
                    <a:pt x="679" y="1214"/>
                  </a:cubicBezTo>
                  <a:cubicBezTo>
                    <a:pt x="681" y="1215"/>
                    <a:pt x="681" y="1213"/>
                    <a:pt x="684" y="1214"/>
                  </a:cubicBezTo>
                  <a:cubicBezTo>
                    <a:pt x="685" y="1215"/>
                    <a:pt x="684" y="1217"/>
                    <a:pt x="683" y="1218"/>
                  </a:cubicBezTo>
                  <a:cubicBezTo>
                    <a:pt x="688" y="1218"/>
                    <a:pt x="692" y="1218"/>
                    <a:pt x="697" y="1217"/>
                  </a:cubicBezTo>
                  <a:cubicBezTo>
                    <a:pt x="696" y="1217"/>
                    <a:pt x="695" y="1217"/>
                    <a:pt x="694" y="1216"/>
                  </a:cubicBezTo>
                  <a:cubicBezTo>
                    <a:pt x="696" y="1214"/>
                    <a:pt x="695" y="1212"/>
                    <a:pt x="695" y="1210"/>
                  </a:cubicBezTo>
                  <a:cubicBezTo>
                    <a:pt x="959" y="1175"/>
                    <a:pt x="965" y="1174"/>
                    <a:pt x="970" y="1174"/>
                  </a:cubicBezTo>
                  <a:cubicBezTo>
                    <a:pt x="974" y="1172"/>
                    <a:pt x="979" y="1170"/>
                    <a:pt x="983" y="1167"/>
                  </a:cubicBezTo>
                  <a:cubicBezTo>
                    <a:pt x="983" y="1167"/>
                    <a:pt x="984" y="1166"/>
                    <a:pt x="984" y="1166"/>
                  </a:cubicBezTo>
                  <a:cubicBezTo>
                    <a:pt x="980" y="1166"/>
                    <a:pt x="979" y="1165"/>
                    <a:pt x="977" y="1163"/>
                  </a:cubicBezTo>
                  <a:cubicBezTo>
                    <a:pt x="971" y="1167"/>
                    <a:pt x="964" y="1170"/>
                    <a:pt x="957" y="1174"/>
                  </a:cubicBezTo>
                  <a:cubicBezTo>
                    <a:pt x="956" y="1175"/>
                    <a:pt x="955" y="1177"/>
                    <a:pt x="954" y="1178"/>
                  </a:cubicBezTo>
                  <a:cubicBezTo>
                    <a:pt x="958" y="1178"/>
                    <a:pt x="956" y="1180"/>
                    <a:pt x="958" y="1181"/>
                  </a:cubicBezTo>
                  <a:cubicBezTo>
                    <a:pt x="749" y="1208"/>
                    <a:pt x="747" y="1208"/>
                    <a:pt x="746" y="1208"/>
                  </a:cubicBezTo>
                  <a:cubicBezTo>
                    <a:pt x="736" y="1208"/>
                    <a:pt x="725" y="1208"/>
                    <a:pt x="715" y="1209"/>
                  </a:cubicBezTo>
                  <a:cubicBezTo>
                    <a:pt x="714" y="1209"/>
                    <a:pt x="713" y="1209"/>
                    <a:pt x="712" y="1209"/>
                  </a:cubicBezTo>
                  <a:cubicBezTo>
                    <a:pt x="712" y="1210"/>
                    <a:pt x="711" y="1210"/>
                    <a:pt x="711" y="1210"/>
                  </a:cubicBezTo>
                  <a:cubicBezTo>
                    <a:pt x="710" y="1210"/>
                    <a:pt x="710" y="1210"/>
                    <a:pt x="709" y="1209"/>
                  </a:cubicBezTo>
                  <a:cubicBezTo>
                    <a:pt x="706" y="1210"/>
                    <a:pt x="702" y="1210"/>
                    <a:pt x="698" y="1210"/>
                  </a:cubicBezTo>
                  <a:cubicBezTo>
                    <a:pt x="700" y="1212"/>
                    <a:pt x="701" y="1215"/>
                    <a:pt x="702" y="1217"/>
                  </a:cubicBezTo>
                  <a:cubicBezTo>
                    <a:pt x="705" y="1216"/>
                    <a:pt x="708" y="1216"/>
                    <a:pt x="712" y="1216"/>
                  </a:cubicBezTo>
                  <a:cubicBezTo>
                    <a:pt x="714" y="1216"/>
                    <a:pt x="716" y="1216"/>
                    <a:pt x="718" y="1216"/>
                  </a:cubicBezTo>
                  <a:cubicBezTo>
                    <a:pt x="718" y="1215"/>
                    <a:pt x="719" y="1214"/>
                    <a:pt x="720" y="1213"/>
                  </a:cubicBezTo>
                  <a:cubicBezTo>
                    <a:pt x="722" y="1214"/>
                    <a:pt x="724" y="1214"/>
                    <a:pt x="725" y="1215"/>
                  </a:cubicBezTo>
                  <a:cubicBezTo>
                    <a:pt x="726" y="1215"/>
                    <a:pt x="726" y="1215"/>
                    <a:pt x="726" y="1215"/>
                  </a:cubicBezTo>
                  <a:cubicBezTo>
                    <a:pt x="729" y="1213"/>
                    <a:pt x="730" y="1210"/>
                    <a:pt x="734" y="1210"/>
                  </a:cubicBezTo>
                  <a:cubicBezTo>
                    <a:pt x="734" y="1211"/>
                    <a:pt x="737" y="1211"/>
                    <a:pt x="735" y="1212"/>
                  </a:cubicBezTo>
                  <a:cubicBezTo>
                    <a:pt x="734" y="1213"/>
                    <a:pt x="733" y="1214"/>
                    <a:pt x="732" y="1215"/>
                  </a:cubicBezTo>
                  <a:cubicBezTo>
                    <a:pt x="738" y="1215"/>
                    <a:pt x="743" y="1214"/>
                    <a:pt x="749" y="1214"/>
                  </a:cubicBezTo>
                  <a:cubicBezTo>
                    <a:pt x="749" y="1214"/>
                    <a:pt x="749" y="1214"/>
                    <a:pt x="749" y="1214"/>
                  </a:cubicBezTo>
                  <a:cubicBezTo>
                    <a:pt x="748" y="1212"/>
                    <a:pt x="750" y="1210"/>
                    <a:pt x="751" y="1209"/>
                  </a:cubicBezTo>
                  <a:cubicBezTo>
                    <a:pt x="569" y="1209"/>
                    <a:pt x="562" y="1206"/>
                    <a:pt x="556" y="1203"/>
                  </a:cubicBezTo>
                  <a:cubicBezTo>
                    <a:pt x="558" y="1205"/>
                    <a:pt x="558" y="1208"/>
                    <a:pt x="556" y="1211"/>
                  </a:cubicBezTo>
                  <a:cubicBezTo>
                    <a:pt x="562" y="1214"/>
                    <a:pt x="568" y="1216"/>
                    <a:pt x="574" y="1219"/>
                  </a:cubicBezTo>
                  <a:cubicBezTo>
                    <a:pt x="573" y="1218"/>
                    <a:pt x="573" y="1217"/>
                    <a:pt x="572" y="1216"/>
                  </a:cubicBezTo>
                  <a:cubicBezTo>
                    <a:pt x="573" y="1214"/>
                    <a:pt x="574" y="1212"/>
                    <a:pt x="575" y="1212"/>
                  </a:cubicBezTo>
                  <a:cubicBezTo>
                    <a:pt x="937" y="1171"/>
                    <a:pt x="937" y="1171"/>
                    <a:pt x="938" y="1170"/>
                  </a:cubicBezTo>
                  <a:cubicBezTo>
                    <a:pt x="939" y="1169"/>
                    <a:pt x="941" y="1168"/>
                    <a:pt x="943" y="1168"/>
                  </a:cubicBezTo>
                  <a:cubicBezTo>
                    <a:pt x="945" y="1167"/>
                    <a:pt x="947" y="1166"/>
                    <a:pt x="949" y="1165"/>
                  </a:cubicBezTo>
                  <a:cubicBezTo>
                    <a:pt x="949" y="1164"/>
                    <a:pt x="949" y="1164"/>
                    <a:pt x="949" y="1163"/>
                  </a:cubicBezTo>
                  <a:cubicBezTo>
                    <a:pt x="946" y="1162"/>
                    <a:pt x="944" y="1164"/>
                    <a:pt x="941" y="1163"/>
                  </a:cubicBezTo>
                  <a:cubicBezTo>
                    <a:pt x="941" y="1163"/>
                    <a:pt x="941" y="1163"/>
                    <a:pt x="941" y="1163"/>
                  </a:cubicBezTo>
                  <a:cubicBezTo>
                    <a:pt x="954" y="1162"/>
                    <a:pt x="954" y="1162"/>
                    <a:pt x="954" y="1162"/>
                  </a:cubicBezTo>
                  <a:cubicBezTo>
                    <a:pt x="961" y="1158"/>
                    <a:pt x="969" y="1154"/>
                    <a:pt x="976" y="1150"/>
                  </a:cubicBezTo>
                  <a:cubicBezTo>
                    <a:pt x="981" y="1148"/>
                    <a:pt x="985" y="1145"/>
                    <a:pt x="990" y="1143"/>
                  </a:cubicBezTo>
                  <a:cubicBezTo>
                    <a:pt x="987" y="1143"/>
                    <a:pt x="983" y="1143"/>
                    <a:pt x="980" y="1143"/>
                  </a:cubicBezTo>
                  <a:cubicBezTo>
                    <a:pt x="980" y="1144"/>
                    <a:pt x="980" y="1145"/>
                    <a:pt x="978" y="1145"/>
                  </a:cubicBezTo>
                  <a:cubicBezTo>
                    <a:pt x="977" y="1145"/>
                    <a:pt x="977" y="1145"/>
                    <a:pt x="977" y="1145"/>
                  </a:cubicBezTo>
                  <a:cubicBezTo>
                    <a:pt x="977" y="1145"/>
                    <a:pt x="977" y="1145"/>
                    <a:pt x="977" y="1145"/>
                  </a:cubicBezTo>
                  <a:cubicBezTo>
                    <a:pt x="977" y="1144"/>
                    <a:pt x="976" y="1144"/>
                    <a:pt x="976" y="1143"/>
                  </a:cubicBezTo>
                  <a:cubicBezTo>
                    <a:pt x="963" y="1150"/>
                    <a:pt x="950" y="1157"/>
                    <a:pt x="937" y="1164"/>
                  </a:cubicBezTo>
                  <a:cubicBezTo>
                    <a:pt x="937" y="1164"/>
                    <a:pt x="938" y="1164"/>
                    <a:pt x="938" y="1164"/>
                  </a:cubicBezTo>
                  <a:cubicBezTo>
                    <a:pt x="938" y="1166"/>
                    <a:pt x="936" y="1170"/>
                    <a:pt x="937" y="1171"/>
                  </a:cubicBezTo>
                  <a:cubicBezTo>
                    <a:pt x="437" y="1161"/>
                    <a:pt x="431" y="1156"/>
                    <a:pt x="425" y="1150"/>
                  </a:cubicBezTo>
                  <a:cubicBezTo>
                    <a:pt x="424" y="1150"/>
                    <a:pt x="424" y="1150"/>
                    <a:pt x="424" y="1150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411" y="1136"/>
                    <a:pt x="399" y="1122"/>
                    <a:pt x="388" y="1107"/>
                  </a:cubicBezTo>
                  <a:cubicBezTo>
                    <a:pt x="386" y="1107"/>
                    <a:pt x="385" y="1106"/>
                    <a:pt x="384" y="1105"/>
                  </a:cubicBezTo>
                  <a:cubicBezTo>
                    <a:pt x="384" y="1103"/>
                    <a:pt x="385" y="1103"/>
                    <a:pt x="385" y="1103"/>
                  </a:cubicBezTo>
                  <a:cubicBezTo>
                    <a:pt x="384" y="1101"/>
                    <a:pt x="383" y="1100"/>
                    <a:pt x="382" y="1098"/>
                  </a:cubicBezTo>
                  <a:cubicBezTo>
                    <a:pt x="382" y="1098"/>
                    <a:pt x="381" y="1098"/>
                    <a:pt x="381" y="1098"/>
                  </a:cubicBezTo>
                  <a:cubicBezTo>
                    <a:pt x="380" y="1098"/>
                    <a:pt x="381" y="1097"/>
                    <a:pt x="381" y="1096"/>
                  </a:cubicBezTo>
                  <a:cubicBezTo>
                    <a:pt x="381" y="1096"/>
                    <a:pt x="381" y="1096"/>
                    <a:pt x="381" y="1096"/>
                  </a:cubicBezTo>
                  <a:cubicBezTo>
                    <a:pt x="375" y="1087"/>
                    <a:pt x="369" y="1078"/>
                    <a:pt x="364" y="1068"/>
                  </a:cubicBezTo>
                  <a:cubicBezTo>
                    <a:pt x="362" y="1068"/>
                    <a:pt x="360" y="1067"/>
                    <a:pt x="358" y="1066"/>
                  </a:cubicBezTo>
                  <a:cubicBezTo>
                    <a:pt x="359" y="1067"/>
                    <a:pt x="359" y="1067"/>
                    <a:pt x="359" y="1068"/>
                  </a:cubicBezTo>
                  <a:cubicBezTo>
                    <a:pt x="359" y="1068"/>
                    <a:pt x="358" y="1068"/>
                    <a:pt x="358" y="1069"/>
                  </a:cubicBezTo>
                  <a:cubicBezTo>
                    <a:pt x="363" y="1078"/>
                    <a:pt x="368" y="1087"/>
                    <a:pt x="374" y="1096"/>
                  </a:cubicBezTo>
                  <a:cubicBezTo>
                    <a:pt x="376" y="1096"/>
                    <a:pt x="376" y="1096"/>
                    <a:pt x="376" y="1096"/>
                  </a:cubicBezTo>
                  <a:cubicBezTo>
                    <a:pt x="378" y="1097"/>
                    <a:pt x="378" y="1099"/>
                    <a:pt x="378" y="1101"/>
                  </a:cubicBezTo>
                  <a:cubicBezTo>
                    <a:pt x="378" y="1101"/>
                    <a:pt x="377" y="1101"/>
                    <a:pt x="377" y="1101"/>
                  </a:cubicBezTo>
                  <a:cubicBezTo>
                    <a:pt x="378" y="1103"/>
                    <a:pt x="380" y="1105"/>
                    <a:pt x="381" y="1107"/>
                  </a:cubicBezTo>
                  <a:cubicBezTo>
                    <a:pt x="382" y="1107"/>
                    <a:pt x="383" y="1107"/>
                    <a:pt x="383" y="1108"/>
                  </a:cubicBezTo>
                  <a:cubicBezTo>
                    <a:pt x="383" y="1109"/>
                    <a:pt x="383" y="1109"/>
                    <a:pt x="383" y="1110"/>
                  </a:cubicBezTo>
                  <a:cubicBezTo>
                    <a:pt x="398" y="1131"/>
                    <a:pt x="415" y="1150"/>
                    <a:pt x="435" y="1167"/>
                  </a:cubicBezTo>
                  <a:cubicBezTo>
                    <a:pt x="875" y="1176"/>
                    <a:pt x="875" y="1175"/>
                    <a:pt x="875" y="1175"/>
                  </a:cubicBezTo>
                  <a:cubicBezTo>
                    <a:pt x="878" y="1175"/>
                    <a:pt x="881" y="1173"/>
                    <a:pt x="882" y="1170"/>
                  </a:cubicBezTo>
                  <a:cubicBezTo>
                    <a:pt x="885" y="1170"/>
                    <a:pt x="886" y="1171"/>
                    <a:pt x="886" y="1172"/>
                  </a:cubicBezTo>
                  <a:cubicBezTo>
                    <a:pt x="891" y="1171"/>
                    <a:pt x="896" y="1169"/>
                    <a:pt x="900" y="1167"/>
                  </a:cubicBezTo>
                  <a:cubicBezTo>
                    <a:pt x="900" y="1166"/>
                    <a:pt x="901" y="1166"/>
                    <a:pt x="901" y="1165"/>
                  </a:cubicBezTo>
                  <a:cubicBezTo>
                    <a:pt x="902" y="1165"/>
                    <a:pt x="903" y="1166"/>
                    <a:pt x="903" y="1166"/>
                  </a:cubicBezTo>
                  <a:cubicBezTo>
                    <a:pt x="920" y="1159"/>
                    <a:pt x="938" y="1151"/>
                    <a:pt x="954" y="1142"/>
                  </a:cubicBezTo>
                  <a:cubicBezTo>
                    <a:pt x="951" y="1142"/>
                    <a:pt x="947" y="1142"/>
                    <a:pt x="943" y="1142"/>
                  </a:cubicBezTo>
                  <a:cubicBezTo>
                    <a:pt x="944" y="1143"/>
                    <a:pt x="945" y="1144"/>
                    <a:pt x="945" y="1145"/>
                  </a:cubicBezTo>
                  <a:cubicBezTo>
                    <a:pt x="937" y="1145"/>
                    <a:pt x="937" y="1145"/>
                    <a:pt x="937" y="1145"/>
                  </a:cubicBezTo>
                  <a:cubicBezTo>
                    <a:pt x="937" y="1145"/>
                    <a:pt x="937" y="1145"/>
                    <a:pt x="937" y="1145"/>
                  </a:cubicBezTo>
                  <a:cubicBezTo>
                    <a:pt x="936" y="1145"/>
                    <a:pt x="936" y="1144"/>
                    <a:pt x="935" y="1143"/>
                  </a:cubicBezTo>
                  <a:cubicBezTo>
                    <a:pt x="930" y="1146"/>
                    <a:pt x="924" y="1148"/>
                    <a:pt x="919" y="1151"/>
                  </a:cubicBezTo>
                  <a:cubicBezTo>
                    <a:pt x="909" y="1155"/>
                    <a:pt x="899" y="1160"/>
                    <a:pt x="889" y="1164"/>
                  </a:cubicBezTo>
                  <a:cubicBezTo>
                    <a:pt x="889" y="1164"/>
                    <a:pt x="889" y="1165"/>
                    <a:pt x="889" y="1165"/>
                  </a:cubicBezTo>
                  <a:cubicBezTo>
                    <a:pt x="887" y="1166"/>
                    <a:pt x="885" y="1166"/>
                    <a:pt x="884" y="1165"/>
                  </a:cubicBezTo>
                  <a:cubicBezTo>
                    <a:pt x="882" y="1166"/>
                    <a:pt x="880" y="1167"/>
                    <a:pt x="877" y="1168"/>
                  </a:cubicBezTo>
                  <a:cubicBezTo>
                    <a:pt x="875" y="1170"/>
                    <a:pt x="870" y="1172"/>
                    <a:pt x="866" y="1171"/>
                  </a:cubicBezTo>
                  <a:cubicBezTo>
                    <a:pt x="854" y="1176"/>
                    <a:pt x="841" y="1179"/>
                    <a:pt x="828" y="1181"/>
                  </a:cubicBezTo>
                  <a:cubicBezTo>
                    <a:pt x="828" y="1181"/>
                    <a:pt x="828" y="1181"/>
                    <a:pt x="828" y="1181"/>
                  </a:cubicBezTo>
                  <a:cubicBezTo>
                    <a:pt x="828" y="1181"/>
                    <a:pt x="828" y="1182"/>
                    <a:pt x="828" y="1182"/>
                  </a:cubicBezTo>
                  <a:cubicBezTo>
                    <a:pt x="824" y="1182"/>
                    <a:pt x="824" y="1182"/>
                    <a:pt x="824" y="1182"/>
                  </a:cubicBezTo>
                  <a:cubicBezTo>
                    <a:pt x="784" y="1188"/>
                    <a:pt x="742" y="1188"/>
                    <a:pt x="701" y="1190"/>
                  </a:cubicBezTo>
                  <a:cubicBezTo>
                    <a:pt x="683" y="1191"/>
                    <a:pt x="664" y="1194"/>
                    <a:pt x="646" y="1191"/>
                  </a:cubicBezTo>
                  <a:cubicBezTo>
                    <a:pt x="635" y="1189"/>
                    <a:pt x="626" y="1186"/>
                    <a:pt x="616" y="1182"/>
                  </a:cubicBezTo>
                  <a:cubicBezTo>
                    <a:pt x="616" y="1182"/>
                    <a:pt x="616" y="1182"/>
                    <a:pt x="616" y="1182"/>
                  </a:cubicBezTo>
                  <a:cubicBezTo>
                    <a:pt x="607" y="1185"/>
                    <a:pt x="601" y="1179"/>
                    <a:pt x="598" y="1172"/>
                  </a:cubicBezTo>
                  <a:cubicBezTo>
                    <a:pt x="585" y="1165"/>
                    <a:pt x="572" y="1157"/>
                    <a:pt x="560" y="1148"/>
                  </a:cubicBezTo>
                  <a:cubicBezTo>
                    <a:pt x="554" y="1149"/>
                    <a:pt x="554" y="1149"/>
                    <a:pt x="554" y="1149"/>
                  </a:cubicBezTo>
                  <a:cubicBezTo>
                    <a:pt x="554" y="1149"/>
                    <a:pt x="554" y="1149"/>
                    <a:pt x="554" y="1149"/>
                  </a:cubicBezTo>
                  <a:cubicBezTo>
                    <a:pt x="554" y="1149"/>
                    <a:pt x="554" y="1149"/>
                    <a:pt x="554" y="1149"/>
                  </a:cubicBezTo>
                  <a:cubicBezTo>
                    <a:pt x="549" y="1149"/>
                    <a:pt x="549" y="1149"/>
                    <a:pt x="549" y="1149"/>
                  </a:cubicBezTo>
                  <a:cubicBezTo>
                    <a:pt x="557" y="1155"/>
                    <a:pt x="565" y="1160"/>
                    <a:pt x="573" y="1166"/>
                  </a:cubicBezTo>
                  <a:cubicBezTo>
                    <a:pt x="581" y="1166"/>
                    <a:pt x="581" y="1166"/>
                    <a:pt x="581" y="1166"/>
                  </a:cubicBezTo>
                  <a:cubicBezTo>
                    <a:pt x="580" y="1167"/>
                    <a:pt x="579" y="1168"/>
                    <a:pt x="578" y="1169"/>
                  </a:cubicBezTo>
                  <a:cubicBezTo>
                    <a:pt x="593" y="1178"/>
                    <a:pt x="608" y="1186"/>
                    <a:pt x="624" y="1192"/>
                  </a:cubicBezTo>
                  <a:cubicBezTo>
                    <a:pt x="656" y="1204"/>
                    <a:pt x="691" y="1197"/>
                    <a:pt x="724" y="1195"/>
                  </a:cubicBezTo>
                  <a:cubicBezTo>
                    <a:pt x="763" y="1193"/>
                    <a:pt x="803" y="1194"/>
                    <a:pt x="840" y="1186"/>
                  </a:cubicBezTo>
                  <a:cubicBezTo>
                    <a:pt x="852" y="1183"/>
                    <a:pt x="863" y="1180"/>
                    <a:pt x="874" y="1176"/>
                  </a:cubicBezTo>
                  <a:cubicBezTo>
                    <a:pt x="820" y="1207"/>
                    <a:pt x="820" y="1205"/>
                    <a:pt x="820" y="1203"/>
                  </a:cubicBezTo>
                  <a:cubicBezTo>
                    <a:pt x="820" y="1203"/>
                    <a:pt x="820" y="1203"/>
                    <a:pt x="820" y="1203"/>
                  </a:cubicBezTo>
                  <a:cubicBezTo>
                    <a:pt x="819" y="1206"/>
                    <a:pt x="815" y="1206"/>
                    <a:pt x="812" y="1208"/>
                  </a:cubicBezTo>
                  <a:cubicBezTo>
                    <a:pt x="813" y="1208"/>
                    <a:pt x="813" y="1209"/>
                    <a:pt x="814" y="1210"/>
                  </a:cubicBezTo>
                  <a:cubicBezTo>
                    <a:pt x="816" y="1210"/>
                    <a:pt x="818" y="1209"/>
                    <a:pt x="821" y="1209"/>
                  </a:cubicBezTo>
                  <a:cubicBezTo>
                    <a:pt x="583" y="1195"/>
                    <a:pt x="564" y="1186"/>
                    <a:pt x="545" y="1176"/>
                  </a:cubicBezTo>
                  <a:cubicBezTo>
                    <a:pt x="542" y="1176"/>
                    <a:pt x="540" y="1175"/>
                    <a:pt x="539" y="1173"/>
                  </a:cubicBezTo>
                  <a:cubicBezTo>
                    <a:pt x="538" y="1172"/>
                    <a:pt x="537" y="1171"/>
                    <a:pt x="536" y="1171"/>
                  </a:cubicBezTo>
                  <a:cubicBezTo>
                    <a:pt x="534" y="1172"/>
                    <a:pt x="531" y="1173"/>
                    <a:pt x="529" y="1175"/>
                  </a:cubicBezTo>
                  <a:cubicBezTo>
                    <a:pt x="546" y="1185"/>
                    <a:pt x="564" y="1194"/>
                    <a:pt x="583" y="1201"/>
                  </a:cubicBezTo>
                  <a:cubicBezTo>
                    <a:pt x="591" y="1201"/>
                    <a:pt x="591" y="1201"/>
                    <a:pt x="591" y="1201"/>
                  </a:cubicBezTo>
                  <a:cubicBezTo>
                    <a:pt x="590" y="1202"/>
                    <a:pt x="589" y="1202"/>
                    <a:pt x="588" y="1203"/>
                  </a:cubicBezTo>
                  <a:cubicBezTo>
                    <a:pt x="590" y="1204"/>
                    <a:pt x="592" y="1205"/>
                    <a:pt x="594" y="1205"/>
                  </a:cubicBezTo>
                  <a:cubicBezTo>
                    <a:pt x="593" y="1204"/>
                    <a:pt x="592" y="1203"/>
                    <a:pt x="592" y="1201"/>
                  </a:cubicBezTo>
                  <a:cubicBezTo>
                    <a:pt x="227" y="1006"/>
                    <a:pt x="224" y="1006"/>
                    <a:pt x="222" y="1006"/>
                  </a:cubicBezTo>
                  <a:cubicBezTo>
                    <a:pt x="222" y="1006"/>
                    <a:pt x="222" y="1006"/>
                    <a:pt x="222" y="1007"/>
                  </a:cubicBezTo>
                  <a:cubicBezTo>
                    <a:pt x="224" y="1006"/>
                    <a:pt x="227" y="1007"/>
                    <a:pt x="229" y="1007"/>
                  </a:cubicBezTo>
                  <a:cubicBezTo>
                    <a:pt x="229" y="1006"/>
                    <a:pt x="229" y="1006"/>
                    <a:pt x="229" y="1005"/>
                  </a:cubicBezTo>
                  <a:cubicBezTo>
                    <a:pt x="339" y="1080"/>
                    <a:pt x="330" y="1062"/>
                    <a:pt x="324" y="1044"/>
                  </a:cubicBezTo>
                  <a:cubicBezTo>
                    <a:pt x="317" y="1044"/>
                    <a:pt x="317" y="1044"/>
                    <a:pt x="317" y="1044"/>
                  </a:cubicBezTo>
                  <a:cubicBezTo>
                    <a:pt x="323" y="1062"/>
                    <a:pt x="331" y="1080"/>
                    <a:pt x="341" y="1097"/>
                  </a:cubicBezTo>
                  <a:cubicBezTo>
                    <a:pt x="344" y="1097"/>
                    <a:pt x="346" y="1097"/>
                    <a:pt x="348" y="1097"/>
                  </a:cubicBezTo>
                  <a:cubicBezTo>
                    <a:pt x="162" y="1030"/>
                    <a:pt x="162" y="1030"/>
                    <a:pt x="162" y="1030"/>
                  </a:cubicBezTo>
                  <a:cubicBezTo>
                    <a:pt x="159" y="1030"/>
                    <a:pt x="158" y="1029"/>
                    <a:pt x="157" y="1027"/>
                  </a:cubicBezTo>
                  <a:cubicBezTo>
                    <a:pt x="157" y="1029"/>
                    <a:pt x="157" y="1030"/>
                    <a:pt x="156" y="1031"/>
                  </a:cubicBezTo>
                  <a:cubicBezTo>
                    <a:pt x="161" y="1032"/>
                    <a:pt x="162" y="1036"/>
                    <a:pt x="160" y="1039"/>
                  </a:cubicBezTo>
                  <a:cubicBezTo>
                    <a:pt x="156" y="1038"/>
                    <a:pt x="155" y="1040"/>
                    <a:pt x="153" y="1041"/>
                  </a:cubicBezTo>
                  <a:cubicBezTo>
                    <a:pt x="151" y="1048"/>
                    <a:pt x="148" y="1055"/>
                    <a:pt x="146" y="1062"/>
                  </a:cubicBezTo>
                  <a:cubicBezTo>
                    <a:pt x="153" y="1062"/>
                    <a:pt x="153" y="1062"/>
                    <a:pt x="153" y="1062"/>
                  </a:cubicBezTo>
                  <a:cubicBezTo>
                    <a:pt x="157" y="1051"/>
                    <a:pt x="161" y="1040"/>
                    <a:pt x="164" y="1029"/>
                  </a:cubicBezTo>
                  <a:cubicBezTo>
                    <a:pt x="163" y="1029"/>
                    <a:pt x="162" y="1029"/>
                    <a:pt x="162" y="1029"/>
                  </a:cubicBezTo>
                  <a:cubicBezTo>
                    <a:pt x="233" y="960"/>
                    <a:pt x="235" y="931"/>
                    <a:pt x="239" y="901"/>
                  </a:cubicBezTo>
                  <a:cubicBezTo>
                    <a:pt x="239" y="902"/>
                    <a:pt x="239" y="902"/>
                    <a:pt x="239" y="902"/>
                  </a:cubicBezTo>
                  <a:cubicBezTo>
                    <a:pt x="236" y="902"/>
                    <a:pt x="236" y="902"/>
                    <a:pt x="236" y="902"/>
                  </a:cubicBezTo>
                  <a:cubicBezTo>
                    <a:pt x="235" y="900"/>
                    <a:pt x="233" y="898"/>
                    <a:pt x="232" y="896"/>
                  </a:cubicBezTo>
                  <a:cubicBezTo>
                    <a:pt x="231" y="905"/>
                    <a:pt x="229" y="915"/>
                    <a:pt x="228" y="924"/>
                  </a:cubicBezTo>
                  <a:cubicBezTo>
                    <a:pt x="230" y="927"/>
                    <a:pt x="232" y="933"/>
                    <a:pt x="227" y="934"/>
                  </a:cubicBezTo>
                  <a:cubicBezTo>
                    <a:pt x="226" y="947"/>
                    <a:pt x="225" y="959"/>
                    <a:pt x="224" y="971"/>
                  </a:cubicBezTo>
                  <a:cubicBezTo>
                    <a:pt x="224" y="981"/>
                    <a:pt x="223" y="990"/>
                    <a:pt x="223" y="1000"/>
                  </a:cubicBezTo>
                  <a:cubicBezTo>
                    <a:pt x="225" y="1001"/>
                    <a:pt x="227" y="1002"/>
                    <a:pt x="229" y="1002"/>
                  </a:cubicBezTo>
                  <a:cubicBezTo>
                    <a:pt x="230" y="1000"/>
                    <a:pt x="230" y="997"/>
                    <a:pt x="230" y="994"/>
                  </a:cubicBezTo>
                  <a:cubicBezTo>
                    <a:pt x="230" y="994"/>
                    <a:pt x="230" y="994"/>
                    <a:pt x="229" y="994"/>
                  </a:cubicBezTo>
                  <a:cubicBezTo>
                    <a:pt x="229" y="994"/>
                    <a:pt x="228" y="992"/>
                    <a:pt x="229" y="990"/>
                  </a:cubicBezTo>
                  <a:cubicBezTo>
                    <a:pt x="260" y="1008"/>
                    <a:pt x="260" y="1008"/>
                    <a:pt x="260" y="1008"/>
                  </a:cubicBezTo>
                  <a:cubicBezTo>
                    <a:pt x="263" y="1026"/>
                    <a:pt x="267" y="1044"/>
                    <a:pt x="271" y="1061"/>
                  </a:cubicBezTo>
                  <a:cubicBezTo>
                    <a:pt x="277" y="1061"/>
                    <a:pt x="277" y="1061"/>
                    <a:pt x="277" y="1061"/>
                  </a:cubicBezTo>
                  <a:cubicBezTo>
                    <a:pt x="273" y="1044"/>
                    <a:pt x="270" y="1026"/>
                    <a:pt x="267" y="1008"/>
                  </a:cubicBezTo>
                  <a:cubicBezTo>
                    <a:pt x="278" y="873"/>
                    <a:pt x="280" y="848"/>
                    <a:pt x="283" y="824"/>
                  </a:cubicBezTo>
                  <a:cubicBezTo>
                    <a:pt x="282" y="825"/>
                    <a:pt x="282" y="825"/>
                    <a:pt x="281" y="825"/>
                  </a:cubicBezTo>
                  <a:cubicBezTo>
                    <a:pt x="280" y="823"/>
                    <a:pt x="278" y="821"/>
                    <a:pt x="280" y="819"/>
                  </a:cubicBezTo>
                  <a:cubicBezTo>
                    <a:pt x="282" y="819"/>
                    <a:pt x="283" y="820"/>
                    <a:pt x="283" y="820"/>
                  </a:cubicBezTo>
                  <a:cubicBezTo>
                    <a:pt x="287" y="796"/>
                    <a:pt x="292" y="773"/>
                    <a:pt x="299" y="750"/>
                  </a:cubicBezTo>
                  <a:cubicBezTo>
                    <a:pt x="299" y="750"/>
                    <a:pt x="299" y="750"/>
                    <a:pt x="299" y="750"/>
                  </a:cubicBezTo>
                  <a:cubicBezTo>
                    <a:pt x="299" y="747"/>
                    <a:pt x="296" y="746"/>
                    <a:pt x="295" y="743"/>
                  </a:cubicBezTo>
                  <a:cubicBezTo>
                    <a:pt x="297" y="742"/>
                    <a:pt x="300" y="744"/>
                    <a:pt x="300" y="746"/>
                  </a:cubicBezTo>
                  <a:cubicBezTo>
                    <a:pt x="301" y="745"/>
                    <a:pt x="301" y="744"/>
                    <a:pt x="301" y="744"/>
                  </a:cubicBezTo>
                  <a:cubicBezTo>
                    <a:pt x="301" y="744"/>
                    <a:pt x="301" y="744"/>
                    <a:pt x="300" y="744"/>
                  </a:cubicBezTo>
                  <a:cubicBezTo>
                    <a:pt x="300" y="742"/>
                    <a:pt x="301" y="741"/>
                    <a:pt x="301" y="740"/>
                  </a:cubicBezTo>
                  <a:cubicBezTo>
                    <a:pt x="302" y="740"/>
                    <a:pt x="302" y="740"/>
                    <a:pt x="302" y="740"/>
                  </a:cubicBezTo>
                  <a:cubicBezTo>
                    <a:pt x="304" y="734"/>
                    <a:pt x="306" y="729"/>
                    <a:pt x="309" y="723"/>
                  </a:cubicBezTo>
                  <a:cubicBezTo>
                    <a:pt x="307" y="723"/>
                    <a:pt x="307" y="723"/>
                    <a:pt x="307" y="723"/>
                  </a:cubicBezTo>
                  <a:cubicBezTo>
                    <a:pt x="306" y="719"/>
                    <a:pt x="307" y="714"/>
                    <a:pt x="310" y="710"/>
                  </a:cubicBezTo>
                  <a:cubicBezTo>
                    <a:pt x="311" y="712"/>
                    <a:pt x="311" y="713"/>
                    <a:pt x="313" y="713"/>
                  </a:cubicBezTo>
                  <a:cubicBezTo>
                    <a:pt x="317" y="704"/>
                    <a:pt x="321" y="695"/>
                    <a:pt x="325" y="686"/>
                  </a:cubicBezTo>
                  <a:cubicBezTo>
                    <a:pt x="325" y="685"/>
                    <a:pt x="326" y="684"/>
                    <a:pt x="327" y="684"/>
                  </a:cubicBezTo>
                  <a:cubicBezTo>
                    <a:pt x="327" y="683"/>
                    <a:pt x="328" y="682"/>
                    <a:pt x="328" y="681"/>
                  </a:cubicBezTo>
                  <a:cubicBezTo>
                    <a:pt x="327" y="680"/>
                    <a:pt x="328" y="679"/>
                    <a:pt x="329" y="678"/>
                  </a:cubicBezTo>
                  <a:cubicBezTo>
                    <a:pt x="325" y="676"/>
                    <a:pt x="326" y="672"/>
                    <a:pt x="330" y="670"/>
                  </a:cubicBezTo>
                  <a:cubicBezTo>
                    <a:pt x="329" y="670"/>
                    <a:pt x="328" y="669"/>
                    <a:pt x="327" y="669"/>
                  </a:cubicBezTo>
                  <a:cubicBezTo>
                    <a:pt x="326" y="672"/>
                    <a:pt x="324" y="675"/>
                    <a:pt x="322" y="678"/>
                  </a:cubicBezTo>
                  <a:cubicBezTo>
                    <a:pt x="323" y="679"/>
                    <a:pt x="323" y="680"/>
                    <a:pt x="321" y="680"/>
                  </a:cubicBezTo>
                  <a:cubicBezTo>
                    <a:pt x="321" y="680"/>
                    <a:pt x="321" y="680"/>
                    <a:pt x="321" y="681"/>
                  </a:cubicBezTo>
                  <a:cubicBezTo>
                    <a:pt x="322" y="682"/>
                    <a:pt x="321" y="685"/>
                    <a:pt x="322" y="687"/>
                  </a:cubicBezTo>
                  <a:cubicBezTo>
                    <a:pt x="317" y="687"/>
                    <a:pt x="317" y="687"/>
                    <a:pt x="317" y="687"/>
                  </a:cubicBezTo>
                  <a:cubicBezTo>
                    <a:pt x="314" y="693"/>
                    <a:pt x="312" y="699"/>
                    <a:pt x="309" y="704"/>
                  </a:cubicBezTo>
                  <a:cubicBezTo>
                    <a:pt x="312" y="704"/>
                    <a:pt x="312" y="704"/>
                    <a:pt x="312" y="704"/>
                  </a:cubicBezTo>
                  <a:cubicBezTo>
                    <a:pt x="312" y="706"/>
                    <a:pt x="312" y="707"/>
                    <a:pt x="313" y="709"/>
                  </a:cubicBezTo>
                  <a:cubicBezTo>
                    <a:pt x="312" y="710"/>
                    <a:pt x="308" y="710"/>
                    <a:pt x="307" y="709"/>
                  </a:cubicBezTo>
                  <a:cubicBezTo>
                    <a:pt x="301" y="722"/>
                    <a:pt x="296" y="736"/>
                    <a:pt x="292" y="750"/>
                  </a:cubicBezTo>
                  <a:cubicBezTo>
                    <a:pt x="293" y="750"/>
                    <a:pt x="294" y="750"/>
                    <a:pt x="296" y="751"/>
                  </a:cubicBezTo>
                  <a:cubicBezTo>
                    <a:pt x="296" y="754"/>
                    <a:pt x="295" y="757"/>
                    <a:pt x="294" y="759"/>
                  </a:cubicBezTo>
                  <a:cubicBezTo>
                    <a:pt x="289" y="759"/>
                    <a:pt x="289" y="759"/>
                    <a:pt x="289" y="759"/>
                  </a:cubicBezTo>
                  <a:cubicBezTo>
                    <a:pt x="287" y="767"/>
                    <a:pt x="285" y="776"/>
                    <a:pt x="283" y="785"/>
                  </a:cubicBezTo>
                  <a:cubicBezTo>
                    <a:pt x="283" y="786"/>
                    <a:pt x="283" y="786"/>
                    <a:pt x="284" y="787"/>
                  </a:cubicBezTo>
                  <a:cubicBezTo>
                    <a:pt x="283" y="787"/>
                    <a:pt x="282" y="787"/>
                    <a:pt x="282" y="788"/>
                  </a:cubicBezTo>
                  <a:cubicBezTo>
                    <a:pt x="282" y="788"/>
                    <a:pt x="282" y="788"/>
                    <a:pt x="282" y="788"/>
                  </a:cubicBezTo>
                  <a:cubicBezTo>
                    <a:pt x="282" y="789"/>
                    <a:pt x="282" y="790"/>
                    <a:pt x="281" y="791"/>
                  </a:cubicBezTo>
                  <a:cubicBezTo>
                    <a:pt x="282" y="791"/>
                    <a:pt x="283" y="791"/>
                    <a:pt x="283" y="790"/>
                  </a:cubicBezTo>
                  <a:cubicBezTo>
                    <a:pt x="284" y="792"/>
                    <a:pt x="283" y="793"/>
                    <a:pt x="282" y="794"/>
                  </a:cubicBezTo>
                  <a:cubicBezTo>
                    <a:pt x="281" y="794"/>
                    <a:pt x="281" y="794"/>
                    <a:pt x="281" y="794"/>
                  </a:cubicBezTo>
                  <a:cubicBezTo>
                    <a:pt x="279" y="801"/>
                    <a:pt x="278" y="809"/>
                    <a:pt x="277" y="816"/>
                  </a:cubicBezTo>
                  <a:cubicBezTo>
                    <a:pt x="277" y="816"/>
                    <a:pt x="277" y="817"/>
                    <a:pt x="277" y="817"/>
                  </a:cubicBezTo>
                  <a:cubicBezTo>
                    <a:pt x="277" y="817"/>
                    <a:pt x="277" y="817"/>
                    <a:pt x="277" y="817"/>
                  </a:cubicBezTo>
                  <a:cubicBezTo>
                    <a:pt x="277" y="818"/>
                    <a:pt x="277" y="819"/>
                    <a:pt x="276" y="820"/>
                  </a:cubicBezTo>
                  <a:cubicBezTo>
                    <a:pt x="275" y="832"/>
                    <a:pt x="273" y="845"/>
                    <a:pt x="273" y="858"/>
                  </a:cubicBezTo>
                  <a:cubicBezTo>
                    <a:pt x="274" y="856"/>
                    <a:pt x="276" y="856"/>
                    <a:pt x="278" y="855"/>
                  </a:cubicBezTo>
                  <a:cubicBezTo>
                    <a:pt x="279" y="856"/>
                    <a:pt x="279" y="859"/>
                    <a:pt x="278" y="861"/>
                  </a:cubicBezTo>
                  <a:cubicBezTo>
                    <a:pt x="276" y="861"/>
                    <a:pt x="274" y="861"/>
                    <a:pt x="272" y="861"/>
                  </a:cubicBezTo>
                  <a:cubicBezTo>
                    <a:pt x="272" y="873"/>
                    <a:pt x="271" y="885"/>
                    <a:pt x="271" y="897"/>
                  </a:cubicBezTo>
                  <a:cubicBezTo>
                    <a:pt x="271" y="897"/>
                    <a:pt x="272" y="897"/>
                    <a:pt x="272" y="897"/>
                  </a:cubicBezTo>
                  <a:cubicBezTo>
                    <a:pt x="272" y="899"/>
                    <a:pt x="272" y="900"/>
                    <a:pt x="273" y="901"/>
                  </a:cubicBezTo>
                  <a:cubicBezTo>
                    <a:pt x="271" y="901"/>
                    <a:pt x="271" y="901"/>
                    <a:pt x="271" y="901"/>
                  </a:cubicBezTo>
                  <a:cubicBezTo>
                    <a:pt x="271" y="920"/>
                    <a:pt x="273" y="940"/>
                    <a:pt x="275" y="959"/>
                  </a:cubicBezTo>
                  <a:cubicBezTo>
                    <a:pt x="276" y="959"/>
                    <a:pt x="277" y="960"/>
                    <a:pt x="279" y="961"/>
                  </a:cubicBezTo>
                  <a:cubicBezTo>
                    <a:pt x="278" y="964"/>
                    <a:pt x="278" y="964"/>
                    <a:pt x="278" y="968"/>
                  </a:cubicBezTo>
                  <a:cubicBezTo>
                    <a:pt x="279" y="968"/>
                    <a:pt x="281" y="968"/>
                    <a:pt x="283" y="969"/>
                  </a:cubicBezTo>
                  <a:cubicBezTo>
                    <a:pt x="280" y="945"/>
                    <a:pt x="278" y="921"/>
                    <a:pt x="278" y="897"/>
                  </a:cubicBezTo>
                  <a:cubicBezTo>
                    <a:pt x="276" y="969"/>
                    <a:pt x="276" y="969"/>
                    <a:pt x="276" y="969"/>
                  </a:cubicBezTo>
                  <a:cubicBezTo>
                    <a:pt x="276" y="969"/>
                    <a:pt x="276" y="969"/>
                    <a:pt x="276" y="969"/>
                  </a:cubicBezTo>
                  <a:cubicBezTo>
                    <a:pt x="276" y="969"/>
                    <a:pt x="276" y="969"/>
                    <a:pt x="276" y="969"/>
                  </a:cubicBezTo>
                  <a:cubicBezTo>
                    <a:pt x="152" y="314"/>
                    <a:pt x="152" y="314"/>
                    <a:pt x="152" y="314"/>
                  </a:cubicBezTo>
                  <a:cubicBezTo>
                    <a:pt x="153" y="314"/>
                    <a:pt x="153" y="314"/>
                    <a:pt x="153" y="314"/>
                  </a:cubicBezTo>
                  <a:cubicBezTo>
                    <a:pt x="156" y="314"/>
                    <a:pt x="156" y="314"/>
                    <a:pt x="156" y="314"/>
                  </a:cubicBezTo>
                  <a:cubicBezTo>
                    <a:pt x="157" y="314"/>
                    <a:pt x="158" y="315"/>
                    <a:pt x="158" y="316"/>
                  </a:cubicBezTo>
                  <a:cubicBezTo>
                    <a:pt x="160" y="316"/>
                    <a:pt x="159" y="315"/>
                    <a:pt x="159" y="314"/>
                  </a:cubicBezTo>
                  <a:cubicBezTo>
                    <a:pt x="164" y="314"/>
                    <a:pt x="164" y="314"/>
                    <a:pt x="164" y="314"/>
                  </a:cubicBezTo>
                  <a:cubicBezTo>
                    <a:pt x="176" y="306"/>
                    <a:pt x="188" y="299"/>
                    <a:pt x="201" y="292"/>
                  </a:cubicBezTo>
                  <a:cubicBezTo>
                    <a:pt x="201" y="291"/>
                    <a:pt x="201" y="289"/>
                    <a:pt x="201" y="287"/>
                  </a:cubicBezTo>
                  <a:cubicBezTo>
                    <a:pt x="204" y="288"/>
                    <a:pt x="207" y="287"/>
                    <a:pt x="209" y="288"/>
                  </a:cubicBezTo>
                  <a:cubicBezTo>
                    <a:pt x="211" y="287"/>
                    <a:pt x="212" y="286"/>
                    <a:pt x="214" y="285"/>
                  </a:cubicBezTo>
                  <a:cubicBezTo>
                    <a:pt x="213" y="284"/>
                    <a:pt x="213" y="283"/>
                    <a:pt x="213" y="281"/>
                  </a:cubicBezTo>
                  <a:cubicBezTo>
                    <a:pt x="215" y="280"/>
                    <a:pt x="220" y="280"/>
                    <a:pt x="221" y="282"/>
                  </a:cubicBezTo>
                  <a:cubicBezTo>
                    <a:pt x="221" y="282"/>
                    <a:pt x="221" y="282"/>
                    <a:pt x="221" y="282"/>
                  </a:cubicBezTo>
                  <a:cubicBezTo>
                    <a:pt x="242" y="273"/>
                    <a:pt x="262" y="265"/>
                    <a:pt x="284" y="260"/>
                  </a:cubicBezTo>
                  <a:cubicBezTo>
                    <a:pt x="279" y="260"/>
                    <a:pt x="279" y="260"/>
                    <a:pt x="279" y="260"/>
                  </a:cubicBezTo>
                  <a:cubicBezTo>
                    <a:pt x="278" y="258"/>
                    <a:pt x="279" y="256"/>
                    <a:pt x="279" y="255"/>
                  </a:cubicBezTo>
                  <a:cubicBezTo>
                    <a:pt x="281" y="255"/>
                    <a:pt x="281" y="254"/>
                    <a:pt x="282" y="253"/>
                  </a:cubicBezTo>
                  <a:cubicBezTo>
                    <a:pt x="269" y="257"/>
                    <a:pt x="256" y="261"/>
                    <a:pt x="244" y="265"/>
                  </a:cubicBezTo>
                  <a:cubicBezTo>
                    <a:pt x="233" y="269"/>
                    <a:pt x="224" y="273"/>
                    <a:pt x="214" y="277"/>
                  </a:cubicBezTo>
                  <a:cubicBezTo>
                    <a:pt x="221" y="277"/>
                    <a:pt x="221" y="277"/>
                    <a:pt x="221" y="277"/>
                  </a:cubicBezTo>
                  <a:cubicBezTo>
                    <a:pt x="220" y="278"/>
                    <a:pt x="220" y="279"/>
                    <a:pt x="219" y="280"/>
                  </a:cubicBezTo>
                  <a:cubicBezTo>
                    <a:pt x="216" y="280"/>
                    <a:pt x="214" y="279"/>
                    <a:pt x="213" y="278"/>
                  </a:cubicBezTo>
                  <a:cubicBezTo>
                    <a:pt x="212" y="278"/>
                    <a:pt x="212" y="278"/>
                    <a:pt x="211" y="279"/>
                  </a:cubicBezTo>
                  <a:cubicBezTo>
                    <a:pt x="212" y="279"/>
                    <a:pt x="212" y="279"/>
                    <a:pt x="212" y="279"/>
                  </a:cubicBezTo>
                  <a:cubicBezTo>
                    <a:pt x="213" y="282"/>
                    <a:pt x="209" y="282"/>
                    <a:pt x="207" y="281"/>
                  </a:cubicBezTo>
                  <a:cubicBezTo>
                    <a:pt x="202" y="283"/>
                    <a:pt x="196" y="286"/>
                    <a:pt x="190" y="289"/>
                  </a:cubicBezTo>
                  <a:cubicBezTo>
                    <a:pt x="192" y="291"/>
                    <a:pt x="192" y="293"/>
                    <a:pt x="191" y="296"/>
                  </a:cubicBezTo>
                  <a:cubicBezTo>
                    <a:pt x="181" y="296"/>
                    <a:pt x="181" y="296"/>
                    <a:pt x="181" y="296"/>
                  </a:cubicBezTo>
                  <a:cubicBezTo>
                    <a:pt x="181" y="295"/>
                    <a:pt x="182" y="295"/>
                    <a:pt x="182" y="294"/>
                  </a:cubicBezTo>
                  <a:cubicBezTo>
                    <a:pt x="171" y="300"/>
                    <a:pt x="160" y="307"/>
                    <a:pt x="150" y="314"/>
                  </a:cubicBezTo>
                  <a:cubicBezTo>
                    <a:pt x="535" y="242"/>
                    <a:pt x="534" y="241"/>
                    <a:pt x="534" y="240"/>
                  </a:cubicBezTo>
                  <a:cubicBezTo>
                    <a:pt x="532" y="240"/>
                    <a:pt x="531" y="240"/>
                    <a:pt x="530" y="239"/>
                  </a:cubicBezTo>
                  <a:cubicBezTo>
                    <a:pt x="531" y="241"/>
                    <a:pt x="532" y="243"/>
                    <a:pt x="535" y="243"/>
                  </a:cubicBezTo>
                  <a:cubicBezTo>
                    <a:pt x="285" y="256"/>
                    <a:pt x="286" y="257"/>
                    <a:pt x="287" y="259"/>
                  </a:cubicBezTo>
                  <a:cubicBezTo>
                    <a:pt x="294" y="257"/>
                    <a:pt x="300" y="255"/>
                    <a:pt x="307" y="254"/>
                  </a:cubicBezTo>
                  <a:cubicBezTo>
                    <a:pt x="305" y="252"/>
                    <a:pt x="305" y="250"/>
                    <a:pt x="305" y="248"/>
                  </a:cubicBezTo>
                  <a:cubicBezTo>
                    <a:pt x="304" y="248"/>
                    <a:pt x="302" y="249"/>
                    <a:pt x="301" y="249"/>
                  </a:cubicBezTo>
                  <a:cubicBezTo>
                    <a:pt x="301" y="251"/>
                    <a:pt x="301" y="253"/>
                    <a:pt x="298" y="254"/>
                  </a:cubicBezTo>
                  <a:cubicBezTo>
                    <a:pt x="297" y="253"/>
                    <a:pt x="296" y="251"/>
                    <a:pt x="294" y="250"/>
                  </a:cubicBezTo>
                  <a:cubicBezTo>
                    <a:pt x="292" y="251"/>
                    <a:pt x="291" y="251"/>
                    <a:pt x="289" y="251"/>
                  </a:cubicBezTo>
                  <a:cubicBezTo>
                    <a:pt x="289" y="252"/>
                    <a:pt x="290" y="252"/>
                    <a:pt x="289" y="253"/>
                  </a:cubicBezTo>
                  <a:cubicBezTo>
                    <a:pt x="288" y="254"/>
                    <a:pt x="285" y="254"/>
                    <a:pt x="284" y="256"/>
                  </a:cubicBezTo>
                  <a:cubicBezTo>
                    <a:pt x="312" y="248"/>
                    <a:pt x="313" y="249"/>
                    <a:pt x="316" y="249"/>
                  </a:cubicBezTo>
                  <a:cubicBezTo>
                    <a:pt x="316" y="250"/>
                    <a:pt x="316" y="251"/>
                    <a:pt x="316" y="252"/>
                  </a:cubicBezTo>
                  <a:cubicBezTo>
                    <a:pt x="319" y="252"/>
                    <a:pt x="322" y="251"/>
                    <a:pt x="326" y="251"/>
                  </a:cubicBezTo>
                  <a:cubicBezTo>
                    <a:pt x="326" y="250"/>
                    <a:pt x="326" y="250"/>
                    <a:pt x="326" y="249"/>
                  </a:cubicBezTo>
                  <a:cubicBezTo>
                    <a:pt x="329" y="249"/>
                    <a:pt x="331" y="249"/>
                    <a:pt x="332" y="250"/>
                  </a:cubicBezTo>
                  <a:cubicBezTo>
                    <a:pt x="334" y="249"/>
                    <a:pt x="336" y="249"/>
                    <a:pt x="338" y="249"/>
                  </a:cubicBezTo>
                  <a:cubicBezTo>
                    <a:pt x="338" y="245"/>
                    <a:pt x="335" y="242"/>
                    <a:pt x="341" y="245"/>
                  </a:cubicBezTo>
                  <a:cubicBezTo>
                    <a:pt x="341" y="244"/>
                    <a:pt x="341" y="243"/>
                    <a:pt x="341" y="242"/>
                  </a:cubicBezTo>
                  <a:cubicBezTo>
                    <a:pt x="338" y="243"/>
                    <a:pt x="336" y="243"/>
                    <a:pt x="334" y="243"/>
                  </a:cubicBezTo>
                  <a:cubicBezTo>
                    <a:pt x="334" y="245"/>
                    <a:pt x="335" y="246"/>
                    <a:pt x="334" y="248"/>
                  </a:cubicBezTo>
                  <a:cubicBezTo>
                    <a:pt x="331" y="248"/>
                    <a:pt x="329" y="248"/>
                    <a:pt x="326" y="248"/>
                  </a:cubicBezTo>
                  <a:cubicBezTo>
                    <a:pt x="326" y="246"/>
                    <a:pt x="326" y="245"/>
                    <a:pt x="326" y="244"/>
                  </a:cubicBezTo>
                  <a:cubicBezTo>
                    <a:pt x="321" y="245"/>
                    <a:pt x="316" y="246"/>
                    <a:pt x="311" y="247"/>
                  </a:cubicBezTo>
                  <a:cubicBezTo>
                    <a:pt x="109" y="317"/>
                    <a:pt x="111" y="317"/>
                    <a:pt x="112" y="317"/>
                  </a:cubicBezTo>
                  <a:cubicBezTo>
                    <a:pt x="112" y="317"/>
                    <a:pt x="113" y="317"/>
                    <a:pt x="113" y="316"/>
                  </a:cubicBezTo>
                  <a:cubicBezTo>
                    <a:pt x="113" y="316"/>
                    <a:pt x="113" y="316"/>
                    <a:pt x="113" y="316"/>
                  </a:cubicBezTo>
                  <a:cubicBezTo>
                    <a:pt x="112" y="316"/>
                    <a:pt x="112" y="315"/>
                    <a:pt x="112" y="314"/>
                  </a:cubicBezTo>
                  <a:cubicBezTo>
                    <a:pt x="116" y="314"/>
                    <a:pt x="116" y="314"/>
                    <a:pt x="116" y="314"/>
                  </a:cubicBezTo>
                  <a:cubicBezTo>
                    <a:pt x="124" y="308"/>
                    <a:pt x="133" y="302"/>
                    <a:pt x="141" y="296"/>
                  </a:cubicBezTo>
                  <a:cubicBezTo>
                    <a:pt x="131" y="296"/>
                    <a:pt x="131" y="296"/>
                    <a:pt x="131" y="296"/>
                  </a:cubicBezTo>
                  <a:cubicBezTo>
                    <a:pt x="131" y="296"/>
                    <a:pt x="131" y="296"/>
                    <a:pt x="131" y="296"/>
                  </a:cubicBezTo>
                  <a:cubicBezTo>
                    <a:pt x="122" y="302"/>
                    <a:pt x="114" y="308"/>
                    <a:pt x="105" y="315"/>
                  </a:cubicBezTo>
                  <a:cubicBezTo>
                    <a:pt x="106" y="315"/>
                    <a:pt x="107" y="316"/>
                    <a:pt x="109" y="318"/>
                  </a:cubicBezTo>
                  <a:cubicBezTo>
                    <a:pt x="149" y="1132"/>
                    <a:pt x="150" y="1133"/>
                    <a:pt x="150" y="1134"/>
                  </a:cubicBezTo>
                  <a:cubicBezTo>
                    <a:pt x="154" y="1134"/>
                    <a:pt x="154" y="1134"/>
                    <a:pt x="154" y="1134"/>
                  </a:cubicBezTo>
                  <a:cubicBezTo>
                    <a:pt x="154" y="1134"/>
                    <a:pt x="155" y="1135"/>
                    <a:pt x="155" y="1135"/>
                  </a:cubicBezTo>
                  <a:cubicBezTo>
                    <a:pt x="155" y="1135"/>
                    <a:pt x="156" y="1134"/>
                    <a:pt x="156" y="1134"/>
                  </a:cubicBezTo>
                  <a:cubicBezTo>
                    <a:pt x="158" y="1128"/>
                    <a:pt x="161" y="1122"/>
                    <a:pt x="163" y="1116"/>
                  </a:cubicBezTo>
                  <a:cubicBezTo>
                    <a:pt x="156" y="1116"/>
                    <a:pt x="156" y="1116"/>
                    <a:pt x="156" y="1116"/>
                  </a:cubicBezTo>
                  <a:cubicBezTo>
                    <a:pt x="154" y="1121"/>
                    <a:pt x="152" y="1126"/>
                    <a:pt x="150" y="1131"/>
                  </a:cubicBezTo>
                  <a:cubicBezTo>
                    <a:pt x="1076" y="1102"/>
                    <a:pt x="1072" y="1103"/>
                    <a:pt x="1069" y="1104"/>
                  </a:cubicBezTo>
                  <a:cubicBezTo>
                    <a:pt x="1069" y="1104"/>
                    <a:pt x="1069" y="1103"/>
                    <a:pt x="1068" y="1103"/>
                  </a:cubicBezTo>
                  <a:cubicBezTo>
                    <a:pt x="1068" y="1103"/>
                    <a:pt x="1068" y="1104"/>
                    <a:pt x="1067" y="1104"/>
                  </a:cubicBezTo>
                  <a:cubicBezTo>
                    <a:pt x="1067" y="1106"/>
                    <a:pt x="1066" y="1106"/>
                    <a:pt x="1064" y="1107"/>
                  </a:cubicBezTo>
                  <a:cubicBezTo>
                    <a:pt x="1055" y="1113"/>
                    <a:pt x="1046" y="1120"/>
                    <a:pt x="1037" y="1126"/>
                  </a:cubicBezTo>
                  <a:cubicBezTo>
                    <a:pt x="1049" y="1126"/>
                    <a:pt x="1049" y="1126"/>
                    <a:pt x="1049" y="1126"/>
                  </a:cubicBezTo>
                  <a:cubicBezTo>
                    <a:pt x="1059" y="1119"/>
                    <a:pt x="1068" y="1112"/>
                    <a:pt x="1077" y="1104"/>
                  </a:cubicBezTo>
                  <a:cubicBezTo>
                    <a:pt x="1077" y="1104"/>
                    <a:pt x="1077" y="1103"/>
                    <a:pt x="1077" y="1102"/>
                  </a:cubicBezTo>
                  <a:cubicBezTo>
                    <a:pt x="1078" y="1102"/>
                    <a:pt x="1078" y="1102"/>
                    <a:pt x="1078" y="1102"/>
                  </a:cubicBezTo>
                  <a:cubicBezTo>
                    <a:pt x="1078" y="1100"/>
                    <a:pt x="1078" y="1098"/>
                    <a:pt x="1076" y="1097"/>
                  </a:cubicBezTo>
                  <a:cubicBezTo>
                    <a:pt x="1076" y="1097"/>
                    <a:pt x="1075" y="1098"/>
                    <a:pt x="1074" y="1098"/>
                  </a:cubicBezTo>
                  <a:cubicBezTo>
                    <a:pt x="192" y="1197"/>
                    <a:pt x="196" y="1191"/>
                    <a:pt x="201" y="1185"/>
                  </a:cubicBezTo>
                  <a:cubicBezTo>
                    <a:pt x="200" y="1183"/>
                    <a:pt x="200" y="1181"/>
                    <a:pt x="199" y="1179"/>
                  </a:cubicBezTo>
                  <a:cubicBezTo>
                    <a:pt x="199" y="1178"/>
                    <a:pt x="198" y="1178"/>
                    <a:pt x="198" y="1177"/>
                  </a:cubicBezTo>
                  <a:cubicBezTo>
                    <a:pt x="197" y="1179"/>
                    <a:pt x="196" y="1180"/>
                    <a:pt x="195" y="1182"/>
                  </a:cubicBezTo>
                  <a:cubicBezTo>
                    <a:pt x="195" y="1184"/>
                    <a:pt x="195" y="1186"/>
                    <a:pt x="195" y="1187"/>
                  </a:cubicBezTo>
                  <a:cubicBezTo>
                    <a:pt x="195" y="1187"/>
                    <a:pt x="195" y="1187"/>
                    <a:pt x="195" y="1187"/>
                  </a:cubicBezTo>
                  <a:cubicBezTo>
                    <a:pt x="190" y="1187"/>
                    <a:pt x="190" y="1187"/>
                    <a:pt x="190" y="1187"/>
                  </a:cubicBezTo>
                  <a:cubicBezTo>
                    <a:pt x="187" y="1191"/>
                    <a:pt x="184" y="1194"/>
                    <a:pt x="181" y="1198"/>
                  </a:cubicBezTo>
                  <a:cubicBezTo>
                    <a:pt x="178" y="1201"/>
                    <a:pt x="183" y="1205"/>
                    <a:pt x="186" y="1202"/>
                  </a:cubicBezTo>
                  <a:cubicBezTo>
                    <a:pt x="204" y="1178"/>
                    <a:pt x="204" y="1179"/>
                    <a:pt x="204" y="1180"/>
                  </a:cubicBezTo>
                  <a:cubicBezTo>
                    <a:pt x="205" y="1179"/>
                    <a:pt x="206" y="1178"/>
                    <a:pt x="206" y="1177"/>
                  </a:cubicBezTo>
                  <a:cubicBezTo>
                    <a:pt x="206" y="1177"/>
                    <a:pt x="205" y="1176"/>
                    <a:pt x="205" y="1176"/>
                  </a:cubicBezTo>
                  <a:cubicBezTo>
                    <a:pt x="56" y="326"/>
                    <a:pt x="56" y="325"/>
                    <a:pt x="54" y="324"/>
                  </a:cubicBezTo>
                  <a:cubicBezTo>
                    <a:pt x="55" y="324"/>
                    <a:pt x="55" y="324"/>
                    <a:pt x="55" y="323"/>
                  </a:cubicBezTo>
                  <a:cubicBezTo>
                    <a:pt x="56" y="324"/>
                    <a:pt x="56" y="325"/>
                    <a:pt x="58" y="325"/>
                  </a:cubicBezTo>
                  <a:cubicBezTo>
                    <a:pt x="58" y="325"/>
                    <a:pt x="58" y="325"/>
                    <a:pt x="58" y="325"/>
                  </a:cubicBezTo>
                  <a:cubicBezTo>
                    <a:pt x="58" y="323"/>
                    <a:pt x="59" y="323"/>
                    <a:pt x="61" y="323"/>
                  </a:cubicBezTo>
                  <a:cubicBezTo>
                    <a:pt x="61" y="323"/>
                    <a:pt x="62" y="322"/>
                    <a:pt x="62" y="322"/>
                  </a:cubicBezTo>
                  <a:cubicBezTo>
                    <a:pt x="62" y="321"/>
                    <a:pt x="62" y="320"/>
                    <a:pt x="62" y="318"/>
                  </a:cubicBezTo>
                  <a:cubicBezTo>
                    <a:pt x="60" y="315"/>
                    <a:pt x="62" y="325"/>
                    <a:pt x="57" y="323"/>
                  </a:cubicBezTo>
                  <a:cubicBezTo>
                    <a:pt x="56" y="321"/>
                    <a:pt x="56" y="320"/>
                    <a:pt x="57" y="318"/>
                  </a:cubicBezTo>
                  <a:cubicBezTo>
                    <a:pt x="56" y="319"/>
                    <a:pt x="56" y="319"/>
                    <a:pt x="55" y="320"/>
                  </a:cubicBezTo>
                  <a:cubicBezTo>
                    <a:pt x="54" y="320"/>
                    <a:pt x="53" y="321"/>
                    <a:pt x="52" y="322"/>
                  </a:cubicBezTo>
                  <a:cubicBezTo>
                    <a:pt x="52" y="322"/>
                    <a:pt x="52" y="322"/>
                    <a:pt x="52" y="322"/>
                  </a:cubicBezTo>
                  <a:cubicBezTo>
                    <a:pt x="53" y="326"/>
                    <a:pt x="52" y="328"/>
                    <a:pt x="52" y="330"/>
                  </a:cubicBezTo>
                  <a:cubicBezTo>
                    <a:pt x="53" y="329"/>
                    <a:pt x="55" y="328"/>
                    <a:pt x="56" y="327"/>
                  </a:cubicBezTo>
                  <a:cubicBezTo>
                    <a:pt x="1103" y="1102"/>
                    <a:pt x="1102" y="1102"/>
                    <a:pt x="1102" y="1102"/>
                  </a:cubicBezTo>
                  <a:cubicBezTo>
                    <a:pt x="1102" y="1103"/>
                    <a:pt x="1103" y="1103"/>
                    <a:pt x="1103" y="1104"/>
                  </a:cubicBezTo>
                  <a:cubicBezTo>
                    <a:pt x="1104" y="1103"/>
                    <a:pt x="1105" y="1102"/>
                    <a:pt x="1105" y="1102"/>
                  </a:cubicBezTo>
                  <a:cubicBezTo>
                    <a:pt x="1104" y="1102"/>
                    <a:pt x="1104" y="1102"/>
                    <a:pt x="1104" y="1102"/>
                  </a:cubicBezTo>
                  <a:cubicBezTo>
                    <a:pt x="1115" y="1063"/>
                    <a:pt x="1115" y="1063"/>
                    <a:pt x="1114" y="1063"/>
                  </a:cubicBezTo>
                  <a:cubicBezTo>
                    <a:pt x="1114" y="1063"/>
                    <a:pt x="1114" y="1063"/>
                    <a:pt x="1114" y="1063"/>
                  </a:cubicBezTo>
                  <a:cubicBezTo>
                    <a:pt x="1113" y="1064"/>
                    <a:pt x="1113" y="1065"/>
                    <a:pt x="1112" y="1065"/>
                  </a:cubicBezTo>
                  <a:cubicBezTo>
                    <a:pt x="1112" y="1065"/>
                    <a:pt x="1111" y="1066"/>
                    <a:pt x="1111" y="1066"/>
                  </a:cubicBezTo>
                  <a:cubicBezTo>
                    <a:pt x="1111" y="1067"/>
                    <a:pt x="1111" y="1068"/>
                    <a:pt x="1111" y="1070"/>
                  </a:cubicBezTo>
                  <a:cubicBezTo>
                    <a:pt x="1111" y="1070"/>
                    <a:pt x="1111" y="1071"/>
                    <a:pt x="1111" y="1072"/>
                  </a:cubicBezTo>
                  <a:cubicBezTo>
                    <a:pt x="1104" y="1072"/>
                    <a:pt x="1104" y="1072"/>
                    <a:pt x="1104" y="1072"/>
                  </a:cubicBezTo>
                  <a:cubicBezTo>
                    <a:pt x="1098" y="1078"/>
                    <a:pt x="1091" y="1084"/>
                    <a:pt x="1085" y="1090"/>
                  </a:cubicBezTo>
                  <a:cubicBezTo>
                    <a:pt x="1095" y="1090"/>
                    <a:pt x="1095" y="1090"/>
                    <a:pt x="1095" y="1090"/>
                  </a:cubicBezTo>
                  <a:cubicBezTo>
                    <a:pt x="1101" y="1084"/>
                    <a:pt x="1108" y="1078"/>
                    <a:pt x="1114" y="1072"/>
                  </a:cubicBezTo>
                  <a:cubicBezTo>
                    <a:pt x="1113" y="1072"/>
                    <a:pt x="1113" y="1072"/>
                    <a:pt x="1113" y="1072"/>
                  </a:cubicBezTo>
                  <a:cubicBezTo>
                    <a:pt x="1110" y="1068"/>
                    <a:pt x="1115" y="1067"/>
                    <a:pt x="1115" y="1063"/>
                  </a:cubicBezTo>
                  <a:cubicBezTo>
                    <a:pt x="1141" y="1060"/>
                    <a:pt x="1139" y="1062"/>
                    <a:pt x="1137" y="1064"/>
                  </a:cubicBezTo>
                  <a:cubicBezTo>
                    <a:pt x="1139" y="1065"/>
                    <a:pt x="1140" y="1065"/>
                    <a:pt x="1142" y="1065"/>
                  </a:cubicBezTo>
                  <a:cubicBezTo>
                    <a:pt x="1142" y="1066"/>
                    <a:pt x="1142" y="1067"/>
                    <a:pt x="1143" y="1068"/>
                  </a:cubicBezTo>
                  <a:cubicBezTo>
                    <a:pt x="1144" y="1067"/>
                    <a:pt x="1145" y="1066"/>
                    <a:pt x="1145" y="1065"/>
                  </a:cubicBezTo>
                  <a:cubicBezTo>
                    <a:pt x="1146" y="1063"/>
                    <a:pt x="1146" y="1062"/>
                    <a:pt x="1147" y="1061"/>
                  </a:cubicBezTo>
                  <a:cubicBezTo>
                    <a:pt x="1147" y="1059"/>
                    <a:pt x="1146" y="1057"/>
                    <a:pt x="1147" y="1055"/>
                  </a:cubicBezTo>
                  <a:cubicBezTo>
                    <a:pt x="1147" y="1055"/>
                    <a:pt x="1147" y="1055"/>
                    <a:pt x="1147" y="1055"/>
                  </a:cubicBezTo>
                  <a:cubicBezTo>
                    <a:pt x="1146" y="1056"/>
                    <a:pt x="1145" y="1057"/>
                    <a:pt x="1143" y="1057"/>
                  </a:cubicBezTo>
                  <a:cubicBezTo>
                    <a:pt x="548" y="270"/>
                    <a:pt x="524" y="263"/>
                    <a:pt x="499" y="258"/>
                  </a:cubicBezTo>
                  <a:cubicBezTo>
                    <a:pt x="468" y="258"/>
                    <a:pt x="468" y="258"/>
                    <a:pt x="468" y="258"/>
                  </a:cubicBezTo>
                  <a:cubicBezTo>
                    <a:pt x="482" y="261"/>
                    <a:pt x="495" y="264"/>
                    <a:pt x="509" y="267"/>
                  </a:cubicBezTo>
                  <a:cubicBezTo>
                    <a:pt x="518" y="270"/>
                    <a:pt x="528" y="272"/>
                    <a:pt x="538" y="275"/>
                  </a:cubicBezTo>
                  <a:cubicBezTo>
                    <a:pt x="562" y="274"/>
                    <a:pt x="562" y="274"/>
                    <a:pt x="562" y="274"/>
                  </a:cubicBezTo>
                  <a:cubicBezTo>
                    <a:pt x="563" y="276"/>
                    <a:pt x="563" y="278"/>
                    <a:pt x="564" y="280"/>
                  </a:cubicBezTo>
                  <a:cubicBezTo>
                    <a:pt x="565" y="280"/>
                    <a:pt x="565" y="280"/>
                    <a:pt x="565" y="281"/>
                  </a:cubicBezTo>
                  <a:cubicBezTo>
                    <a:pt x="565" y="279"/>
                    <a:pt x="565" y="278"/>
                    <a:pt x="566" y="277"/>
                  </a:cubicBezTo>
                  <a:cubicBezTo>
                    <a:pt x="568" y="277"/>
                    <a:pt x="570" y="278"/>
                    <a:pt x="572" y="279"/>
                  </a:cubicBezTo>
                  <a:cubicBezTo>
                    <a:pt x="573" y="277"/>
                    <a:pt x="577" y="278"/>
                    <a:pt x="577" y="281"/>
                  </a:cubicBezTo>
                  <a:cubicBezTo>
                    <a:pt x="576" y="281"/>
                    <a:pt x="575" y="281"/>
                    <a:pt x="574" y="282"/>
                  </a:cubicBezTo>
                  <a:cubicBezTo>
                    <a:pt x="574" y="282"/>
                    <a:pt x="575" y="282"/>
                    <a:pt x="575" y="283"/>
                  </a:cubicBezTo>
                  <a:cubicBezTo>
                    <a:pt x="577" y="283"/>
                    <a:pt x="578" y="283"/>
                    <a:pt x="580" y="284"/>
                  </a:cubicBezTo>
                  <a:cubicBezTo>
                    <a:pt x="578" y="283"/>
                    <a:pt x="581" y="281"/>
                    <a:pt x="580" y="278"/>
                  </a:cubicBezTo>
                  <a:cubicBezTo>
                    <a:pt x="588" y="279"/>
                    <a:pt x="593" y="282"/>
                    <a:pt x="600" y="281"/>
                  </a:cubicBezTo>
                  <a:cubicBezTo>
                    <a:pt x="601" y="281"/>
                    <a:pt x="601" y="281"/>
                    <a:pt x="601" y="280"/>
                  </a:cubicBezTo>
                  <a:cubicBezTo>
                    <a:pt x="593" y="279"/>
                    <a:pt x="585" y="277"/>
                    <a:pt x="577" y="276"/>
                  </a:cubicBezTo>
                  <a:cubicBezTo>
                    <a:pt x="575" y="276"/>
                    <a:pt x="574" y="276"/>
                    <a:pt x="573" y="275"/>
                  </a:cubicBezTo>
                  <a:cubicBezTo>
                    <a:pt x="142" y="1091"/>
                    <a:pt x="144" y="1086"/>
                    <a:pt x="146" y="1081"/>
                  </a:cubicBezTo>
                  <a:cubicBezTo>
                    <a:pt x="139" y="1081"/>
                    <a:pt x="139" y="1081"/>
                    <a:pt x="139" y="1081"/>
                  </a:cubicBezTo>
                  <a:cubicBezTo>
                    <a:pt x="137" y="1085"/>
                    <a:pt x="135" y="1090"/>
                    <a:pt x="133" y="1094"/>
                  </a:cubicBezTo>
                  <a:cubicBezTo>
                    <a:pt x="132" y="1098"/>
                    <a:pt x="138" y="1101"/>
                    <a:pt x="140" y="1097"/>
                  </a:cubicBezTo>
                  <a:cubicBezTo>
                    <a:pt x="698" y="246"/>
                    <a:pt x="698" y="246"/>
                    <a:pt x="698" y="246"/>
                  </a:cubicBezTo>
                  <a:cubicBezTo>
                    <a:pt x="698" y="245"/>
                    <a:pt x="698" y="244"/>
                    <a:pt x="699" y="243"/>
                  </a:cubicBezTo>
                  <a:cubicBezTo>
                    <a:pt x="697" y="244"/>
                    <a:pt x="696" y="245"/>
                    <a:pt x="696" y="246"/>
                  </a:cubicBezTo>
                  <a:cubicBezTo>
                    <a:pt x="696" y="246"/>
                    <a:pt x="697" y="246"/>
                    <a:pt x="698" y="246"/>
                  </a:cubicBezTo>
                  <a:cubicBezTo>
                    <a:pt x="549" y="244"/>
                    <a:pt x="548" y="244"/>
                    <a:pt x="548" y="244"/>
                  </a:cubicBezTo>
                  <a:cubicBezTo>
                    <a:pt x="548" y="246"/>
                    <a:pt x="552" y="247"/>
                    <a:pt x="551" y="251"/>
                  </a:cubicBezTo>
                  <a:cubicBezTo>
                    <a:pt x="552" y="251"/>
                    <a:pt x="553" y="251"/>
                    <a:pt x="554" y="251"/>
                  </a:cubicBezTo>
                  <a:cubicBezTo>
                    <a:pt x="555" y="251"/>
                    <a:pt x="557" y="251"/>
                    <a:pt x="558" y="251"/>
                  </a:cubicBezTo>
                  <a:cubicBezTo>
                    <a:pt x="558" y="250"/>
                    <a:pt x="556" y="251"/>
                    <a:pt x="555" y="250"/>
                  </a:cubicBezTo>
                  <a:cubicBezTo>
                    <a:pt x="555" y="248"/>
                    <a:pt x="555" y="246"/>
                    <a:pt x="555" y="245"/>
                  </a:cubicBezTo>
                  <a:cubicBezTo>
                    <a:pt x="553" y="244"/>
                    <a:pt x="551" y="244"/>
                    <a:pt x="549" y="243"/>
                  </a:cubicBezTo>
                  <a:cubicBezTo>
                    <a:pt x="561" y="248"/>
                    <a:pt x="565" y="247"/>
                    <a:pt x="565" y="250"/>
                  </a:cubicBezTo>
                  <a:cubicBezTo>
                    <a:pt x="563" y="251"/>
                    <a:pt x="559" y="250"/>
                    <a:pt x="559" y="252"/>
                  </a:cubicBezTo>
                  <a:cubicBezTo>
                    <a:pt x="562" y="253"/>
                    <a:pt x="564" y="253"/>
                    <a:pt x="567" y="254"/>
                  </a:cubicBezTo>
                  <a:cubicBezTo>
                    <a:pt x="567" y="252"/>
                    <a:pt x="566" y="249"/>
                    <a:pt x="567" y="247"/>
                  </a:cubicBezTo>
                  <a:cubicBezTo>
                    <a:pt x="565" y="247"/>
                    <a:pt x="563" y="246"/>
                    <a:pt x="561" y="246"/>
                  </a:cubicBezTo>
                  <a:cubicBezTo>
                    <a:pt x="560" y="246"/>
                    <a:pt x="560" y="246"/>
                    <a:pt x="559" y="247"/>
                  </a:cubicBezTo>
                  <a:cubicBezTo>
                    <a:pt x="336" y="776"/>
                    <a:pt x="334" y="778"/>
                    <a:pt x="331" y="777"/>
                  </a:cubicBezTo>
                  <a:cubicBezTo>
                    <a:pt x="330" y="781"/>
                    <a:pt x="329" y="785"/>
                    <a:pt x="328" y="788"/>
                  </a:cubicBezTo>
                  <a:cubicBezTo>
                    <a:pt x="328" y="788"/>
                    <a:pt x="328" y="788"/>
                    <a:pt x="328" y="789"/>
                  </a:cubicBezTo>
                  <a:cubicBezTo>
                    <a:pt x="328" y="789"/>
                    <a:pt x="328" y="789"/>
                    <a:pt x="328" y="790"/>
                  </a:cubicBezTo>
                  <a:cubicBezTo>
                    <a:pt x="320" y="825"/>
                    <a:pt x="317" y="861"/>
                    <a:pt x="317" y="897"/>
                  </a:cubicBezTo>
                  <a:cubicBezTo>
                    <a:pt x="317" y="897"/>
                    <a:pt x="317" y="897"/>
                    <a:pt x="317" y="897"/>
                  </a:cubicBezTo>
                  <a:cubicBezTo>
                    <a:pt x="318" y="897"/>
                    <a:pt x="318" y="898"/>
                    <a:pt x="318" y="899"/>
                  </a:cubicBezTo>
                  <a:cubicBezTo>
                    <a:pt x="319" y="899"/>
                    <a:pt x="319" y="899"/>
                    <a:pt x="320" y="899"/>
                  </a:cubicBezTo>
                  <a:cubicBezTo>
                    <a:pt x="320" y="900"/>
                    <a:pt x="320" y="901"/>
                    <a:pt x="320" y="901"/>
                  </a:cubicBezTo>
                  <a:cubicBezTo>
                    <a:pt x="317" y="901"/>
                    <a:pt x="317" y="901"/>
                    <a:pt x="317" y="901"/>
                  </a:cubicBezTo>
                  <a:cubicBezTo>
                    <a:pt x="318" y="916"/>
                    <a:pt x="319" y="931"/>
                    <a:pt x="321" y="946"/>
                  </a:cubicBezTo>
                  <a:cubicBezTo>
                    <a:pt x="321" y="952"/>
                    <a:pt x="322" y="957"/>
                    <a:pt x="323" y="963"/>
                  </a:cubicBezTo>
                  <a:cubicBezTo>
                    <a:pt x="324" y="962"/>
                    <a:pt x="325" y="962"/>
                    <a:pt x="327" y="962"/>
                  </a:cubicBezTo>
                  <a:cubicBezTo>
                    <a:pt x="327" y="963"/>
                    <a:pt x="328" y="964"/>
                    <a:pt x="327" y="966"/>
                  </a:cubicBezTo>
                  <a:cubicBezTo>
                    <a:pt x="326" y="966"/>
                    <a:pt x="325" y="966"/>
                    <a:pt x="323" y="966"/>
                  </a:cubicBezTo>
                  <a:cubicBezTo>
                    <a:pt x="329" y="999"/>
                    <a:pt x="340" y="1031"/>
                    <a:pt x="354" y="1061"/>
                  </a:cubicBezTo>
                  <a:cubicBezTo>
                    <a:pt x="355" y="1061"/>
                    <a:pt x="355" y="1061"/>
                    <a:pt x="355" y="1061"/>
                  </a:cubicBezTo>
                  <a:cubicBezTo>
                    <a:pt x="357" y="1062"/>
                    <a:pt x="359" y="1063"/>
                    <a:pt x="362" y="1063"/>
                  </a:cubicBezTo>
                  <a:cubicBezTo>
                    <a:pt x="358" y="1056"/>
                    <a:pt x="355" y="1049"/>
                    <a:pt x="352" y="1042"/>
                  </a:cubicBezTo>
                  <a:cubicBezTo>
                    <a:pt x="352" y="1042"/>
                    <a:pt x="352" y="1042"/>
                    <a:pt x="351" y="1042"/>
                  </a:cubicBezTo>
                  <a:cubicBezTo>
                    <a:pt x="348" y="1040"/>
                    <a:pt x="343" y="1038"/>
                    <a:pt x="345" y="1033"/>
                  </a:cubicBezTo>
                  <a:cubicBezTo>
                    <a:pt x="346" y="1033"/>
                    <a:pt x="347" y="1033"/>
                    <a:pt x="348" y="1033"/>
                  </a:cubicBezTo>
                  <a:cubicBezTo>
                    <a:pt x="345" y="1024"/>
                    <a:pt x="342" y="1016"/>
                    <a:pt x="340" y="1008"/>
                  </a:cubicBezTo>
                  <a:cubicBezTo>
                    <a:pt x="340" y="1008"/>
                    <a:pt x="340" y="1008"/>
                    <a:pt x="340" y="1008"/>
                  </a:cubicBezTo>
                  <a:cubicBezTo>
                    <a:pt x="334" y="1008"/>
                    <a:pt x="334" y="1008"/>
                    <a:pt x="334" y="1008"/>
                  </a:cubicBezTo>
                  <a:cubicBezTo>
                    <a:pt x="334" y="1005"/>
                    <a:pt x="334" y="1003"/>
                    <a:pt x="335" y="1002"/>
                  </a:cubicBezTo>
                  <a:cubicBezTo>
                    <a:pt x="336" y="1002"/>
                    <a:pt x="337" y="1002"/>
                    <a:pt x="338" y="1002"/>
                  </a:cubicBezTo>
                  <a:cubicBezTo>
                    <a:pt x="335" y="992"/>
                    <a:pt x="333" y="982"/>
                    <a:pt x="331" y="972"/>
                  </a:cubicBezTo>
                  <a:cubicBezTo>
                    <a:pt x="328" y="972"/>
                    <a:pt x="328" y="972"/>
                    <a:pt x="328" y="972"/>
                  </a:cubicBezTo>
                  <a:cubicBezTo>
                    <a:pt x="328" y="972"/>
                    <a:pt x="328" y="972"/>
                    <a:pt x="328" y="971"/>
                  </a:cubicBezTo>
                  <a:cubicBezTo>
                    <a:pt x="329" y="972"/>
                    <a:pt x="330" y="972"/>
                    <a:pt x="331" y="972"/>
                  </a:cubicBezTo>
                  <a:cubicBezTo>
                    <a:pt x="328" y="957"/>
                    <a:pt x="326" y="942"/>
                    <a:pt x="325" y="927"/>
                  </a:cubicBezTo>
                  <a:cubicBezTo>
                    <a:pt x="325" y="927"/>
                    <a:pt x="325" y="927"/>
                    <a:pt x="325" y="927"/>
                  </a:cubicBezTo>
                  <a:cubicBezTo>
                    <a:pt x="325" y="926"/>
                    <a:pt x="325" y="924"/>
                    <a:pt x="325" y="923"/>
                  </a:cubicBezTo>
                  <a:cubicBezTo>
                    <a:pt x="324" y="916"/>
                    <a:pt x="324" y="908"/>
                    <a:pt x="324" y="901"/>
                  </a:cubicBezTo>
                  <a:cubicBezTo>
                    <a:pt x="321" y="901"/>
                    <a:pt x="321" y="901"/>
                    <a:pt x="321" y="901"/>
                  </a:cubicBezTo>
                  <a:cubicBezTo>
                    <a:pt x="322" y="901"/>
                    <a:pt x="323" y="900"/>
                    <a:pt x="324" y="900"/>
                  </a:cubicBezTo>
                  <a:cubicBezTo>
                    <a:pt x="324" y="886"/>
                    <a:pt x="324" y="872"/>
                    <a:pt x="325" y="858"/>
                  </a:cubicBezTo>
                  <a:cubicBezTo>
                    <a:pt x="324" y="856"/>
                    <a:pt x="322" y="854"/>
                    <a:pt x="321" y="853"/>
                  </a:cubicBezTo>
                  <a:cubicBezTo>
                    <a:pt x="323" y="852"/>
                    <a:pt x="324" y="852"/>
                    <a:pt x="325" y="852"/>
                  </a:cubicBezTo>
                  <a:cubicBezTo>
                    <a:pt x="327" y="836"/>
                    <a:pt x="329" y="819"/>
                    <a:pt x="332" y="803"/>
                  </a:cubicBezTo>
                  <a:cubicBezTo>
                    <a:pt x="333" y="798"/>
                    <a:pt x="334" y="794"/>
                    <a:pt x="335" y="789"/>
                  </a:cubicBezTo>
                  <a:cubicBezTo>
                    <a:pt x="331" y="787"/>
                    <a:pt x="329" y="783"/>
                    <a:pt x="331" y="778"/>
                  </a:cubicBezTo>
                  <a:cubicBezTo>
                    <a:pt x="333" y="778"/>
                    <a:pt x="337" y="779"/>
                    <a:pt x="337" y="778"/>
                  </a:cubicBezTo>
                  <a:cubicBezTo>
                    <a:pt x="307" y="781"/>
                    <a:pt x="307" y="782"/>
                    <a:pt x="307" y="783"/>
                  </a:cubicBezTo>
                  <a:cubicBezTo>
                    <a:pt x="307" y="782"/>
                    <a:pt x="308" y="781"/>
                    <a:pt x="308" y="780"/>
                  </a:cubicBezTo>
                  <a:cubicBezTo>
                    <a:pt x="332" y="672"/>
                    <a:pt x="330" y="672"/>
                    <a:pt x="330" y="673"/>
                  </a:cubicBezTo>
                  <a:cubicBezTo>
                    <a:pt x="331" y="673"/>
                    <a:pt x="332" y="673"/>
                    <a:pt x="332" y="674"/>
                  </a:cubicBezTo>
                  <a:cubicBezTo>
                    <a:pt x="333" y="673"/>
                    <a:pt x="333" y="673"/>
                    <a:pt x="333" y="672"/>
                  </a:cubicBezTo>
                  <a:cubicBezTo>
                    <a:pt x="320" y="738"/>
                    <a:pt x="314" y="758"/>
                    <a:pt x="308" y="777"/>
                  </a:cubicBezTo>
                  <a:cubicBezTo>
                    <a:pt x="310" y="777"/>
                    <a:pt x="314" y="778"/>
                    <a:pt x="314" y="777"/>
                  </a:cubicBezTo>
                  <a:cubicBezTo>
                    <a:pt x="314" y="776"/>
                    <a:pt x="314" y="776"/>
                    <a:pt x="314" y="776"/>
                  </a:cubicBezTo>
                  <a:cubicBezTo>
                    <a:pt x="316" y="776"/>
                    <a:pt x="316" y="776"/>
                    <a:pt x="316" y="776"/>
                  </a:cubicBezTo>
                  <a:cubicBezTo>
                    <a:pt x="317" y="770"/>
                    <a:pt x="319" y="764"/>
                    <a:pt x="321" y="758"/>
                  </a:cubicBezTo>
                  <a:cubicBezTo>
                    <a:pt x="317" y="758"/>
                    <a:pt x="317" y="758"/>
                    <a:pt x="317" y="758"/>
                  </a:cubicBezTo>
                  <a:cubicBezTo>
                    <a:pt x="318" y="758"/>
                    <a:pt x="319" y="758"/>
                    <a:pt x="321" y="758"/>
                  </a:cubicBezTo>
                  <a:cubicBezTo>
                    <a:pt x="322" y="756"/>
                    <a:pt x="322" y="753"/>
                    <a:pt x="323" y="751"/>
                  </a:cubicBezTo>
                  <a:cubicBezTo>
                    <a:pt x="323" y="750"/>
                    <a:pt x="323" y="749"/>
                    <a:pt x="324" y="749"/>
                  </a:cubicBezTo>
                  <a:cubicBezTo>
                    <a:pt x="327" y="740"/>
                    <a:pt x="331" y="731"/>
                    <a:pt x="334" y="723"/>
                  </a:cubicBezTo>
                  <a:cubicBezTo>
                    <a:pt x="332" y="723"/>
                    <a:pt x="332" y="723"/>
                    <a:pt x="332" y="723"/>
                  </a:cubicBezTo>
                  <a:cubicBezTo>
                    <a:pt x="332" y="722"/>
                    <a:pt x="332" y="722"/>
                    <a:pt x="332" y="722"/>
                  </a:cubicBezTo>
                  <a:cubicBezTo>
                    <a:pt x="331" y="721"/>
                    <a:pt x="329" y="721"/>
                    <a:pt x="328" y="720"/>
                  </a:cubicBezTo>
                  <a:cubicBezTo>
                    <a:pt x="490" y="1172"/>
                    <a:pt x="491" y="1173"/>
                    <a:pt x="493" y="1174"/>
                  </a:cubicBezTo>
                  <a:cubicBezTo>
                    <a:pt x="494" y="1172"/>
                    <a:pt x="497" y="1171"/>
                    <a:pt x="498" y="1169"/>
                  </a:cubicBezTo>
                  <a:cubicBezTo>
                    <a:pt x="489" y="1163"/>
                    <a:pt x="480" y="1156"/>
                    <a:pt x="472" y="1149"/>
                  </a:cubicBezTo>
                  <a:cubicBezTo>
                    <a:pt x="461" y="1149"/>
                    <a:pt x="461" y="1149"/>
                    <a:pt x="461" y="1149"/>
                  </a:cubicBezTo>
                  <a:cubicBezTo>
                    <a:pt x="468" y="1155"/>
                    <a:pt x="475" y="1161"/>
                    <a:pt x="482" y="1167"/>
                  </a:cubicBezTo>
                  <a:cubicBezTo>
                    <a:pt x="491" y="1166"/>
                    <a:pt x="491" y="1166"/>
                    <a:pt x="491" y="1166"/>
                  </a:cubicBezTo>
                  <a:cubicBezTo>
                    <a:pt x="490" y="1169"/>
                    <a:pt x="489" y="1170"/>
                    <a:pt x="488" y="1171"/>
                  </a:cubicBezTo>
                  <a:cubicBezTo>
                    <a:pt x="1006" y="1126"/>
                    <a:pt x="1006" y="1126"/>
                    <a:pt x="1006" y="1126"/>
                  </a:cubicBezTo>
                  <a:cubicBezTo>
                    <a:pt x="1006" y="1128"/>
                    <a:pt x="1006" y="1130"/>
                    <a:pt x="1005" y="1132"/>
                  </a:cubicBezTo>
                  <a:cubicBezTo>
                    <a:pt x="1005" y="1132"/>
                    <a:pt x="1005" y="1132"/>
                    <a:pt x="1005" y="1132"/>
                  </a:cubicBezTo>
                  <a:cubicBezTo>
                    <a:pt x="1005" y="1132"/>
                    <a:pt x="1005" y="1132"/>
                    <a:pt x="1005" y="1132"/>
                  </a:cubicBezTo>
                  <a:cubicBezTo>
                    <a:pt x="1005" y="1132"/>
                    <a:pt x="1005" y="1132"/>
                    <a:pt x="1005" y="1132"/>
                  </a:cubicBezTo>
                  <a:cubicBezTo>
                    <a:pt x="1005" y="1132"/>
                    <a:pt x="1006" y="1133"/>
                    <a:pt x="1006" y="1133"/>
                  </a:cubicBezTo>
                  <a:cubicBezTo>
                    <a:pt x="1007" y="1133"/>
                    <a:pt x="1007" y="1133"/>
                    <a:pt x="1008" y="1132"/>
                  </a:cubicBezTo>
                  <a:cubicBezTo>
                    <a:pt x="1005" y="1132"/>
                    <a:pt x="1006" y="1129"/>
                    <a:pt x="1007" y="1127"/>
                  </a:cubicBezTo>
                  <a:cubicBezTo>
                    <a:pt x="1008" y="1127"/>
                    <a:pt x="1010" y="1127"/>
                    <a:pt x="1011" y="1127"/>
                  </a:cubicBezTo>
                  <a:cubicBezTo>
                    <a:pt x="1011" y="1128"/>
                    <a:pt x="1011" y="1129"/>
                    <a:pt x="1010" y="1130"/>
                  </a:cubicBezTo>
                  <a:cubicBezTo>
                    <a:pt x="1011" y="1130"/>
                    <a:pt x="1011" y="1130"/>
                    <a:pt x="1012" y="1130"/>
                  </a:cubicBezTo>
                  <a:cubicBezTo>
                    <a:pt x="1012" y="1129"/>
                    <a:pt x="1013" y="1129"/>
                    <a:pt x="1013" y="1129"/>
                  </a:cubicBezTo>
                  <a:cubicBezTo>
                    <a:pt x="1013" y="1129"/>
                    <a:pt x="1014" y="1128"/>
                    <a:pt x="1014" y="1128"/>
                  </a:cubicBezTo>
                  <a:cubicBezTo>
                    <a:pt x="1011" y="1128"/>
                    <a:pt x="1010" y="1127"/>
                    <a:pt x="1010" y="1126"/>
                  </a:cubicBezTo>
                  <a:cubicBezTo>
                    <a:pt x="1018" y="1126"/>
                    <a:pt x="1018" y="1126"/>
                    <a:pt x="1018" y="1126"/>
                  </a:cubicBezTo>
                  <a:cubicBezTo>
                    <a:pt x="1027" y="1121"/>
                    <a:pt x="1036" y="1115"/>
                    <a:pt x="1045" y="1109"/>
                  </a:cubicBezTo>
                  <a:cubicBezTo>
                    <a:pt x="1035" y="1109"/>
                    <a:pt x="1035" y="1109"/>
                    <a:pt x="1035" y="1109"/>
                  </a:cubicBezTo>
                  <a:cubicBezTo>
                    <a:pt x="1035" y="1108"/>
                    <a:pt x="1035" y="1107"/>
                    <a:pt x="1035" y="1106"/>
                  </a:cubicBezTo>
                  <a:cubicBezTo>
                    <a:pt x="1025" y="1113"/>
                    <a:pt x="1015" y="1120"/>
                    <a:pt x="1004" y="1126"/>
                  </a:cubicBezTo>
                  <a:cubicBezTo>
                    <a:pt x="766" y="1167"/>
                    <a:pt x="765" y="1167"/>
                    <a:pt x="765" y="1167"/>
                  </a:cubicBezTo>
                  <a:cubicBezTo>
                    <a:pt x="765" y="1167"/>
                    <a:pt x="765" y="1167"/>
                    <a:pt x="765" y="1167"/>
                  </a:cubicBezTo>
                  <a:cubicBezTo>
                    <a:pt x="765" y="1167"/>
                    <a:pt x="766" y="1167"/>
                    <a:pt x="766" y="1167"/>
                  </a:cubicBezTo>
                  <a:cubicBezTo>
                    <a:pt x="815" y="1163"/>
                    <a:pt x="846" y="1159"/>
                    <a:pt x="877" y="1151"/>
                  </a:cubicBezTo>
                  <a:cubicBezTo>
                    <a:pt x="883" y="1149"/>
                    <a:pt x="889" y="1148"/>
                    <a:pt x="896" y="1146"/>
                  </a:cubicBezTo>
                  <a:cubicBezTo>
                    <a:pt x="893" y="1146"/>
                    <a:pt x="893" y="1146"/>
                    <a:pt x="893" y="1146"/>
                  </a:cubicBezTo>
                  <a:cubicBezTo>
                    <a:pt x="892" y="1145"/>
                    <a:pt x="891" y="1145"/>
                    <a:pt x="890" y="1145"/>
                  </a:cubicBezTo>
                  <a:cubicBezTo>
                    <a:pt x="890" y="1143"/>
                    <a:pt x="891" y="1142"/>
                    <a:pt x="892" y="1141"/>
                  </a:cubicBezTo>
                  <a:cubicBezTo>
                    <a:pt x="891" y="1141"/>
                    <a:pt x="890" y="1141"/>
                    <a:pt x="890" y="1141"/>
                  </a:cubicBezTo>
                  <a:cubicBezTo>
                    <a:pt x="890" y="1142"/>
                    <a:pt x="890" y="1142"/>
                    <a:pt x="889" y="1143"/>
                  </a:cubicBezTo>
                  <a:cubicBezTo>
                    <a:pt x="888" y="1142"/>
                    <a:pt x="887" y="1142"/>
                    <a:pt x="886" y="1141"/>
                  </a:cubicBezTo>
                  <a:cubicBezTo>
                    <a:pt x="852" y="1150"/>
                    <a:pt x="818" y="1155"/>
                    <a:pt x="783" y="1158"/>
                  </a:cubicBezTo>
                  <a:cubicBezTo>
                    <a:pt x="783" y="1158"/>
                    <a:pt x="782" y="1157"/>
                    <a:pt x="781" y="1158"/>
                  </a:cubicBezTo>
                  <a:cubicBezTo>
                    <a:pt x="749" y="1161"/>
                    <a:pt x="718" y="1156"/>
                    <a:pt x="687" y="1147"/>
                  </a:cubicBezTo>
                  <a:cubicBezTo>
                    <a:pt x="677" y="1147"/>
                    <a:pt x="677" y="1147"/>
                    <a:pt x="677" y="1147"/>
                  </a:cubicBezTo>
                  <a:cubicBezTo>
                    <a:pt x="677" y="1146"/>
                    <a:pt x="677" y="1145"/>
                    <a:pt x="677" y="1144"/>
                  </a:cubicBezTo>
                  <a:cubicBezTo>
                    <a:pt x="673" y="1143"/>
                    <a:pt x="669" y="1142"/>
                    <a:pt x="666" y="1140"/>
                  </a:cubicBezTo>
                  <a:cubicBezTo>
                    <a:pt x="666" y="1143"/>
                    <a:pt x="666" y="1145"/>
                    <a:pt x="665" y="1147"/>
                  </a:cubicBezTo>
                  <a:cubicBezTo>
                    <a:pt x="684" y="1154"/>
                    <a:pt x="704" y="1160"/>
                    <a:pt x="724" y="1163"/>
                  </a:cubicBezTo>
                  <a:cubicBezTo>
                    <a:pt x="698" y="1164"/>
                    <a:pt x="673" y="1164"/>
                    <a:pt x="647" y="1158"/>
                  </a:cubicBezTo>
                  <a:cubicBezTo>
                    <a:pt x="635" y="1154"/>
                    <a:pt x="624" y="1150"/>
                    <a:pt x="613" y="1145"/>
                  </a:cubicBezTo>
                  <a:cubicBezTo>
                    <a:pt x="612" y="1146"/>
                    <a:pt x="611" y="1147"/>
                    <a:pt x="611" y="1148"/>
                  </a:cubicBezTo>
                  <a:cubicBezTo>
                    <a:pt x="605" y="1148"/>
                    <a:pt x="605" y="1148"/>
                    <a:pt x="605" y="1148"/>
                  </a:cubicBezTo>
                  <a:cubicBezTo>
                    <a:pt x="620" y="1155"/>
                    <a:pt x="635" y="1161"/>
                    <a:pt x="650" y="1165"/>
                  </a:cubicBezTo>
                  <a:cubicBezTo>
                    <a:pt x="657" y="1165"/>
                    <a:pt x="657" y="1165"/>
                    <a:pt x="657" y="1165"/>
                  </a:cubicBezTo>
                  <a:cubicBezTo>
                    <a:pt x="657" y="1166"/>
                    <a:pt x="656" y="1166"/>
                    <a:pt x="656" y="1166"/>
                  </a:cubicBezTo>
                  <a:cubicBezTo>
                    <a:pt x="660" y="1167"/>
                    <a:pt x="664" y="1168"/>
                    <a:pt x="669" y="1169"/>
                  </a:cubicBezTo>
                  <a:cubicBezTo>
                    <a:pt x="668" y="1168"/>
                    <a:pt x="667" y="1168"/>
                    <a:pt x="667" y="1167"/>
                  </a:cubicBezTo>
                  <a:cubicBezTo>
                    <a:pt x="667" y="1167"/>
                    <a:pt x="667" y="1166"/>
                    <a:pt x="667" y="1165"/>
                  </a:cubicBezTo>
                  <a:cubicBezTo>
                    <a:pt x="674" y="1165"/>
                    <a:pt x="674" y="1165"/>
                    <a:pt x="674" y="1165"/>
                  </a:cubicBezTo>
                  <a:cubicBezTo>
                    <a:pt x="674" y="1166"/>
                    <a:pt x="675" y="1167"/>
                    <a:pt x="676" y="1168"/>
                  </a:cubicBezTo>
                  <a:cubicBezTo>
                    <a:pt x="675" y="1166"/>
                    <a:pt x="676" y="1165"/>
                    <a:pt x="677" y="1165"/>
                  </a:cubicBezTo>
                  <a:cubicBezTo>
                    <a:pt x="699" y="1165"/>
                    <a:pt x="699" y="1165"/>
                    <a:pt x="699" y="1165"/>
                  </a:cubicBezTo>
                  <a:cubicBezTo>
                    <a:pt x="700" y="1166"/>
                    <a:pt x="700" y="1168"/>
                    <a:pt x="699" y="1170"/>
                  </a:cubicBezTo>
                  <a:cubicBezTo>
                    <a:pt x="693" y="1172"/>
                    <a:pt x="692" y="1167"/>
                    <a:pt x="687" y="1166"/>
                  </a:cubicBezTo>
                  <a:cubicBezTo>
                    <a:pt x="687" y="1168"/>
                    <a:pt x="686" y="1169"/>
                    <a:pt x="686" y="1171"/>
                  </a:cubicBezTo>
                  <a:cubicBezTo>
                    <a:pt x="687" y="1171"/>
                    <a:pt x="688" y="1171"/>
                    <a:pt x="690" y="1171"/>
                  </a:cubicBezTo>
                  <a:cubicBezTo>
                    <a:pt x="697" y="1171"/>
                    <a:pt x="705" y="1171"/>
                    <a:pt x="712" y="1171"/>
                  </a:cubicBezTo>
                  <a:cubicBezTo>
                    <a:pt x="711" y="1169"/>
                    <a:pt x="710" y="1167"/>
                    <a:pt x="710" y="1165"/>
                  </a:cubicBezTo>
                  <a:cubicBezTo>
                    <a:pt x="718" y="1164"/>
                    <a:pt x="718" y="1164"/>
                    <a:pt x="718" y="1164"/>
                  </a:cubicBezTo>
                  <a:cubicBezTo>
                    <a:pt x="720" y="1166"/>
                    <a:pt x="721" y="1168"/>
                    <a:pt x="721" y="1170"/>
                  </a:cubicBezTo>
                  <a:cubicBezTo>
                    <a:pt x="725" y="1170"/>
                    <a:pt x="729" y="1170"/>
                    <a:pt x="733" y="1170"/>
                  </a:cubicBezTo>
                  <a:cubicBezTo>
                    <a:pt x="733" y="1168"/>
                    <a:pt x="733" y="1166"/>
                    <a:pt x="735" y="1164"/>
                  </a:cubicBezTo>
                  <a:cubicBezTo>
                    <a:pt x="740" y="1164"/>
                    <a:pt x="740" y="1164"/>
                    <a:pt x="740" y="1164"/>
                  </a:cubicBezTo>
                  <a:cubicBezTo>
                    <a:pt x="741" y="1165"/>
                    <a:pt x="741" y="1165"/>
                    <a:pt x="743" y="1165"/>
                  </a:cubicBezTo>
                  <a:cubicBezTo>
                    <a:pt x="743" y="1167"/>
                    <a:pt x="742" y="1168"/>
                    <a:pt x="742" y="1169"/>
                  </a:cubicBezTo>
                  <a:cubicBezTo>
                    <a:pt x="746" y="1169"/>
                    <a:pt x="750" y="1168"/>
                    <a:pt x="755" y="1168"/>
                  </a:cubicBezTo>
                  <a:cubicBezTo>
                    <a:pt x="754" y="1167"/>
                    <a:pt x="754" y="1166"/>
                    <a:pt x="754" y="1164"/>
                  </a:cubicBezTo>
                  <a:cubicBezTo>
                    <a:pt x="771" y="1164"/>
                    <a:pt x="771" y="1164"/>
                    <a:pt x="771" y="1164"/>
                  </a:cubicBezTo>
                  <a:cubicBezTo>
                    <a:pt x="770" y="1165"/>
                    <a:pt x="770" y="1166"/>
                    <a:pt x="770" y="1167"/>
                  </a:cubicBezTo>
                  <a:cubicBezTo>
                    <a:pt x="774" y="1166"/>
                    <a:pt x="779" y="1166"/>
                    <a:pt x="783" y="1166"/>
                  </a:cubicBezTo>
                  <a:cubicBezTo>
                    <a:pt x="96" y="329"/>
                    <a:pt x="96" y="328"/>
                    <a:pt x="94" y="328"/>
                  </a:cubicBezTo>
                  <a:cubicBezTo>
                    <a:pt x="94" y="328"/>
                    <a:pt x="93" y="328"/>
                    <a:pt x="92" y="328"/>
                  </a:cubicBezTo>
                  <a:cubicBezTo>
                    <a:pt x="92" y="330"/>
                    <a:pt x="93" y="330"/>
                    <a:pt x="93" y="332"/>
                  </a:cubicBezTo>
                  <a:cubicBezTo>
                    <a:pt x="94" y="331"/>
                    <a:pt x="95" y="330"/>
                    <a:pt x="96" y="329"/>
                  </a:cubicBezTo>
                  <a:cubicBezTo>
                    <a:pt x="1015" y="1143"/>
                    <a:pt x="1016" y="1142"/>
                    <a:pt x="1018" y="1139"/>
                  </a:cubicBezTo>
                  <a:cubicBezTo>
                    <a:pt x="1016" y="1140"/>
                    <a:pt x="1015" y="1141"/>
                    <a:pt x="1013" y="1142"/>
                  </a:cubicBezTo>
                  <a:cubicBezTo>
                    <a:pt x="188" y="866"/>
                    <a:pt x="187" y="878"/>
                    <a:pt x="185" y="889"/>
                  </a:cubicBezTo>
                  <a:cubicBezTo>
                    <a:pt x="186" y="889"/>
                    <a:pt x="187" y="889"/>
                    <a:pt x="188" y="889"/>
                  </a:cubicBezTo>
                  <a:cubicBezTo>
                    <a:pt x="190" y="890"/>
                    <a:pt x="191" y="892"/>
                    <a:pt x="192" y="893"/>
                  </a:cubicBezTo>
                  <a:cubicBezTo>
                    <a:pt x="194" y="876"/>
                    <a:pt x="196" y="859"/>
                    <a:pt x="198" y="842"/>
                  </a:cubicBezTo>
                  <a:cubicBezTo>
                    <a:pt x="198" y="836"/>
                    <a:pt x="199" y="831"/>
                    <a:pt x="200" y="825"/>
                  </a:cubicBezTo>
                  <a:cubicBezTo>
                    <a:pt x="196" y="825"/>
                    <a:pt x="197" y="828"/>
                    <a:pt x="197" y="831"/>
                  </a:cubicBezTo>
                  <a:cubicBezTo>
                    <a:pt x="194" y="831"/>
                    <a:pt x="194" y="831"/>
                    <a:pt x="194" y="831"/>
                  </a:cubicBezTo>
                  <a:cubicBezTo>
                    <a:pt x="194" y="830"/>
                    <a:pt x="193" y="829"/>
                    <a:pt x="192" y="828"/>
                  </a:cubicBezTo>
                  <a:cubicBezTo>
                    <a:pt x="191" y="836"/>
                    <a:pt x="190" y="844"/>
                    <a:pt x="189" y="852"/>
                  </a:cubicBezTo>
                  <a:cubicBezTo>
                    <a:pt x="190" y="852"/>
                    <a:pt x="191" y="852"/>
                    <a:pt x="191" y="853"/>
                  </a:cubicBezTo>
                  <a:cubicBezTo>
                    <a:pt x="190" y="854"/>
                    <a:pt x="190" y="854"/>
                    <a:pt x="189" y="854"/>
                  </a:cubicBezTo>
                  <a:cubicBezTo>
                    <a:pt x="129" y="1051"/>
                    <a:pt x="130" y="1047"/>
                    <a:pt x="131" y="1043"/>
                  </a:cubicBezTo>
                  <a:cubicBezTo>
                    <a:pt x="131" y="1043"/>
                    <a:pt x="131" y="1043"/>
                    <a:pt x="131" y="1044"/>
                  </a:cubicBezTo>
                  <a:cubicBezTo>
                    <a:pt x="129" y="1042"/>
                    <a:pt x="131" y="1039"/>
                    <a:pt x="133" y="1038"/>
                  </a:cubicBezTo>
                  <a:cubicBezTo>
                    <a:pt x="137" y="1025"/>
                    <a:pt x="141" y="1012"/>
                    <a:pt x="144" y="998"/>
                  </a:cubicBezTo>
                  <a:cubicBezTo>
                    <a:pt x="142" y="998"/>
                    <a:pt x="141" y="996"/>
                    <a:pt x="142" y="994"/>
                  </a:cubicBezTo>
                  <a:cubicBezTo>
                    <a:pt x="141" y="994"/>
                    <a:pt x="140" y="993"/>
                    <a:pt x="140" y="992"/>
                  </a:cubicBezTo>
                  <a:cubicBezTo>
                    <a:pt x="142" y="992"/>
                    <a:pt x="143" y="992"/>
                    <a:pt x="144" y="991"/>
                  </a:cubicBezTo>
                  <a:cubicBezTo>
                    <a:pt x="144" y="992"/>
                    <a:pt x="144" y="992"/>
                    <a:pt x="145" y="992"/>
                  </a:cubicBezTo>
                  <a:cubicBezTo>
                    <a:pt x="145" y="992"/>
                    <a:pt x="145" y="992"/>
                    <a:pt x="145" y="992"/>
                  </a:cubicBezTo>
                  <a:cubicBezTo>
                    <a:pt x="145" y="993"/>
                    <a:pt x="145" y="993"/>
                    <a:pt x="145" y="993"/>
                  </a:cubicBezTo>
                  <a:cubicBezTo>
                    <a:pt x="147" y="984"/>
                    <a:pt x="149" y="974"/>
                    <a:pt x="151" y="965"/>
                  </a:cubicBezTo>
                  <a:cubicBezTo>
                    <a:pt x="150" y="966"/>
                    <a:pt x="149" y="967"/>
                    <a:pt x="147" y="965"/>
                  </a:cubicBezTo>
                  <a:cubicBezTo>
                    <a:pt x="148" y="962"/>
                    <a:pt x="153" y="964"/>
                    <a:pt x="150" y="959"/>
                  </a:cubicBezTo>
                  <a:cubicBezTo>
                    <a:pt x="151" y="959"/>
                    <a:pt x="152" y="958"/>
                    <a:pt x="152" y="958"/>
                  </a:cubicBezTo>
                  <a:cubicBezTo>
                    <a:pt x="154" y="952"/>
                    <a:pt x="155" y="945"/>
                    <a:pt x="156" y="938"/>
                  </a:cubicBezTo>
                  <a:cubicBezTo>
                    <a:pt x="154" y="938"/>
                    <a:pt x="154" y="938"/>
                    <a:pt x="154" y="938"/>
                  </a:cubicBezTo>
                  <a:cubicBezTo>
                    <a:pt x="154" y="938"/>
                    <a:pt x="154" y="938"/>
                    <a:pt x="154" y="938"/>
                  </a:cubicBezTo>
                  <a:cubicBezTo>
                    <a:pt x="154" y="938"/>
                    <a:pt x="153" y="937"/>
                    <a:pt x="153" y="936"/>
                  </a:cubicBezTo>
                  <a:cubicBezTo>
                    <a:pt x="155" y="936"/>
                    <a:pt x="154" y="934"/>
                    <a:pt x="157" y="934"/>
                  </a:cubicBezTo>
                  <a:cubicBezTo>
                    <a:pt x="157" y="933"/>
                    <a:pt x="157" y="931"/>
                    <a:pt x="157" y="930"/>
                  </a:cubicBezTo>
                  <a:cubicBezTo>
                    <a:pt x="156" y="929"/>
                    <a:pt x="155" y="929"/>
                    <a:pt x="153" y="928"/>
                  </a:cubicBezTo>
                  <a:cubicBezTo>
                    <a:pt x="154" y="930"/>
                    <a:pt x="155" y="932"/>
                    <a:pt x="154" y="935"/>
                  </a:cubicBezTo>
                  <a:cubicBezTo>
                    <a:pt x="153" y="935"/>
                    <a:pt x="152" y="935"/>
                    <a:pt x="150" y="935"/>
                  </a:cubicBezTo>
                  <a:cubicBezTo>
                    <a:pt x="149" y="945"/>
                    <a:pt x="147" y="956"/>
                    <a:pt x="145" y="966"/>
                  </a:cubicBezTo>
                  <a:cubicBezTo>
                    <a:pt x="146" y="967"/>
                    <a:pt x="148" y="969"/>
                    <a:pt x="148" y="972"/>
                  </a:cubicBezTo>
                  <a:cubicBezTo>
                    <a:pt x="146" y="972"/>
                    <a:pt x="145" y="972"/>
                    <a:pt x="144" y="972"/>
                  </a:cubicBezTo>
                  <a:cubicBezTo>
                    <a:pt x="139" y="995"/>
                    <a:pt x="133" y="1018"/>
                    <a:pt x="126" y="1040"/>
                  </a:cubicBezTo>
                  <a:cubicBezTo>
                    <a:pt x="127" y="1041"/>
                    <a:pt x="127" y="1043"/>
                    <a:pt x="128" y="1045"/>
                  </a:cubicBezTo>
                  <a:cubicBezTo>
                    <a:pt x="124" y="1045"/>
                    <a:pt x="124" y="1045"/>
                    <a:pt x="124" y="1045"/>
                  </a:cubicBezTo>
                  <a:cubicBezTo>
                    <a:pt x="123" y="1047"/>
                    <a:pt x="122" y="1050"/>
                    <a:pt x="121" y="1052"/>
                  </a:cubicBezTo>
                  <a:cubicBezTo>
                    <a:pt x="120" y="1056"/>
                    <a:pt x="126" y="1058"/>
                    <a:pt x="128" y="1054"/>
                  </a:cubicBezTo>
                  <a:cubicBezTo>
                    <a:pt x="272" y="741"/>
                    <a:pt x="272" y="741"/>
                    <a:pt x="272" y="741"/>
                  </a:cubicBezTo>
                  <a:cubicBezTo>
                    <a:pt x="272" y="741"/>
                    <a:pt x="272" y="741"/>
                    <a:pt x="272" y="740"/>
                  </a:cubicBezTo>
                  <a:cubicBezTo>
                    <a:pt x="240" y="892"/>
                    <a:pt x="240" y="893"/>
                    <a:pt x="240" y="895"/>
                  </a:cubicBezTo>
                  <a:cubicBezTo>
                    <a:pt x="244" y="870"/>
                    <a:pt x="248" y="845"/>
                    <a:pt x="255" y="820"/>
                  </a:cubicBezTo>
                  <a:cubicBezTo>
                    <a:pt x="257" y="809"/>
                    <a:pt x="260" y="798"/>
                    <a:pt x="264" y="787"/>
                  </a:cubicBezTo>
                  <a:cubicBezTo>
                    <a:pt x="263" y="789"/>
                    <a:pt x="263" y="790"/>
                    <a:pt x="263" y="792"/>
                  </a:cubicBezTo>
                  <a:cubicBezTo>
                    <a:pt x="263" y="791"/>
                    <a:pt x="265" y="790"/>
                    <a:pt x="267" y="790"/>
                  </a:cubicBezTo>
                  <a:cubicBezTo>
                    <a:pt x="268" y="793"/>
                    <a:pt x="265" y="792"/>
                    <a:pt x="264" y="793"/>
                  </a:cubicBezTo>
                  <a:cubicBezTo>
                    <a:pt x="266" y="793"/>
                    <a:pt x="266" y="794"/>
                    <a:pt x="267" y="794"/>
                  </a:cubicBezTo>
                  <a:cubicBezTo>
                    <a:pt x="262" y="795"/>
                    <a:pt x="262" y="795"/>
                    <a:pt x="262" y="795"/>
                  </a:cubicBezTo>
                  <a:cubicBezTo>
                    <a:pt x="261" y="800"/>
                    <a:pt x="260" y="806"/>
                    <a:pt x="259" y="812"/>
                  </a:cubicBezTo>
                  <a:cubicBezTo>
                    <a:pt x="266" y="812"/>
                    <a:pt x="266" y="812"/>
                    <a:pt x="266" y="812"/>
                  </a:cubicBezTo>
                  <a:cubicBezTo>
                    <a:pt x="266" y="806"/>
                    <a:pt x="268" y="800"/>
                    <a:pt x="269" y="794"/>
                  </a:cubicBezTo>
                  <a:cubicBezTo>
                    <a:pt x="268" y="794"/>
                    <a:pt x="268" y="794"/>
                    <a:pt x="268" y="794"/>
                  </a:cubicBezTo>
                  <a:cubicBezTo>
                    <a:pt x="268" y="793"/>
                    <a:pt x="269" y="792"/>
                    <a:pt x="269" y="792"/>
                  </a:cubicBezTo>
                  <a:cubicBezTo>
                    <a:pt x="272" y="778"/>
                    <a:pt x="275" y="764"/>
                    <a:pt x="280" y="750"/>
                  </a:cubicBezTo>
                  <a:cubicBezTo>
                    <a:pt x="274" y="748"/>
                    <a:pt x="273" y="745"/>
                    <a:pt x="272" y="741"/>
                  </a:cubicBezTo>
                  <a:cubicBezTo>
                    <a:pt x="267" y="755"/>
                    <a:pt x="262" y="769"/>
                    <a:pt x="258" y="783"/>
                  </a:cubicBezTo>
                  <a:cubicBezTo>
                    <a:pt x="259" y="786"/>
                    <a:pt x="259" y="790"/>
                    <a:pt x="259" y="795"/>
                  </a:cubicBezTo>
                  <a:cubicBezTo>
                    <a:pt x="255" y="795"/>
                    <a:pt x="255" y="795"/>
                    <a:pt x="255" y="795"/>
                  </a:cubicBezTo>
                  <a:cubicBezTo>
                    <a:pt x="254" y="797"/>
                    <a:pt x="253" y="799"/>
                    <a:pt x="253" y="801"/>
                  </a:cubicBezTo>
                  <a:cubicBezTo>
                    <a:pt x="252" y="805"/>
                    <a:pt x="251" y="808"/>
                    <a:pt x="250" y="812"/>
                  </a:cubicBezTo>
                  <a:cubicBezTo>
                    <a:pt x="252" y="812"/>
                    <a:pt x="252" y="812"/>
                    <a:pt x="252" y="812"/>
                  </a:cubicBezTo>
                  <a:cubicBezTo>
                    <a:pt x="251" y="813"/>
                    <a:pt x="252" y="815"/>
                    <a:pt x="251" y="816"/>
                  </a:cubicBezTo>
                  <a:cubicBezTo>
                    <a:pt x="251" y="816"/>
                    <a:pt x="251" y="816"/>
                    <a:pt x="252" y="816"/>
                  </a:cubicBezTo>
                  <a:cubicBezTo>
                    <a:pt x="250" y="819"/>
                    <a:pt x="249" y="821"/>
                    <a:pt x="247" y="823"/>
                  </a:cubicBezTo>
                  <a:cubicBezTo>
                    <a:pt x="247" y="824"/>
                    <a:pt x="246" y="826"/>
                    <a:pt x="246" y="827"/>
                  </a:cubicBezTo>
                  <a:cubicBezTo>
                    <a:pt x="247" y="828"/>
                    <a:pt x="248" y="829"/>
                    <a:pt x="248" y="830"/>
                  </a:cubicBezTo>
                  <a:cubicBezTo>
                    <a:pt x="245" y="830"/>
                    <a:pt x="245" y="830"/>
                    <a:pt x="245" y="830"/>
                  </a:cubicBezTo>
                  <a:cubicBezTo>
                    <a:pt x="240" y="850"/>
                    <a:pt x="236" y="870"/>
                    <a:pt x="233" y="891"/>
                  </a:cubicBezTo>
                  <a:cubicBezTo>
                    <a:pt x="233" y="891"/>
                    <a:pt x="234" y="892"/>
                    <a:pt x="235" y="893"/>
                  </a:cubicBezTo>
                  <a:cubicBezTo>
                    <a:pt x="236" y="893"/>
                    <a:pt x="236" y="890"/>
                    <a:pt x="239" y="891"/>
                  </a:cubicBezTo>
                  <a:cubicBezTo>
                    <a:pt x="240" y="883"/>
                    <a:pt x="240" y="883"/>
                    <a:pt x="240" y="883"/>
                  </a:cubicBezTo>
                  <a:cubicBezTo>
                    <a:pt x="240" y="885"/>
                    <a:pt x="240" y="887"/>
                    <a:pt x="237" y="887"/>
                  </a:cubicBezTo>
                  <a:cubicBezTo>
                    <a:pt x="235" y="886"/>
                    <a:pt x="235" y="885"/>
                    <a:pt x="234" y="883"/>
                  </a:cubicBezTo>
                  <a:cubicBezTo>
                    <a:pt x="283" y="738"/>
                    <a:pt x="286" y="731"/>
                    <a:pt x="289" y="723"/>
                  </a:cubicBezTo>
                  <a:cubicBezTo>
                    <a:pt x="288" y="723"/>
                    <a:pt x="288" y="723"/>
                    <a:pt x="288" y="723"/>
                  </a:cubicBezTo>
                  <a:cubicBezTo>
                    <a:pt x="288" y="723"/>
                    <a:pt x="288" y="723"/>
                    <a:pt x="288" y="723"/>
                  </a:cubicBezTo>
                  <a:cubicBezTo>
                    <a:pt x="287" y="722"/>
                    <a:pt x="287" y="722"/>
                    <a:pt x="286" y="721"/>
                  </a:cubicBezTo>
                  <a:cubicBezTo>
                    <a:pt x="285" y="720"/>
                    <a:pt x="283" y="720"/>
                    <a:pt x="283" y="718"/>
                  </a:cubicBezTo>
                  <a:cubicBezTo>
                    <a:pt x="284" y="717"/>
                    <a:pt x="285" y="717"/>
                    <a:pt x="287" y="717"/>
                  </a:cubicBezTo>
                  <a:cubicBezTo>
                    <a:pt x="288" y="716"/>
                    <a:pt x="290" y="715"/>
                    <a:pt x="292" y="715"/>
                  </a:cubicBezTo>
                  <a:cubicBezTo>
                    <a:pt x="292" y="714"/>
                    <a:pt x="293" y="712"/>
                    <a:pt x="293" y="710"/>
                  </a:cubicBezTo>
                  <a:cubicBezTo>
                    <a:pt x="291" y="710"/>
                    <a:pt x="290" y="709"/>
                    <a:pt x="290" y="705"/>
                  </a:cubicBezTo>
                  <a:cubicBezTo>
                    <a:pt x="290" y="705"/>
                    <a:pt x="290" y="705"/>
                    <a:pt x="290" y="705"/>
                  </a:cubicBezTo>
                  <a:cubicBezTo>
                    <a:pt x="296" y="705"/>
                    <a:pt x="296" y="705"/>
                    <a:pt x="296" y="705"/>
                  </a:cubicBezTo>
                  <a:cubicBezTo>
                    <a:pt x="297" y="702"/>
                    <a:pt x="298" y="700"/>
                    <a:pt x="299" y="697"/>
                  </a:cubicBezTo>
                  <a:cubicBezTo>
                    <a:pt x="300" y="695"/>
                    <a:pt x="301" y="693"/>
                    <a:pt x="302" y="690"/>
                  </a:cubicBezTo>
                  <a:cubicBezTo>
                    <a:pt x="304" y="686"/>
                    <a:pt x="298" y="684"/>
                    <a:pt x="296" y="688"/>
                  </a:cubicBezTo>
                  <a:cubicBezTo>
                    <a:pt x="295" y="690"/>
                    <a:pt x="293" y="693"/>
                    <a:pt x="292" y="696"/>
                  </a:cubicBezTo>
                  <a:cubicBezTo>
                    <a:pt x="292" y="696"/>
                    <a:pt x="292" y="697"/>
                    <a:pt x="292" y="697"/>
                  </a:cubicBezTo>
                  <a:cubicBezTo>
                    <a:pt x="289" y="702"/>
                    <a:pt x="287" y="706"/>
                    <a:pt x="284" y="711"/>
                  </a:cubicBezTo>
                  <a:cubicBezTo>
                    <a:pt x="285" y="712"/>
                    <a:pt x="285" y="712"/>
                    <a:pt x="285" y="712"/>
                  </a:cubicBezTo>
                  <a:cubicBezTo>
                    <a:pt x="284" y="712"/>
                    <a:pt x="284" y="712"/>
                    <a:pt x="284" y="712"/>
                  </a:cubicBezTo>
                  <a:cubicBezTo>
                    <a:pt x="280" y="722"/>
                    <a:pt x="276" y="731"/>
                    <a:pt x="272" y="740"/>
                  </a:cubicBezTo>
                  <a:cubicBezTo>
                    <a:pt x="279" y="740"/>
                    <a:pt x="279" y="740"/>
                    <a:pt x="279" y="740"/>
                  </a:cubicBezTo>
                  <a:cubicBezTo>
                    <a:pt x="280" y="742"/>
                    <a:pt x="281" y="744"/>
                    <a:pt x="281" y="746"/>
                  </a:cubicBezTo>
                  <a:cubicBezTo>
                    <a:pt x="259" y="816"/>
                    <a:pt x="258" y="815"/>
                    <a:pt x="258" y="815"/>
                  </a:cubicBezTo>
                  <a:cubicBezTo>
                    <a:pt x="256" y="830"/>
                    <a:pt x="254" y="845"/>
                    <a:pt x="253" y="861"/>
                  </a:cubicBezTo>
                  <a:cubicBezTo>
                    <a:pt x="254" y="860"/>
                    <a:pt x="256" y="861"/>
                    <a:pt x="258" y="861"/>
                  </a:cubicBezTo>
                  <a:cubicBezTo>
                    <a:pt x="259" y="862"/>
                    <a:pt x="259" y="863"/>
                    <a:pt x="260" y="864"/>
                  </a:cubicBezTo>
                  <a:cubicBezTo>
                    <a:pt x="261" y="849"/>
                    <a:pt x="262" y="833"/>
                    <a:pt x="265" y="818"/>
                  </a:cubicBezTo>
                  <a:cubicBezTo>
                    <a:pt x="264" y="817"/>
                    <a:pt x="264" y="817"/>
                    <a:pt x="264" y="815"/>
                  </a:cubicBezTo>
                  <a:cubicBezTo>
                    <a:pt x="262" y="815"/>
                    <a:pt x="261" y="817"/>
                    <a:pt x="259" y="816"/>
                  </a:cubicBezTo>
                  <a:cubicBezTo>
                    <a:pt x="213" y="891"/>
                    <a:pt x="214" y="892"/>
                    <a:pt x="215" y="893"/>
                  </a:cubicBezTo>
                  <a:cubicBezTo>
                    <a:pt x="215" y="892"/>
                    <a:pt x="215" y="891"/>
                    <a:pt x="215" y="891"/>
                  </a:cubicBezTo>
                  <a:cubicBezTo>
                    <a:pt x="213" y="891"/>
                    <a:pt x="212" y="890"/>
                    <a:pt x="211" y="891"/>
                  </a:cubicBezTo>
                  <a:cubicBezTo>
                    <a:pt x="265" y="814"/>
                    <a:pt x="265" y="814"/>
                    <a:pt x="265" y="814"/>
                  </a:cubicBezTo>
                  <a:cubicBezTo>
                    <a:pt x="265" y="814"/>
                    <a:pt x="265" y="814"/>
                    <a:pt x="265" y="814"/>
                  </a:cubicBezTo>
                  <a:cubicBezTo>
                    <a:pt x="265" y="814"/>
                    <a:pt x="265" y="814"/>
                    <a:pt x="265" y="813"/>
                  </a:cubicBezTo>
                  <a:cubicBezTo>
                    <a:pt x="181" y="958"/>
                    <a:pt x="181" y="957"/>
                    <a:pt x="181" y="955"/>
                  </a:cubicBezTo>
                  <a:cubicBezTo>
                    <a:pt x="181" y="955"/>
                    <a:pt x="181" y="955"/>
                    <a:pt x="180" y="955"/>
                  </a:cubicBezTo>
                  <a:cubicBezTo>
                    <a:pt x="182" y="955"/>
                    <a:pt x="182" y="955"/>
                    <a:pt x="182" y="955"/>
                  </a:cubicBezTo>
                  <a:cubicBezTo>
                    <a:pt x="185" y="938"/>
                    <a:pt x="188" y="920"/>
                    <a:pt x="190" y="902"/>
                  </a:cubicBezTo>
                  <a:cubicBezTo>
                    <a:pt x="185" y="902"/>
                    <a:pt x="185" y="902"/>
                    <a:pt x="185" y="902"/>
                  </a:cubicBezTo>
                  <a:cubicBezTo>
                    <a:pt x="186" y="901"/>
                    <a:pt x="187" y="899"/>
                    <a:pt x="189" y="899"/>
                  </a:cubicBezTo>
                  <a:cubicBezTo>
                    <a:pt x="187" y="898"/>
                    <a:pt x="185" y="896"/>
                    <a:pt x="185" y="894"/>
                  </a:cubicBezTo>
                  <a:cubicBezTo>
                    <a:pt x="184" y="903"/>
                    <a:pt x="183" y="911"/>
                    <a:pt x="182" y="920"/>
                  </a:cubicBezTo>
                  <a:cubicBezTo>
                    <a:pt x="183" y="920"/>
                    <a:pt x="184" y="921"/>
                    <a:pt x="183" y="922"/>
                  </a:cubicBezTo>
                  <a:cubicBezTo>
                    <a:pt x="183" y="923"/>
                    <a:pt x="182" y="923"/>
                    <a:pt x="181" y="923"/>
                  </a:cubicBezTo>
                  <a:cubicBezTo>
                    <a:pt x="181" y="925"/>
                    <a:pt x="181" y="926"/>
                    <a:pt x="180" y="928"/>
                  </a:cubicBezTo>
                  <a:cubicBezTo>
                    <a:pt x="181" y="929"/>
                    <a:pt x="181" y="930"/>
                    <a:pt x="181" y="931"/>
                  </a:cubicBezTo>
                  <a:cubicBezTo>
                    <a:pt x="181" y="931"/>
                    <a:pt x="180" y="931"/>
                    <a:pt x="180" y="931"/>
                  </a:cubicBezTo>
                  <a:cubicBezTo>
                    <a:pt x="179" y="936"/>
                    <a:pt x="178" y="941"/>
                    <a:pt x="177" y="945"/>
                  </a:cubicBezTo>
                  <a:cubicBezTo>
                    <a:pt x="177" y="949"/>
                    <a:pt x="176" y="952"/>
                    <a:pt x="175" y="955"/>
                  </a:cubicBezTo>
                  <a:cubicBezTo>
                    <a:pt x="177" y="955"/>
                    <a:pt x="177" y="955"/>
                    <a:pt x="177" y="955"/>
                  </a:cubicBezTo>
                  <a:cubicBezTo>
                    <a:pt x="177" y="955"/>
                    <a:pt x="177" y="955"/>
                    <a:pt x="177" y="955"/>
                  </a:cubicBezTo>
                  <a:cubicBezTo>
                    <a:pt x="179" y="957"/>
                    <a:pt x="180" y="958"/>
                    <a:pt x="181" y="960"/>
                  </a:cubicBezTo>
                  <a:cubicBezTo>
                    <a:pt x="430" y="250"/>
                    <a:pt x="419" y="248"/>
                    <a:pt x="416" y="245"/>
                  </a:cubicBezTo>
                  <a:cubicBezTo>
                    <a:pt x="416" y="246"/>
                    <a:pt x="416" y="248"/>
                    <a:pt x="416" y="249"/>
                  </a:cubicBezTo>
                  <a:cubicBezTo>
                    <a:pt x="420" y="250"/>
                    <a:pt x="425" y="250"/>
                    <a:pt x="430" y="251"/>
                  </a:cubicBezTo>
                  <a:cubicBezTo>
                    <a:pt x="431" y="250"/>
                    <a:pt x="434" y="250"/>
                    <a:pt x="435" y="250"/>
                  </a:cubicBezTo>
                  <a:cubicBezTo>
                    <a:pt x="435" y="251"/>
                    <a:pt x="436" y="251"/>
                    <a:pt x="436" y="252"/>
                  </a:cubicBezTo>
                  <a:cubicBezTo>
                    <a:pt x="437" y="252"/>
                    <a:pt x="438" y="252"/>
                    <a:pt x="439" y="253"/>
                  </a:cubicBezTo>
                  <a:cubicBezTo>
                    <a:pt x="440" y="251"/>
                    <a:pt x="441" y="250"/>
                    <a:pt x="442" y="247"/>
                  </a:cubicBezTo>
                  <a:cubicBezTo>
                    <a:pt x="441" y="247"/>
                    <a:pt x="440" y="246"/>
                    <a:pt x="439" y="245"/>
                  </a:cubicBezTo>
                  <a:cubicBezTo>
                    <a:pt x="438" y="245"/>
                    <a:pt x="437" y="245"/>
                    <a:pt x="437" y="245"/>
                  </a:cubicBezTo>
                  <a:cubicBezTo>
                    <a:pt x="437" y="246"/>
                    <a:pt x="437" y="247"/>
                    <a:pt x="437" y="248"/>
                  </a:cubicBezTo>
                  <a:cubicBezTo>
                    <a:pt x="434" y="248"/>
                    <a:pt x="432" y="247"/>
                    <a:pt x="432" y="244"/>
                  </a:cubicBezTo>
                  <a:cubicBezTo>
                    <a:pt x="432" y="244"/>
                    <a:pt x="431" y="244"/>
                    <a:pt x="431" y="244"/>
                  </a:cubicBezTo>
                  <a:cubicBezTo>
                    <a:pt x="355" y="248"/>
                    <a:pt x="355" y="248"/>
                    <a:pt x="355" y="248"/>
                  </a:cubicBezTo>
                  <a:cubicBezTo>
                    <a:pt x="355" y="247"/>
                    <a:pt x="355" y="247"/>
                    <a:pt x="354" y="247"/>
                  </a:cubicBezTo>
                  <a:cubicBezTo>
                    <a:pt x="354" y="247"/>
                    <a:pt x="354" y="247"/>
                    <a:pt x="354" y="248"/>
                  </a:cubicBezTo>
                  <a:cubicBezTo>
                    <a:pt x="448" y="250"/>
                    <a:pt x="448" y="248"/>
                    <a:pt x="445" y="248"/>
                  </a:cubicBezTo>
                  <a:cubicBezTo>
                    <a:pt x="445" y="251"/>
                    <a:pt x="445" y="252"/>
                    <a:pt x="444" y="253"/>
                  </a:cubicBezTo>
                  <a:cubicBezTo>
                    <a:pt x="446" y="254"/>
                    <a:pt x="448" y="254"/>
                    <a:pt x="450" y="254"/>
                  </a:cubicBezTo>
                  <a:cubicBezTo>
                    <a:pt x="450" y="254"/>
                    <a:pt x="449" y="253"/>
                    <a:pt x="450" y="252"/>
                  </a:cubicBezTo>
                  <a:cubicBezTo>
                    <a:pt x="451" y="250"/>
                    <a:pt x="454" y="250"/>
                    <a:pt x="456" y="248"/>
                  </a:cubicBezTo>
                  <a:cubicBezTo>
                    <a:pt x="454" y="248"/>
                    <a:pt x="452" y="247"/>
                    <a:pt x="450" y="247"/>
                  </a:cubicBezTo>
                  <a:cubicBezTo>
                    <a:pt x="450" y="248"/>
                    <a:pt x="450" y="248"/>
                    <a:pt x="450" y="249"/>
                  </a:cubicBezTo>
                  <a:cubicBezTo>
                    <a:pt x="350" y="265"/>
                    <a:pt x="306" y="271"/>
                    <a:pt x="264" y="285"/>
                  </a:cubicBezTo>
                  <a:cubicBezTo>
                    <a:pt x="265" y="287"/>
                    <a:pt x="265" y="289"/>
                    <a:pt x="265" y="291"/>
                  </a:cubicBezTo>
                  <a:cubicBezTo>
                    <a:pt x="263" y="294"/>
                    <a:pt x="261" y="291"/>
                    <a:pt x="259" y="293"/>
                  </a:cubicBezTo>
                  <a:cubicBezTo>
                    <a:pt x="259" y="293"/>
                    <a:pt x="259" y="294"/>
                    <a:pt x="259" y="294"/>
                  </a:cubicBezTo>
                  <a:cubicBezTo>
                    <a:pt x="269" y="290"/>
                    <a:pt x="279" y="287"/>
                    <a:pt x="289" y="285"/>
                  </a:cubicBezTo>
                  <a:cubicBezTo>
                    <a:pt x="289" y="284"/>
                    <a:pt x="289" y="282"/>
                    <a:pt x="289" y="280"/>
                  </a:cubicBezTo>
                  <a:cubicBezTo>
                    <a:pt x="292" y="281"/>
                    <a:pt x="296" y="280"/>
                    <a:pt x="298" y="282"/>
                  </a:cubicBezTo>
                  <a:cubicBezTo>
                    <a:pt x="298" y="282"/>
                    <a:pt x="298" y="282"/>
                    <a:pt x="298" y="283"/>
                  </a:cubicBezTo>
                  <a:cubicBezTo>
                    <a:pt x="304" y="281"/>
                    <a:pt x="310" y="280"/>
                    <a:pt x="316" y="279"/>
                  </a:cubicBezTo>
                  <a:cubicBezTo>
                    <a:pt x="316" y="279"/>
                    <a:pt x="316" y="278"/>
                    <a:pt x="316" y="278"/>
                  </a:cubicBezTo>
                  <a:cubicBezTo>
                    <a:pt x="318" y="276"/>
                    <a:pt x="320" y="277"/>
                    <a:pt x="321" y="278"/>
                  </a:cubicBezTo>
                  <a:cubicBezTo>
                    <a:pt x="322" y="278"/>
                    <a:pt x="322" y="278"/>
                    <a:pt x="323" y="278"/>
                  </a:cubicBezTo>
                  <a:cubicBezTo>
                    <a:pt x="323" y="278"/>
                    <a:pt x="322" y="278"/>
                    <a:pt x="322" y="278"/>
                  </a:cubicBezTo>
                  <a:cubicBezTo>
                    <a:pt x="322" y="277"/>
                    <a:pt x="323" y="277"/>
                    <a:pt x="323" y="277"/>
                  </a:cubicBezTo>
                  <a:cubicBezTo>
                    <a:pt x="330" y="276"/>
                    <a:pt x="330" y="276"/>
                    <a:pt x="330" y="276"/>
                  </a:cubicBezTo>
                  <a:cubicBezTo>
                    <a:pt x="330" y="277"/>
                    <a:pt x="330" y="277"/>
                    <a:pt x="330" y="277"/>
                  </a:cubicBezTo>
                  <a:cubicBezTo>
                    <a:pt x="346" y="274"/>
                    <a:pt x="363" y="273"/>
                    <a:pt x="380" y="272"/>
                  </a:cubicBezTo>
                  <a:cubicBezTo>
                    <a:pt x="404" y="272"/>
                    <a:pt x="428" y="272"/>
                    <a:pt x="452" y="275"/>
                  </a:cubicBezTo>
                  <a:cubicBezTo>
                    <a:pt x="487" y="275"/>
                    <a:pt x="487" y="275"/>
                    <a:pt x="487" y="275"/>
                  </a:cubicBezTo>
                  <a:cubicBezTo>
                    <a:pt x="457" y="268"/>
                    <a:pt x="425" y="266"/>
                    <a:pt x="394" y="266"/>
                  </a:cubicBezTo>
                  <a:cubicBezTo>
                    <a:pt x="193" y="318"/>
                    <a:pt x="191" y="319"/>
                    <a:pt x="190" y="320"/>
                  </a:cubicBezTo>
                  <a:cubicBezTo>
                    <a:pt x="192" y="321"/>
                    <a:pt x="195" y="322"/>
                    <a:pt x="195" y="324"/>
                  </a:cubicBezTo>
                  <a:cubicBezTo>
                    <a:pt x="196" y="324"/>
                    <a:pt x="198" y="323"/>
                    <a:pt x="199" y="322"/>
                  </a:cubicBezTo>
                  <a:cubicBezTo>
                    <a:pt x="217" y="311"/>
                    <a:pt x="235" y="302"/>
                    <a:pt x="255" y="295"/>
                  </a:cubicBezTo>
                  <a:cubicBezTo>
                    <a:pt x="236" y="296"/>
                    <a:pt x="236" y="296"/>
                    <a:pt x="236" y="296"/>
                  </a:cubicBezTo>
                  <a:cubicBezTo>
                    <a:pt x="227" y="300"/>
                    <a:pt x="218" y="304"/>
                    <a:pt x="209" y="309"/>
                  </a:cubicBezTo>
                  <a:cubicBezTo>
                    <a:pt x="206" y="310"/>
                    <a:pt x="203" y="312"/>
                    <a:pt x="201" y="313"/>
                  </a:cubicBezTo>
                  <a:cubicBezTo>
                    <a:pt x="202" y="313"/>
                    <a:pt x="202" y="313"/>
                    <a:pt x="202" y="313"/>
                  </a:cubicBezTo>
                  <a:cubicBezTo>
                    <a:pt x="203" y="318"/>
                    <a:pt x="199" y="320"/>
                    <a:pt x="195" y="321"/>
                  </a:cubicBezTo>
                  <a:cubicBezTo>
                    <a:pt x="196" y="320"/>
                    <a:pt x="195" y="318"/>
                    <a:pt x="194" y="317"/>
                  </a:cubicBezTo>
                  <a:cubicBezTo>
                    <a:pt x="112" y="350"/>
                    <a:pt x="112" y="350"/>
                    <a:pt x="113" y="350"/>
                  </a:cubicBezTo>
                  <a:cubicBezTo>
                    <a:pt x="120" y="344"/>
                    <a:pt x="128" y="338"/>
                    <a:pt x="136" y="332"/>
                  </a:cubicBezTo>
                  <a:cubicBezTo>
                    <a:pt x="135" y="332"/>
                    <a:pt x="135" y="332"/>
                    <a:pt x="135" y="332"/>
                  </a:cubicBezTo>
                  <a:cubicBezTo>
                    <a:pt x="134" y="330"/>
                    <a:pt x="135" y="328"/>
                    <a:pt x="135" y="325"/>
                  </a:cubicBezTo>
                  <a:cubicBezTo>
                    <a:pt x="131" y="326"/>
                    <a:pt x="132" y="330"/>
                    <a:pt x="131" y="332"/>
                  </a:cubicBezTo>
                  <a:cubicBezTo>
                    <a:pt x="124" y="332"/>
                    <a:pt x="124" y="332"/>
                    <a:pt x="124" y="332"/>
                  </a:cubicBezTo>
                  <a:cubicBezTo>
                    <a:pt x="117" y="338"/>
                    <a:pt x="109" y="344"/>
                    <a:pt x="102" y="350"/>
                  </a:cubicBezTo>
                  <a:cubicBezTo>
                    <a:pt x="183" y="327"/>
                    <a:pt x="184" y="328"/>
                    <a:pt x="186" y="330"/>
                  </a:cubicBezTo>
                  <a:cubicBezTo>
                    <a:pt x="187" y="329"/>
                    <a:pt x="188" y="329"/>
                    <a:pt x="189" y="328"/>
                  </a:cubicBezTo>
                  <a:cubicBezTo>
                    <a:pt x="188" y="328"/>
                    <a:pt x="188" y="328"/>
                    <a:pt x="187" y="328"/>
                  </a:cubicBezTo>
                  <a:cubicBezTo>
                    <a:pt x="187" y="326"/>
                    <a:pt x="186" y="324"/>
                    <a:pt x="186" y="322"/>
                  </a:cubicBezTo>
                  <a:cubicBezTo>
                    <a:pt x="184" y="323"/>
                    <a:pt x="183" y="324"/>
                    <a:pt x="181" y="325"/>
                  </a:cubicBezTo>
                  <a:cubicBezTo>
                    <a:pt x="611" y="287"/>
                    <a:pt x="611" y="288"/>
                    <a:pt x="611" y="289"/>
                  </a:cubicBezTo>
                  <a:cubicBezTo>
                    <a:pt x="611" y="289"/>
                    <a:pt x="612" y="289"/>
                    <a:pt x="612" y="289"/>
                  </a:cubicBezTo>
                  <a:cubicBezTo>
                    <a:pt x="612" y="288"/>
                    <a:pt x="612" y="287"/>
                    <a:pt x="611" y="286"/>
                  </a:cubicBezTo>
                  <a:cubicBezTo>
                    <a:pt x="1146" y="1032"/>
                    <a:pt x="1144" y="1031"/>
                    <a:pt x="1142" y="1033"/>
                  </a:cubicBezTo>
                  <a:cubicBezTo>
                    <a:pt x="1142" y="1033"/>
                    <a:pt x="1142" y="1033"/>
                    <a:pt x="1142" y="1033"/>
                  </a:cubicBezTo>
                  <a:cubicBezTo>
                    <a:pt x="1142" y="1034"/>
                    <a:pt x="1142" y="1034"/>
                    <a:pt x="1142" y="1034"/>
                  </a:cubicBezTo>
                  <a:cubicBezTo>
                    <a:pt x="1142" y="1034"/>
                    <a:pt x="1141" y="1034"/>
                    <a:pt x="1141" y="1034"/>
                  </a:cubicBezTo>
                  <a:cubicBezTo>
                    <a:pt x="1142" y="1034"/>
                    <a:pt x="1142" y="1034"/>
                    <a:pt x="1143" y="1035"/>
                  </a:cubicBezTo>
                  <a:cubicBezTo>
                    <a:pt x="1143" y="1035"/>
                    <a:pt x="1143" y="1036"/>
                    <a:pt x="1143" y="1036"/>
                  </a:cubicBezTo>
                  <a:cubicBezTo>
                    <a:pt x="1139" y="1036"/>
                    <a:pt x="1139" y="1036"/>
                    <a:pt x="1139" y="1036"/>
                  </a:cubicBezTo>
                  <a:cubicBezTo>
                    <a:pt x="1134" y="1042"/>
                    <a:pt x="1129" y="1048"/>
                    <a:pt x="1123" y="1054"/>
                  </a:cubicBezTo>
                  <a:cubicBezTo>
                    <a:pt x="1132" y="1054"/>
                    <a:pt x="1132" y="1054"/>
                    <a:pt x="1132" y="1054"/>
                  </a:cubicBezTo>
                  <a:cubicBezTo>
                    <a:pt x="1132" y="1054"/>
                    <a:pt x="1132" y="1054"/>
                    <a:pt x="1132" y="1054"/>
                  </a:cubicBezTo>
                  <a:cubicBezTo>
                    <a:pt x="1137" y="1048"/>
                    <a:pt x="1143" y="1043"/>
                    <a:pt x="1148" y="1037"/>
                  </a:cubicBezTo>
                  <a:cubicBezTo>
                    <a:pt x="1148" y="1037"/>
                    <a:pt x="1148" y="1037"/>
                    <a:pt x="1148" y="1036"/>
                  </a:cubicBezTo>
                  <a:cubicBezTo>
                    <a:pt x="1145" y="1036"/>
                    <a:pt x="1145" y="1036"/>
                    <a:pt x="1145" y="1036"/>
                  </a:cubicBezTo>
                  <a:cubicBezTo>
                    <a:pt x="1145" y="1035"/>
                    <a:pt x="1146" y="1034"/>
                    <a:pt x="1147" y="1033"/>
                  </a:cubicBezTo>
                  <a:cubicBezTo>
                    <a:pt x="793" y="240"/>
                    <a:pt x="792" y="240"/>
                    <a:pt x="791" y="240"/>
                  </a:cubicBezTo>
                  <a:cubicBezTo>
                    <a:pt x="792" y="241"/>
                    <a:pt x="792" y="243"/>
                    <a:pt x="791" y="245"/>
                  </a:cubicBezTo>
                  <a:cubicBezTo>
                    <a:pt x="794" y="244"/>
                    <a:pt x="793" y="242"/>
                    <a:pt x="793" y="240"/>
                  </a:cubicBezTo>
                  <a:cubicBezTo>
                    <a:pt x="1032" y="1132"/>
                    <a:pt x="1032" y="1132"/>
                    <a:pt x="1031" y="1132"/>
                  </a:cubicBezTo>
                  <a:cubicBezTo>
                    <a:pt x="1032" y="1132"/>
                    <a:pt x="1033" y="1132"/>
                    <a:pt x="1034" y="1132"/>
                  </a:cubicBezTo>
                  <a:cubicBezTo>
                    <a:pt x="1035" y="1131"/>
                    <a:pt x="1035" y="1129"/>
                    <a:pt x="1036" y="1128"/>
                  </a:cubicBezTo>
                  <a:cubicBezTo>
                    <a:pt x="1036" y="1128"/>
                    <a:pt x="1035" y="1128"/>
                    <a:pt x="1035" y="1128"/>
                  </a:cubicBezTo>
                  <a:cubicBezTo>
                    <a:pt x="1035" y="1129"/>
                    <a:pt x="1034" y="1131"/>
                    <a:pt x="1032" y="1132"/>
                  </a:cubicBezTo>
                  <a:cubicBezTo>
                    <a:pt x="1030" y="1131"/>
                    <a:pt x="1030" y="1131"/>
                    <a:pt x="1030" y="1131"/>
                  </a:cubicBezTo>
                  <a:cubicBezTo>
                    <a:pt x="1030" y="1131"/>
                    <a:pt x="1030" y="1131"/>
                    <a:pt x="1030" y="1131"/>
                  </a:cubicBezTo>
                  <a:cubicBezTo>
                    <a:pt x="1030" y="1131"/>
                    <a:pt x="1030" y="1131"/>
                    <a:pt x="1030" y="1131"/>
                  </a:cubicBezTo>
                  <a:cubicBezTo>
                    <a:pt x="820" y="284"/>
                    <a:pt x="819" y="284"/>
                    <a:pt x="819" y="284"/>
                  </a:cubicBezTo>
                  <a:cubicBezTo>
                    <a:pt x="819" y="285"/>
                    <a:pt x="820" y="285"/>
                    <a:pt x="821" y="286"/>
                  </a:cubicBezTo>
                  <a:cubicBezTo>
                    <a:pt x="821" y="285"/>
                    <a:pt x="821" y="284"/>
                    <a:pt x="820" y="284"/>
                  </a:cubicBezTo>
                  <a:cubicBezTo>
                    <a:pt x="784" y="241"/>
                    <a:pt x="783" y="241"/>
                    <a:pt x="783" y="241"/>
                  </a:cubicBezTo>
                  <a:cubicBezTo>
                    <a:pt x="783" y="243"/>
                    <a:pt x="783" y="245"/>
                    <a:pt x="784" y="247"/>
                  </a:cubicBezTo>
                  <a:cubicBezTo>
                    <a:pt x="784" y="247"/>
                    <a:pt x="785" y="247"/>
                    <a:pt x="785" y="247"/>
                  </a:cubicBezTo>
                  <a:cubicBezTo>
                    <a:pt x="786" y="245"/>
                    <a:pt x="786" y="243"/>
                    <a:pt x="785" y="241"/>
                  </a:cubicBezTo>
                  <a:cubicBezTo>
                    <a:pt x="771" y="248"/>
                    <a:pt x="773" y="248"/>
                    <a:pt x="775" y="248"/>
                  </a:cubicBezTo>
                  <a:cubicBezTo>
                    <a:pt x="775" y="247"/>
                    <a:pt x="775" y="246"/>
                    <a:pt x="775" y="245"/>
                  </a:cubicBezTo>
                  <a:cubicBezTo>
                    <a:pt x="772" y="245"/>
                    <a:pt x="770" y="246"/>
                    <a:pt x="770" y="248"/>
                  </a:cubicBezTo>
                  <a:cubicBezTo>
                    <a:pt x="176" y="394"/>
                    <a:pt x="177" y="394"/>
                    <a:pt x="178" y="395"/>
                  </a:cubicBezTo>
                  <a:cubicBezTo>
                    <a:pt x="177" y="394"/>
                    <a:pt x="177" y="394"/>
                    <a:pt x="177" y="393"/>
                  </a:cubicBezTo>
                  <a:cubicBezTo>
                    <a:pt x="176" y="394"/>
                    <a:pt x="176" y="394"/>
                    <a:pt x="175" y="394"/>
                  </a:cubicBezTo>
                  <a:cubicBezTo>
                    <a:pt x="50" y="404"/>
                    <a:pt x="50" y="404"/>
                    <a:pt x="50" y="404"/>
                  </a:cubicBezTo>
                  <a:cubicBezTo>
                    <a:pt x="50" y="403"/>
                    <a:pt x="50" y="402"/>
                    <a:pt x="50" y="401"/>
                  </a:cubicBezTo>
                  <a:cubicBezTo>
                    <a:pt x="47" y="401"/>
                    <a:pt x="45" y="403"/>
                    <a:pt x="43" y="404"/>
                  </a:cubicBezTo>
                  <a:cubicBezTo>
                    <a:pt x="42" y="404"/>
                    <a:pt x="42" y="404"/>
                    <a:pt x="42" y="404"/>
                  </a:cubicBezTo>
                  <a:cubicBezTo>
                    <a:pt x="37" y="410"/>
                    <a:pt x="31" y="416"/>
                    <a:pt x="25" y="422"/>
                  </a:cubicBezTo>
                  <a:cubicBezTo>
                    <a:pt x="35" y="422"/>
                    <a:pt x="35" y="422"/>
                    <a:pt x="35" y="422"/>
                  </a:cubicBezTo>
                  <a:cubicBezTo>
                    <a:pt x="40" y="416"/>
                    <a:pt x="46" y="410"/>
                    <a:pt x="52" y="404"/>
                  </a:cubicBezTo>
                  <a:cubicBezTo>
                    <a:pt x="141" y="1076"/>
                    <a:pt x="141" y="1076"/>
                    <a:pt x="141" y="1076"/>
                  </a:cubicBezTo>
                  <a:cubicBezTo>
                    <a:pt x="141" y="1076"/>
                    <a:pt x="141" y="1076"/>
                    <a:pt x="141" y="1076"/>
                  </a:cubicBezTo>
                  <a:cubicBezTo>
                    <a:pt x="141" y="1076"/>
                    <a:pt x="141" y="1076"/>
                    <a:pt x="141" y="1076"/>
                  </a:cubicBezTo>
                  <a:cubicBezTo>
                    <a:pt x="53" y="397"/>
                    <a:pt x="51" y="397"/>
                    <a:pt x="50" y="397"/>
                  </a:cubicBezTo>
                  <a:cubicBezTo>
                    <a:pt x="49" y="397"/>
                    <a:pt x="49" y="398"/>
                    <a:pt x="48" y="398"/>
                  </a:cubicBezTo>
                  <a:cubicBezTo>
                    <a:pt x="49" y="399"/>
                    <a:pt x="50" y="399"/>
                    <a:pt x="51" y="399"/>
                  </a:cubicBezTo>
                  <a:cubicBezTo>
                    <a:pt x="52" y="399"/>
                    <a:pt x="52" y="398"/>
                    <a:pt x="53" y="398"/>
                  </a:cubicBezTo>
                  <a:cubicBezTo>
                    <a:pt x="10" y="408"/>
                    <a:pt x="12" y="406"/>
                    <a:pt x="13" y="404"/>
                  </a:cubicBezTo>
                  <a:cubicBezTo>
                    <a:pt x="4" y="405"/>
                    <a:pt x="4" y="405"/>
                    <a:pt x="4" y="405"/>
                  </a:cubicBezTo>
                  <a:cubicBezTo>
                    <a:pt x="4" y="405"/>
                    <a:pt x="3" y="405"/>
                    <a:pt x="3" y="405"/>
                  </a:cubicBezTo>
                  <a:cubicBezTo>
                    <a:pt x="0" y="408"/>
                    <a:pt x="5" y="413"/>
                    <a:pt x="8" y="409"/>
                  </a:cubicBezTo>
                  <a:cubicBezTo>
                    <a:pt x="532" y="1128"/>
                    <a:pt x="523" y="1121"/>
                    <a:pt x="514" y="1113"/>
                  </a:cubicBezTo>
                  <a:cubicBezTo>
                    <a:pt x="502" y="1113"/>
                    <a:pt x="502" y="1113"/>
                    <a:pt x="502" y="1113"/>
                  </a:cubicBezTo>
                  <a:cubicBezTo>
                    <a:pt x="511" y="1120"/>
                    <a:pt x="520" y="1127"/>
                    <a:pt x="529" y="1134"/>
                  </a:cubicBezTo>
                  <a:cubicBezTo>
                    <a:pt x="529" y="1133"/>
                    <a:pt x="530" y="1132"/>
                    <a:pt x="531" y="1131"/>
                  </a:cubicBezTo>
                  <a:cubicBezTo>
                    <a:pt x="536" y="1131"/>
                    <a:pt x="540" y="1133"/>
                    <a:pt x="540" y="1137"/>
                  </a:cubicBezTo>
                  <a:cubicBezTo>
                    <a:pt x="541" y="1136"/>
                    <a:pt x="541" y="1136"/>
                    <a:pt x="541" y="1135"/>
                  </a:cubicBezTo>
                  <a:cubicBezTo>
                    <a:pt x="98" y="389"/>
                    <a:pt x="98" y="388"/>
                    <a:pt x="98" y="388"/>
                  </a:cubicBezTo>
                  <a:cubicBezTo>
                    <a:pt x="98" y="388"/>
                    <a:pt x="97" y="389"/>
                    <a:pt x="97" y="389"/>
                  </a:cubicBezTo>
                  <a:cubicBezTo>
                    <a:pt x="97" y="389"/>
                    <a:pt x="98" y="389"/>
                    <a:pt x="98" y="389"/>
                  </a:cubicBezTo>
                  <a:cubicBezTo>
                    <a:pt x="436" y="317"/>
                    <a:pt x="435" y="318"/>
                    <a:pt x="433" y="318"/>
                  </a:cubicBezTo>
                  <a:cubicBezTo>
                    <a:pt x="432" y="321"/>
                    <a:pt x="433" y="322"/>
                    <a:pt x="434" y="323"/>
                  </a:cubicBezTo>
                  <a:cubicBezTo>
                    <a:pt x="435" y="323"/>
                    <a:pt x="437" y="323"/>
                    <a:pt x="438" y="323"/>
                  </a:cubicBezTo>
                  <a:cubicBezTo>
                    <a:pt x="438" y="323"/>
                    <a:pt x="438" y="323"/>
                    <a:pt x="437" y="323"/>
                  </a:cubicBezTo>
                  <a:cubicBezTo>
                    <a:pt x="436" y="318"/>
                    <a:pt x="441" y="319"/>
                    <a:pt x="443" y="317"/>
                  </a:cubicBezTo>
                  <a:cubicBezTo>
                    <a:pt x="440" y="318"/>
                    <a:pt x="439" y="317"/>
                    <a:pt x="438" y="315"/>
                  </a:cubicBezTo>
                  <a:cubicBezTo>
                    <a:pt x="438" y="315"/>
                    <a:pt x="437" y="315"/>
                    <a:pt x="437" y="315"/>
                  </a:cubicBezTo>
                  <a:cubicBezTo>
                    <a:pt x="144" y="386"/>
                    <a:pt x="146" y="387"/>
                    <a:pt x="149" y="387"/>
                  </a:cubicBezTo>
                  <a:cubicBezTo>
                    <a:pt x="149" y="386"/>
                    <a:pt x="149" y="386"/>
                    <a:pt x="150" y="386"/>
                  </a:cubicBezTo>
                  <a:cubicBezTo>
                    <a:pt x="149" y="386"/>
                    <a:pt x="149" y="385"/>
                    <a:pt x="148" y="385"/>
                  </a:cubicBezTo>
                  <a:cubicBezTo>
                    <a:pt x="151" y="385"/>
                    <a:pt x="151" y="385"/>
                    <a:pt x="151" y="385"/>
                  </a:cubicBezTo>
                  <a:cubicBezTo>
                    <a:pt x="158" y="379"/>
                    <a:pt x="166" y="373"/>
                    <a:pt x="174" y="367"/>
                  </a:cubicBezTo>
                  <a:cubicBezTo>
                    <a:pt x="163" y="368"/>
                    <a:pt x="163" y="368"/>
                    <a:pt x="163" y="368"/>
                  </a:cubicBezTo>
                  <a:cubicBezTo>
                    <a:pt x="163" y="367"/>
                    <a:pt x="163" y="367"/>
                    <a:pt x="163" y="367"/>
                  </a:cubicBezTo>
                  <a:cubicBezTo>
                    <a:pt x="155" y="373"/>
                    <a:pt x="147" y="379"/>
                    <a:pt x="140" y="385"/>
                  </a:cubicBezTo>
                  <a:cubicBezTo>
                    <a:pt x="315" y="779"/>
                    <a:pt x="315" y="779"/>
                    <a:pt x="315" y="779"/>
                  </a:cubicBezTo>
                  <a:cubicBezTo>
                    <a:pt x="315" y="779"/>
                    <a:pt x="315" y="779"/>
                    <a:pt x="315" y="779"/>
                  </a:cubicBezTo>
                  <a:cubicBezTo>
                    <a:pt x="315" y="779"/>
                    <a:pt x="315" y="779"/>
                    <a:pt x="315" y="779"/>
                  </a:cubicBezTo>
                  <a:cubicBezTo>
                    <a:pt x="518" y="1167"/>
                    <a:pt x="518" y="1167"/>
                    <a:pt x="518" y="1167"/>
                  </a:cubicBezTo>
                  <a:cubicBezTo>
                    <a:pt x="519" y="1168"/>
                    <a:pt x="521" y="1169"/>
                    <a:pt x="523" y="1171"/>
                  </a:cubicBezTo>
                  <a:cubicBezTo>
                    <a:pt x="524" y="1170"/>
                    <a:pt x="526" y="1169"/>
                    <a:pt x="527" y="1169"/>
                  </a:cubicBezTo>
                  <a:cubicBezTo>
                    <a:pt x="528" y="1168"/>
                    <a:pt x="528" y="1167"/>
                    <a:pt x="528" y="1166"/>
                  </a:cubicBezTo>
                  <a:cubicBezTo>
                    <a:pt x="528" y="1166"/>
                    <a:pt x="528" y="1166"/>
                    <a:pt x="528" y="1166"/>
                  </a:cubicBezTo>
                  <a:cubicBezTo>
                    <a:pt x="524" y="1164"/>
                    <a:pt x="521" y="1161"/>
                    <a:pt x="517" y="1159"/>
                  </a:cubicBezTo>
                  <a:cubicBezTo>
                    <a:pt x="511" y="1155"/>
                    <a:pt x="505" y="1150"/>
                    <a:pt x="499" y="1146"/>
                  </a:cubicBezTo>
                  <a:cubicBezTo>
                    <a:pt x="498" y="1147"/>
                    <a:pt x="498" y="1148"/>
                    <a:pt x="498" y="1149"/>
                  </a:cubicBezTo>
                  <a:cubicBezTo>
                    <a:pt x="492" y="1149"/>
                    <a:pt x="492" y="1149"/>
                    <a:pt x="492" y="1149"/>
                  </a:cubicBezTo>
                  <a:cubicBezTo>
                    <a:pt x="500" y="1155"/>
                    <a:pt x="508" y="1161"/>
                    <a:pt x="516" y="1166"/>
                  </a:cubicBezTo>
                  <a:cubicBezTo>
                    <a:pt x="446" y="322"/>
                    <a:pt x="447" y="322"/>
                    <a:pt x="449" y="322"/>
                  </a:cubicBezTo>
                  <a:cubicBezTo>
                    <a:pt x="449" y="321"/>
                    <a:pt x="449" y="321"/>
                    <a:pt x="449" y="321"/>
                  </a:cubicBezTo>
                  <a:cubicBezTo>
                    <a:pt x="449" y="321"/>
                    <a:pt x="449" y="321"/>
                    <a:pt x="449" y="322"/>
                  </a:cubicBezTo>
                  <a:cubicBezTo>
                    <a:pt x="452" y="321"/>
                    <a:pt x="456" y="321"/>
                    <a:pt x="459" y="321"/>
                  </a:cubicBezTo>
                  <a:cubicBezTo>
                    <a:pt x="457" y="319"/>
                    <a:pt x="456" y="318"/>
                    <a:pt x="454" y="317"/>
                  </a:cubicBezTo>
                  <a:cubicBezTo>
                    <a:pt x="453" y="315"/>
                    <a:pt x="454" y="314"/>
                    <a:pt x="455" y="313"/>
                  </a:cubicBezTo>
                  <a:cubicBezTo>
                    <a:pt x="452" y="313"/>
                    <a:pt x="450" y="313"/>
                    <a:pt x="448" y="314"/>
                  </a:cubicBezTo>
                  <a:cubicBezTo>
                    <a:pt x="450" y="315"/>
                    <a:pt x="451" y="317"/>
                    <a:pt x="451" y="319"/>
                  </a:cubicBezTo>
                  <a:cubicBezTo>
                    <a:pt x="448" y="320"/>
                    <a:pt x="447" y="321"/>
                    <a:pt x="444" y="322"/>
                  </a:cubicBezTo>
                  <a:cubicBezTo>
                    <a:pt x="418" y="1099"/>
                    <a:pt x="410" y="1089"/>
                    <a:pt x="403" y="1079"/>
                  </a:cubicBezTo>
                  <a:cubicBezTo>
                    <a:pt x="395" y="1079"/>
                    <a:pt x="395" y="1079"/>
                    <a:pt x="395" y="1079"/>
                  </a:cubicBezTo>
                  <a:cubicBezTo>
                    <a:pt x="399" y="1085"/>
                    <a:pt x="404" y="1091"/>
                    <a:pt x="409" y="1097"/>
                  </a:cubicBezTo>
                  <a:cubicBezTo>
                    <a:pt x="411" y="1096"/>
                    <a:pt x="413" y="1096"/>
                    <a:pt x="416" y="1097"/>
                  </a:cubicBezTo>
                  <a:cubicBezTo>
                    <a:pt x="416" y="1099"/>
                    <a:pt x="417" y="1101"/>
                    <a:pt x="419" y="1101"/>
                  </a:cubicBezTo>
                  <a:cubicBezTo>
                    <a:pt x="418" y="1103"/>
                    <a:pt x="417" y="1104"/>
                    <a:pt x="414" y="1104"/>
                  </a:cubicBezTo>
                  <a:cubicBezTo>
                    <a:pt x="417" y="1107"/>
                    <a:pt x="419" y="1109"/>
                    <a:pt x="422" y="1112"/>
                  </a:cubicBezTo>
                  <a:cubicBezTo>
                    <a:pt x="422" y="1111"/>
                    <a:pt x="422" y="1110"/>
                    <a:pt x="423" y="1109"/>
                  </a:cubicBezTo>
                  <a:cubicBezTo>
                    <a:pt x="424" y="1109"/>
                    <a:pt x="426" y="1109"/>
                    <a:pt x="427" y="1108"/>
                  </a:cubicBezTo>
                  <a:cubicBezTo>
                    <a:pt x="537" y="1140"/>
                    <a:pt x="538" y="1140"/>
                    <a:pt x="538" y="1140"/>
                  </a:cubicBezTo>
                  <a:cubicBezTo>
                    <a:pt x="539" y="1140"/>
                    <a:pt x="540" y="1140"/>
                    <a:pt x="540" y="1139"/>
                  </a:cubicBezTo>
                  <a:cubicBezTo>
                    <a:pt x="539" y="1139"/>
                    <a:pt x="538" y="1140"/>
                    <a:pt x="537" y="1139"/>
                  </a:cubicBezTo>
                  <a:cubicBezTo>
                    <a:pt x="537" y="1140"/>
                    <a:pt x="537" y="1140"/>
                    <a:pt x="537" y="1140"/>
                  </a:cubicBezTo>
                  <a:cubicBezTo>
                    <a:pt x="345" y="654"/>
                    <a:pt x="346" y="652"/>
                    <a:pt x="347" y="651"/>
                  </a:cubicBezTo>
                  <a:cubicBezTo>
                    <a:pt x="339" y="651"/>
                    <a:pt x="339" y="651"/>
                    <a:pt x="339" y="651"/>
                  </a:cubicBezTo>
                  <a:cubicBezTo>
                    <a:pt x="335" y="657"/>
                    <a:pt x="331" y="663"/>
                    <a:pt x="327" y="669"/>
                  </a:cubicBezTo>
                  <a:cubicBezTo>
                    <a:pt x="335" y="669"/>
                    <a:pt x="335" y="669"/>
                    <a:pt x="335" y="669"/>
                  </a:cubicBezTo>
                  <a:cubicBezTo>
                    <a:pt x="338" y="664"/>
                    <a:pt x="341" y="659"/>
                    <a:pt x="344" y="655"/>
                  </a:cubicBezTo>
                  <a:cubicBezTo>
                    <a:pt x="335" y="712"/>
                    <a:pt x="335" y="716"/>
                    <a:pt x="336" y="719"/>
                  </a:cubicBezTo>
                  <a:cubicBezTo>
                    <a:pt x="337" y="717"/>
                    <a:pt x="338" y="715"/>
                    <a:pt x="339" y="712"/>
                  </a:cubicBezTo>
                  <a:cubicBezTo>
                    <a:pt x="338" y="712"/>
                    <a:pt x="338" y="711"/>
                    <a:pt x="338" y="709"/>
                  </a:cubicBezTo>
                  <a:cubicBezTo>
                    <a:pt x="338" y="710"/>
                    <a:pt x="339" y="710"/>
                    <a:pt x="340" y="710"/>
                  </a:cubicBezTo>
                  <a:cubicBezTo>
                    <a:pt x="343" y="702"/>
                    <a:pt x="347" y="694"/>
                    <a:pt x="352" y="687"/>
                  </a:cubicBezTo>
                  <a:cubicBezTo>
                    <a:pt x="349" y="687"/>
                    <a:pt x="349" y="687"/>
                    <a:pt x="349" y="687"/>
                  </a:cubicBezTo>
                  <a:cubicBezTo>
                    <a:pt x="348" y="685"/>
                    <a:pt x="347" y="684"/>
                    <a:pt x="347" y="683"/>
                  </a:cubicBezTo>
                  <a:cubicBezTo>
                    <a:pt x="346" y="684"/>
                    <a:pt x="346" y="684"/>
                    <a:pt x="345" y="685"/>
                  </a:cubicBezTo>
                  <a:cubicBezTo>
                    <a:pt x="345" y="686"/>
                    <a:pt x="345" y="686"/>
                    <a:pt x="345" y="687"/>
                  </a:cubicBezTo>
                  <a:cubicBezTo>
                    <a:pt x="344" y="687"/>
                    <a:pt x="344" y="687"/>
                    <a:pt x="344" y="687"/>
                  </a:cubicBezTo>
                  <a:cubicBezTo>
                    <a:pt x="340" y="695"/>
                    <a:pt x="335" y="704"/>
                    <a:pt x="331" y="712"/>
                  </a:cubicBezTo>
                  <a:cubicBezTo>
                    <a:pt x="332" y="712"/>
                    <a:pt x="333" y="711"/>
                    <a:pt x="333" y="710"/>
                  </a:cubicBezTo>
                  <a:cubicBezTo>
                    <a:pt x="300" y="646"/>
                    <a:pt x="301" y="648"/>
                    <a:pt x="302" y="650"/>
                  </a:cubicBezTo>
                  <a:cubicBezTo>
                    <a:pt x="303" y="648"/>
                    <a:pt x="304" y="646"/>
                    <a:pt x="306" y="644"/>
                  </a:cubicBezTo>
                  <a:cubicBezTo>
                    <a:pt x="303" y="643"/>
                    <a:pt x="301" y="643"/>
                    <a:pt x="299" y="645"/>
                  </a:cubicBezTo>
                  <a:cubicBezTo>
                    <a:pt x="216" y="884"/>
                    <a:pt x="217" y="883"/>
                    <a:pt x="217" y="881"/>
                  </a:cubicBezTo>
                  <a:cubicBezTo>
                    <a:pt x="218" y="874"/>
                    <a:pt x="220" y="866"/>
                    <a:pt x="222" y="859"/>
                  </a:cubicBezTo>
                  <a:cubicBezTo>
                    <a:pt x="220" y="860"/>
                    <a:pt x="216" y="860"/>
                    <a:pt x="215" y="857"/>
                  </a:cubicBezTo>
                  <a:cubicBezTo>
                    <a:pt x="213" y="866"/>
                    <a:pt x="212" y="875"/>
                    <a:pt x="210" y="884"/>
                  </a:cubicBezTo>
                  <a:cubicBezTo>
                    <a:pt x="211" y="884"/>
                    <a:pt x="211" y="884"/>
                    <a:pt x="211" y="884"/>
                  </a:cubicBezTo>
                  <a:cubicBezTo>
                    <a:pt x="213" y="884"/>
                    <a:pt x="214" y="885"/>
                    <a:pt x="216" y="886"/>
                  </a:cubicBezTo>
                  <a:cubicBezTo>
                    <a:pt x="55" y="392"/>
                    <a:pt x="55" y="392"/>
                    <a:pt x="55" y="392"/>
                  </a:cubicBezTo>
                  <a:cubicBezTo>
                    <a:pt x="55" y="392"/>
                    <a:pt x="55" y="392"/>
                    <a:pt x="55" y="391"/>
                  </a:cubicBezTo>
                  <a:cubicBezTo>
                    <a:pt x="345" y="936"/>
                    <a:pt x="345" y="936"/>
                    <a:pt x="345" y="936"/>
                  </a:cubicBezTo>
                  <a:cubicBezTo>
                    <a:pt x="346" y="944"/>
                    <a:pt x="347" y="951"/>
                    <a:pt x="348" y="958"/>
                  </a:cubicBezTo>
                  <a:cubicBezTo>
                    <a:pt x="350" y="958"/>
                    <a:pt x="352" y="958"/>
                    <a:pt x="352" y="958"/>
                  </a:cubicBezTo>
                  <a:cubicBezTo>
                    <a:pt x="352" y="956"/>
                    <a:pt x="351" y="955"/>
                    <a:pt x="351" y="954"/>
                  </a:cubicBezTo>
                  <a:cubicBezTo>
                    <a:pt x="354" y="954"/>
                    <a:pt x="354" y="954"/>
                    <a:pt x="354" y="954"/>
                  </a:cubicBezTo>
                  <a:cubicBezTo>
                    <a:pt x="353" y="948"/>
                    <a:pt x="352" y="942"/>
                    <a:pt x="351" y="936"/>
                  </a:cubicBezTo>
                  <a:cubicBezTo>
                    <a:pt x="852" y="1143"/>
                    <a:pt x="852" y="1141"/>
                    <a:pt x="852" y="1140"/>
                  </a:cubicBezTo>
                  <a:cubicBezTo>
                    <a:pt x="852" y="1140"/>
                    <a:pt x="851" y="1140"/>
                    <a:pt x="851" y="1140"/>
                  </a:cubicBezTo>
                  <a:cubicBezTo>
                    <a:pt x="851" y="1140"/>
                    <a:pt x="851" y="1140"/>
                    <a:pt x="851" y="1141"/>
                  </a:cubicBezTo>
                  <a:cubicBezTo>
                    <a:pt x="849" y="1140"/>
                    <a:pt x="847" y="1140"/>
                    <a:pt x="845" y="1140"/>
                  </a:cubicBezTo>
                  <a:cubicBezTo>
                    <a:pt x="847" y="1141"/>
                    <a:pt x="848" y="1143"/>
                    <a:pt x="849" y="1146"/>
                  </a:cubicBezTo>
                  <a:cubicBezTo>
                    <a:pt x="850" y="1145"/>
                    <a:pt x="851" y="1145"/>
                    <a:pt x="852" y="1145"/>
                  </a:cubicBezTo>
                  <a:cubicBezTo>
                    <a:pt x="451" y="1104"/>
                    <a:pt x="449" y="1101"/>
                    <a:pt x="446" y="1098"/>
                  </a:cubicBezTo>
                  <a:cubicBezTo>
                    <a:pt x="446" y="1098"/>
                    <a:pt x="446" y="1098"/>
                    <a:pt x="446" y="1098"/>
                  </a:cubicBezTo>
                  <a:cubicBezTo>
                    <a:pt x="446" y="1098"/>
                    <a:pt x="446" y="1098"/>
                    <a:pt x="446" y="1098"/>
                  </a:cubicBezTo>
                  <a:cubicBezTo>
                    <a:pt x="437" y="1089"/>
                    <a:pt x="429" y="1079"/>
                    <a:pt x="422" y="1068"/>
                  </a:cubicBezTo>
                  <a:cubicBezTo>
                    <a:pt x="422" y="1068"/>
                    <a:pt x="421" y="1067"/>
                    <a:pt x="421" y="1067"/>
                  </a:cubicBezTo>
                  <a:cubicBezTo>
                    <a:pt x="420" y="1065"/>
                    <a:pt x="419" y="1064"/>
                    <a:pt x="418" y="1062"/>
                  </a:cubicBezTo>
                  <a:cubicBezTo>
                    <a:pt x="418" y="1063"/>
                    <a:pt x="418" y="1064"/>
                    <a:pt x="418" y="1065"/>
                  </a:cubicBezTo>
                  <a:cubicBezTo>
                    <a:pt x="413" y="1068"/>
                    <a:pt x="409" y="1064"/>
                    <a:pt x="409" y="1060"/>
                  </a:cubicBezTo>
                  <a:cubicBezTo>
                    <a:pt x="417" y="1060"/>
                    <a:pt x="417" y="1060"/>
                    <a:pt x="417" y="1060"/>
                  </a:cubicBezTo>
                  <a:cubicBezTo>
                    <a:pt x="411" y="1052"/>
                    <a:pt x="406" y="1043"/>
                    <a:pt x="401" y="1034"/>
                  </a:cubicBezTo>
                  <a:cubicBezTo>
                    <a:pt x="400" y="1034"/>
                    <a:pt x="399" y="1034"/>
                    <a:pt x="398" y="1034"/>
                  </a:cubicBezTo>
                  <a:cubicBezTo>
                    <a:pt x="397" y="1033"/>
                    <a:pt x="397" y="1032"/>
                    <a:pt x="397" y="1031"/>
                  </a:cubicBezTo>
                  <a:cubicBezTo>
                    <a:pt x="396" y="1030"/>
                    <a:pt x="395" y="1029"/>
                    <a:pt x="394" y="1029"/>
                  </a:cubicBezTo>
                  <a:cubicBezTo>
                    <a:pt x="394" y="1027"/>
                    <a:pt x="395" y="1026"/>
                    <a:pt x="397" y="1025"/>
                  </a:cubicBezTo>
                  <a:cubicBezTo>
                    <a:pt x="394" y="1018"/>
                    <a:pt x="391" y="1010"/>
                    <a:pt x="388" y="1003"/>
                  </a:cubicBezTo>
                  <a:cubicBezTo>
                    <a:pt x="387" y="1003"/>
                    <a:pt x="387" y="1003"/>
                    <a:pt x="386" y="1003"/>
                  </a:cubicBezTo>
                  <a:cubicBezTo>
                    <a:pt x="386" y="1003"/>
                    <a:pt x="385" y="1003"/>
                    <a:pt x="385" y="1003"/>
                  </a:cubicBezTo>
                  <a:cubicBezTo>
                    <a:pt x="385" y="1002"/>
                    <a:pt x="384" y="1001"/>
                    <a:pt x="383" y="1001"/>
                  </a:cubicBezTo>
                  <a:cubicBezTo>
                    <a:pt x="383" y="1000"/>
                    <a:pt x="384" y="1000"/>
                    <a:pt x="384" y="999"/>
                  </a:cubicBezTo>
                  <a:cubicBezTo>
                    <a:pt x="384" y="998"/>
                    <a:pt x="384" y="997"/>
                    <a:pt x="385" y="996"/>
                  </a:cubicBezTo>
                  <a:cubicBezTo>
                    <a:pt x="386" y="996"/>
                    <a:pt x="386" y="997"/>
                    <a:pt x="386" y="997"/>
                  </a:cubicBezTo>
                  <a:cubicBezTo>
                    <a:pt x="385" y="995"/>
                    <a:pt x="385" y="994"/>
                    <a:pt x="384" y="992"/>
                  </a:cubicBezTo>
                  <a:cubicBezTo>
                    <a:pt x="379" y="976"/>
                    <a:pt x="375" y="959"/>
                    <a:pt x="373" y="941"/>
                  </a:cubicBezTo>
                  <a:cubicBezTo>
                    <a:pt x="380" y="963"/>
                    <a:pt x="390" y="983"/>
                    <a:pt x="402" y="1003"/>
                  </a:cubicBezTo>
                  <a:cubicBezTo>
                    <a:pt x="402" y="1002"/>
                    <a:pt x="403" y="1000"/>
                    <a:pt x="404" y="999"/>
                  </a:cubicBezTo>
                  <a:cubicBezTo>
                    <a:pt x="404" y="998"/>
                    <a:pt x="405" y="998"/>
                    <a:pt x="405" y="998"/>
                  </a:cubicBezTo>
                  <a:cubicBezTo>
                    <a:pt x="405" y="998"/>
                    <a:pt x="405" y="997"/>
                    <a:pt x="406" y="997"/>
                  </a:cubicBezTo>
                  <a:cubicBezTo>
                    <a:pt x="406" y="997"/>
                    <a:pt x="406" y="997"/>
                    <a:pt x="406" y="997"/>
                  </a:cubicBezTo>
                  <a:cubicBezTo>
                    <a:pt x="400" y="987"/>
                    <a:pt x="395" y="977"/>
                    <a:pt x="390" y="966"/>
                  </a:cubicBezTo>
                  <a:cubicBezTo>
                    <a:pt x="389" y="969"/>
                    <a:pt x="385" y="966"/>
                    <a:pt x="385" y="963"/>
                  </a:cubicBezTo>
                  <a:cubicBezTo>
                    <a:pt x="387" y="963"/>
                    <a:pt x="388" y="965"/>
                    <a:pt x="390" y="966"/>
                  </a:cubicBezTo>
                  <a:cubicBezTo>
                    <a:pt x="386" y="956"/>
                    <a:pt x="382" y="946"/>
                    <a:pt x="378" y="936"/>
                  </a:cubicBezTo>
                  <a:cubicBezTo>
                    <a:pt x="378" y="936"/>
                    <a:pt x="378" y="936"/>
                    <a:pt x="378" y="936"/>
                  </a:cubicBezTo>
                  <a:cubicBezTo>
                    <a:pt x="373" y="936"/>
                    <a:pt x="373" y="936"/>
                    <a:pt x="373" y="936"/>
                  </a:cubicBezTo>
                  <a:cubicBezTo>
                    <a:pt x="371" y="935"/>
                    <a:pt x="371" y="933"/>
                    <a:pt x="371" y="930"/>
                  </a:cubicBezTo>
                  <a:cubicBezTo>
                    <a:pt x="373" y="930"/>
                    <a:pt x="375" y="930"/>
                    <a:pt x="376" y="930"/>
                  </a:cubicBezTo>
                  <a:cubicBezTo>
                    <a:pt x="375" y="929"/>
                    <a:pt x="375" y="927"/>
                    <a:pt x="374" y="925"/>
                  </a:cubicBezTo>
                  <a:cubicBezTo>
                    <a:pt x="374" y="923"/>
                    <a:pt x="372" y="922"/>
                    <a:pt x="370" y="923"/>
                  </a:cubicBezTo>
                  <a:cubicBezTo>
                    <a:pt x="369" y="912"/>
                    <a:pt x="368" y="900"/>
                    <a:pt x="368" y="889"/>
                  </a:cubicBezTo>
                  <a:cubicBezTo>
                    <a:pt x="367" y="890"/>
                    <a:pt x="366" y="890"/>
                    <a:pt x="364" y="889"/>
                  </a:cubicBezTo>
                  <a:cubicBezTo>
                    <a:pt x="364" y="888"/>
                    <a:pt x="364" y="886"/>
                    <a:pt x="365" y="885"/>
                  </a:cubicBezTo>
                  <a:cubicBezTo>
                    <a:pt x="366" y="884"/>
                    <a:pt x="367" y="884"/>
                    <a:pt x="368" y="885"/>
                  </a:cubicBezTo>
                  <a:cubicBezTo>
                    <a:pt x="368" y="878"/>
                    <a:pt x="368" y="871"/>
                    <a:pt x="368" y="864"/>
                  </a:cubicBezTo>
                  <a:cubicBezTo>
                    <a:pt x="367" y="862"/>
                    <a:pt x="367" y="860"/>
                    <a:pt x="362" y="861"/>
                  </a:cubicBezTo>
                  <a:cubicBezTo>
                    <a:pt x="362" y="859"/>
                    <a:pt x="362" y="858"/>
                    <a:pt x="362" y="857"/>
                  </a:cubicBezTo>
                  <a:cubicBezTo>
                    <a:pt x="361" y="869"/>
                    <a:pt x="361" y="880"/>
                    <a:pt x="362" y="891"/>
                  </a:cubicBezTo>
                  <a:cubicBezTo>
                    <a:pt x="364" y="893"/>
                    <a:pt x="363" y="895"/>
                    <a:pt x="362" y="897"/>
                  </a:cubicBezTo>
                  <a:cubicBezTo>
                    <a:pt x="363" y="916"/>
                    <a:pt x="365" y="935"/>
                    <a:pt x="368" y="954"/>
                  </a:cubicBezTo>
                  <a:cubicBezTo>
                    <a:pt x="370" y="954"/>
                    <a:pt x="370" y="954"/>
                    <a:pt x="370" y="954"/>
                  </a:cubicBezTo>
                  <a:cubicBezTo>
                    <a:pt x="370" y="955"/>
                    <a:pt x="370" y="957"/>
                    <a:pt x="369" y="958"/>
                  </a:cubicBezTo>
                  <a:cubicBezTo>
                    <a:pt x="369" y="962"/>
                    <a:pt x="370" y="965"/>
                    <a:pt x="371" y="969"/>
                  </a:cubicBezTo>
                  <a:cubicBezTo>
                    <a:pt x="372" y="968"/>
                    <a:pt x="372" y="968"/>
                    <a:pt x="373" y="968"/>
                  </a:cubicBezTo>
                  <a:cubicBezTo>
                    <a:pt x="374" y="969"/>
                    <a:pt x="374" y="970"/>
                    <a:pt x="375" y="972"/>
                  </a:cubicBezTo>
                  <a:cubicBezTo>
                    <a:pt x="372" y="972"/>
                    <a:pt x="372" y="972"/>
                    <a:pt x="372" y="972"/>
                  </a:cubicBezTo>
                  <a:cubicBezTo>
                    <a:pt x="373" y="978"/>
                    <a:pt x="375" y="983"/>
                    <a:pt x="376" y="989"/>
                  </a:cubicBezTo>
                  <a:cubicBezTo>
                    <a:pt x="381" y="989"/>
                    <a:pt x="381" y="989"/>
                    <a:pt x="381" y="989"/>
                  </a:cubicBezTo>
                  <a:cubicBezTo>
                    <a:pt x="381" y="990"/>
                    <a:pt x="381" y="990"/>
                    <a:pt x="381" y="990"/>
                  </a:cubicBezTo>
                  <a:cubicBezTo>
                    <a:pt x="379" y="991"/>
                    <a:pt x="379" y="989"/>
                    <a:pt x="376" y="989"/>
                  </a:cubicBezTo>
                  <a:cubicBezTo>
                    <a:pt x="381" y="1004"/>
                    <a:pt x="386" y="1019"/>
                    <a:pt x="393" y="1034"/>
                  </a:cubicBezTo>
                  <a:cubicBezTo>
                    <a:pt x="393" y="1034"/>
                    <a:pt x="393" y="1034"/>
                    <a:pt x="393" y="1034"/>
                  </a:cubicBezTo>
                  <a:cubicBezTo>
                    <a:pt x="394" y="1034"/>
                    <a:pt x="395" y="1035"/>
                    <a:pt x="394" y="1037"/>
                  </a:cubicBezTo>
                  <a:cubicBezTo>
                    <a:pt x="398" y="1045"/>
                    <a:pt x="403" y="1053"/>
                    <a:pt x="408" y="1060"/>
                  </a:cubicBezTo>
                  <a:cubicBezTo>
                    <a:pt x="408" y="1061"/>
                    <a:pt x="408" y="1061"/>
                    <a:pt x="409" y="1062"/>
                  </a:cubicBezTo>
                  <a:cubicBezTo>
                    <a:pt x="409" y="1062"/>
                    <a:pt x="409" y="1062"/>
                    <a:pt x="409" y="1062"/>
                  </a:cubicBezTo>
                  <a:cubicBezTo>
                    <a:pt x="410" y="1064"/>
                    <a:pt x="411" y="1065"/>
                    <a:pt x="412" y="1067"/>
                  </a:cubicBezTo>
                  <a:cubicBezTo>
                    <a:pt x="418" y="1077"/>
                    <a:pt x="426" y="1086"/>
                    <a:pt x="434" y="1096"/>
                  </a:cubicBezTo>
                  <a:cubicBezTo>
                    <a:pt x="434" y="1096"/>
                    <a:pt x="434" y="1096"/>
                    <a:pt x="434" y="1096"/>
                  </a:cubicBezTo>
                  <a:cubicBezTo>
                    <a:pt x="435" y="1096"/>
                    <a:pt x="435" y="1096"/>
                    <a:pt x="435" y="1097"/>
                  </a:cubicBezTo>
                  <a:cubicBezTo>
                    <a:pt x="435" y="1097"/>
                    <a:pt x="435" y="1097"/>
                    <a:pt x="435" y="1097"/>
                  </a:cubicBezTo>
                  <a:cubicBezTo>
                    <a:pt x="436" y="1098"/>
                    <a:pt x="437" y="1099"/>
                    <a:pt x="437" y="1099"/>
                  </a:cubicBezTo>
                  <a:cubicBezTo>
                    <a:pt x="438" y="1099"/>
                    <a:pt x="438" y="1099"/>
                    <a:pt x="438" y="1099"/>
                  </a:cubicBezTo>
                  <a:cubicBezTo>
                    <a:pt x="438" y="1100"/>
                    <a:pt x="438" y="1100"/>
                    <a:pt x="438" y="1100"/>
                  </a:cubicBezTo>
                  <a:cubicBezTo>
                    <a:pt x="439" y="1101"/>
                    <a:pt x="439" y="1102"/>
                    <a:pt x="440" y="1102"/>
                  </a:cubicBezTo>
                  <a:cubicBezTo>
                    <a:pt x="440" y="1102"/>
                    <a:pt x="441" y="1103"/>
                    <a:pt x="441" y="1103"/>
                  </a:cubicBezTo>
                  <a:cubicBezTo>
                    <a:pt x="442" y="1104"/>
                    <a:pt x="443" y="1106"/>
                    <a:pt x="444" y="1107"/>
                  </a:cubicBezTo>
                  <a:cubicBezTo>
                    <a:pt x="448" y="1107"/>
                    <a:pt x="451" y="1107"/>
                    <a:pt x="454" y="1106"/>
                  </a:cubicBezTo>
                  <a:cubicBezTo>
                    <a:pt x="524" y="309"/>
                    <a:pt x="496" y="310"/>
                    <a:pt x="468" y="312"/>
                  </a:cubicBezTo>
                  <a:cubicBezTo>
                    <a:pt x="468" y="312"/>
                    <a:pt x="468" y="313"/>
                    <a:pt x="467" y="314"/>
                  </a:cubicBezTo>
                  <a:cubicBezTo>
                    <a:pt x="466" y="314"/>
                    <a:pt x="462" y="311"/>
                    <a:pt x="461" y="313"/>
                  </a:cubicBezTo>
                  <a:cubicBezTo>
                    <a:pt x="465" y="312"/>
                    <a:pt x="461" y="317"/>
                    <a:pt x="464" y="317"/>
                  </a:cubicBezTo>
                  <a:cubicBezTo>
                    <a:pt x="464" y="314"/>
                    <a:pt x="470" y="313"/>
                    <a:pt x="471" y="317"/>
                  </a:cubicBezTo>
                  <a:cubicBezTo>
                    <a:pt x="469" y="318"/>
                    <a:pt x="465" y="317"/>
                    <a:pt x="465" y="319"/>
                  </a:cubicBezTo>
                  <a:cubicBezTo>
                    <a:pt x="467" y="321"/>
                    <a:pt x="468" y="318"/>
                    <a:pt x="471" y="319"/>
                  </a:cubicBezTo>
                  <a:cubicBezTo>
                    <a:pt x="471" y="319"/>
                    <a:pt x="471" y="319"/>
                    <a:pt x="471" y="320"/>
                  </a:cubicBezTo>
                  <a:cubicBezTo>
                    <a:pt x="476" y="319"/>
                    <a:pt x="480" y="319"/>
                    <a:pt x="484" y="319"/>
                  </a:cubicBezTo>
                  <a:cubicBezTo>
                    <a:pt x="484" y="318"/>
                    <a:pt x="484" y="317"/>
                    <a:pt x="483" y="316"/>
                  </a:cubicBezTo>
                  <a:cubicBezTo>
                    <a:pt x="484" y="321"/>
                    <a:pt x="478" y="318"/>
                    <a:pt x="476" y="318"/>
                  </a:cubicBezTo>
                  <a:cubicBezTo>
                    <a:pt x="474" y="311"/>
                    <a:pt x="483" y="313"/>
                    <a:pt x="485" y="312"/>
                  </a:cubicBezTo>
                  <a:cubicBezTo>
                    <a:pt x="485" y="312"/>
                    <a:pt x="485" y="311"/>
                    <a:pt x="485" y="311"/>
                  </a:cubicBezTo>
                  <a:cubicBezTo>
                    <a:pt x="492" y="311"/>
                    <a:pt x="492" y="311"/>
                    <a:pt x="492" y="311"/>
                  </a:cubicBezTo>
                  <a:cubicBezTo>
                    <a:pt x="492" y="312"/>
                    <a:pt x="495" y="312"/>
                    <a:pt x="495" y="315"/>
                  </a:cubicBezTo>
                  <a:cubicBezTo>
                    <a:pt x="492" y="317"/>
                    <a:pt x="489" y="311"/>
                    <a:pt x="486" y="315"/>
                  </a:cubicBezTo>
                  <a:cubicBezTo>
                    <a:pt x="489" y="315"/>
                    <a:pt x="489" y="317"/>
                    <a:pt x="490" y="319"/>
                  </a:cubicBezTo>
                  <a:cubicBezTo>
                    <a:pt x="492" y="318"/>
                    <a:pt x="495" y="318"/>
                    <a:pt x="498" y="318"/>
                  </a:cubicBezTo>
                  <a:cubicBezTo>
                    <a:pt x="497" y="315"/>
                    <a:pt x="496" y="313"/>
                    <a:pt x="494" y="311"/>
                  </a:cubicBezTo>
                  <a:cubicBezTo>
                    <a:pt x="498" y="311"/>
                    <a:pt x="498" y="311"/>
                    <a:pt x="498" y="311"/>
                  </a:cubicBezTo>
                  <a:cubicBezTo>
                    <a:pt x="499" y="313"/>
                    <a:pt x="500" y="316"/>
                    <a:pt x="502" y="318"/>
                  </a:cubicBezTo>
                  <a:cubicBezTo>
                    <a:pt x="503" y="316"/>
                    <a:pt x="502" y="313"/>
                    <a:pt x="502" y="311"/>
                  </a:cubicBezTo>
                  <a:cubicBezTo>
                    <a:pt x="525" y="310"/>
                    <a:pt x="525" y="310"/>
                    <a:pt x="525" y="310"/>
                  </a:cubicBezTo>
                  <a:cubicBezTo>
                    <a:pt x="523" y="311"/>
                    <a:pt x="526" y="314"/>
                    <a:pt x="524" y="316"/>
                  </a:cubicBezTo>
                  <a:cubicBezTo>
                    <a:pt x="527" y="317"/>
                    <a:pt x="526" y="312"/>
                    <a:pt x="526" y="310"/>
                  </a:cubicBezTo>
                  <a:cubicBezTo>
                    <a:pt x="537" y="310"/>
                    <a:pt x="537" y="310"/>
                    <a:pt x="537" y="310"/>
                  </a:cubicBezTo>
                  <a:cubicBezTo>
                    <a:pt x="538" y="311"/>
                    <a:pt x="539" y="312"/>
                    <a:pt x="541" y="313"/>
                  </a:cubicBezTo>
                  <a:cubicBezTo>
                    <a:pt x="541" y="311"/>
                    <a:pt x="539" y="311"/>
                    <a:pt x="538" y="311"/>
                  </a:cubicBezTo>
                  <a:cubicBezTo>
                    <a:pt x="538" y="311"/>
                    <a:pt x="538" y="310"/>
                    <a:pt x="538" y="310"/>
                  </a:cubicBezTo>
                  <a:cubicBezTo>
                    <a:pt x="473" y="1125"/>
                    <a:pt x="467" y="1120"/>
                    <a:pt x="461" y="1114"/>
                  </a:cubicBezTo>
                  <a:cubicBezTo>
                    <a:pt x="457" y="1114"/>
                    <a:pt x="457" y="1114"/>
                    <a:pt x="457" y="1114"/>
                  </a:cubicBezTo>
                  <a:cubicBezTo>
                    <a:pt x="457" y="1113"/>
                    <a:pt x="458" y="1112"/>
                    <a:pt x="458" y="1111"/>
                  </a:cubicBezTo>
                  <a:cubicBezTo>
                    <a:pt x="457" y="1110"/>
                    <a:pt x="457" y="1109"/>
                    <a:pt x="456" y="1109"/>
                  </a:cubicBezTo>
                  <a:cubicBezTo>
                    <a:pt x="455" y="1111"/>
                    <a:pt x="453" y="1111"/>
                    <a:pt x="450" y="1111"/>
                  </a:cubicBezTo>
                  <a:cubicBezTo>
                    <a:pt x="450" y="1111"/>
                    <a:pt x="450" y="1112"/>
                    <a:pt x="450" y="1113"/>
                  </a:cubicBezTo>
                  <a:cubicBezTo>
                    <a:pt x="456" y="1119"/>
                    <a:pt x="463" y="1125"/>
                    <a:pt x="470" y="1131"/>
                  </a:cubicBezTo>
                  <a:cubicBezTo>
                    <a:pt x="381" y="1044"/>
                    <a:pt x="377" y="1035"/>
                    <a:pt x="374" y="1026"/>
                  </a:cubicBezTo>
                  <a:cubicBezTo>
                    <a:pt x="373" y="1026"/>
                    <a:pt x="372" y="1026"/>
                    <a:pt x="371" y="1026"/>
                  </a:cubicBezTo>
                  <a:cubicBezTo>
                    <a:pt x="371" y="1026"/>
                    <a:pt x="370" y="1025"/>
                    <a:pt x="369" y="1025"/>
                  </a:cubicBezTo>
                  <a:cubicBezTo>
                    <a:pt x="373" y="1025"/>
                    <a:pt x="373" y="1025"/>
                    <a:pt x="373" y="1025"/>
                  </a:cubicBezTo>
                  <a:cubicBezTo>
                    <a:pt x="371" y="1019"/>
                    <a:pt x="369" y="1013"/>
                    <a:pt x="367" y="1008"/>
                  </a:cubicBezTo>
                  <a:cubicBezTo>
                    <a:pt x="364" y="1008"/>
                    <a:pt x="364" y="1008"/>
                    <a:pt x="364" y="1008"/>
                  </a:cubicBezTo>
                  <a:cubicBezTo>
                    <a:pt x="365" y="1007"/>
                    <a:pt x="366" y="1006"/>
                    <a:pt x="367" y="1005"/>
                  </a:cubicBezTo>
                  <a:cubicBezTo>
                    <a:pt x="366" y="1005"/>
                    <a:pt x="366" y="1004"/>
                    <a:pt x="366" y="1004"/>
                  </a:cubicBezTo>
                  <a:cubicBezTo>
                    <a:pt x="365" y="1002"/>
                    <a:pt x="365" y="998"/>
                    <a:pt x="362" y="1001"/>
                  </a:cubicBezTo>
                  <a:cubicBezTo>
                    <a:pt x="362" y="998"/>
                    <a:pt x="360" y="999"/>
                    <a:pt x="361" y="996"/>
                  </a:cubicBezTo>
                  <a:cubicBezTo>
                    <a:pt x="362" y="996"/>
                    <a:pt x="363" y="995"/>
                    <a:pt x="364" y="995"/>
                  </a:cubicBezTo>
                  <a:cubicBezTo>
                    <a:pt x="360" y="984"/>
                    <a:pt x="358" y="972"/>
                    <a:pt x="355" y="960"/>
                  </a:cubicBezTo>
                  <a:cubicBezTo>
                    <a:pt x="355" y="960"/>
                    <a:pt x="354" y="959"/>
                    <a:pt x="354" y="959"/>
                  </a:cubicBezTo>
                  <a:cubicBezTo>
                    <a:pt x="352" y="958"/>
                    <a:pt x="350" y="961"/>
                    <a:pt x="349" y="961"/>
                  </a:cubicBezTo>
                  <a:cubicBezTo>
                    <a:pt x="349" y="962"/>
                    <a:pt x="349" y="963"/>
                    <a:pt x="349" y="964"/>
                  </a:cubicBezTo>
                  <a:cubicBezTo>
                    <a:pt x="349" y="964"/>
                    <a:pt x="349" y="965"/>
                    <a:pt x="350" y="965"/>
                  </a:cubicBezTo>
                  <a:cubicBezTo>
                    <a:pt x="350" y="965"/>
                    <a:pt x="350" y="965"/>
                    <a:pt x="350" y="965"/>
                  </a:cubicBezTo>
                  <a:cubicBezTo>
                    <a:pt x="355" y="965"/>
                    <a:pt x="355" y="969"/>
                    <a:pt x="356" y="972"/>
                  </a:cubicBezTo>
                  <a:cubicBezTo>
                    <a:pt x="351" y="972"/>
                    <a:pt x="351" y="972"/>
                    <a:pt x="351" y="972"/>
                  </a:cubicBezTo>
                  <a:cubicBezTo>
                    <a:pt x="353" y="982"/>
                    <a:pt x="356" y="991"/>
                    <a:pt x="358" y="1001"/>
                  </a:cubicBezTo>
                  <a:cubicBezTo>
                    <a:pt x="359" y="1001"/>
                    <a:pt x="359" y="1001"/>
                    <a:pt x="359" y="1000"/>
                  </a:cubicBezTo>
                  <a:cubicBezTo>
                    <a:pt x="365" y="1000"/>
                    <a:pt x="366" y="1003"/>
                    <a:pt x="364" y="1008"/>
                  </a:cubicBezTo>
                  <a:cubicBezTo>
                    <a:pt x="360" y="1008"/>
                    <a:pt x="360" y="1008"/>
                    <a:pt x="360" y="1008"/>
                  </a:cubicBezTo>
                  <a:cubicBezTo>
                    <a:pt x="365" y="1022"/>
                    <a:pt x="370" y="1036"/>
                    <a:pt x="377" y="1050"/>
                  </a:cubicBezTo>
                  <a:cubicBezTo>
                    <a:pt x="379" y="1053"/>
                    <a:pt x="381" y="1057"/>
                    <a:pt x="383" y="1060"/>
                  </a:cubicBezTo>
                  <a:cubicBezTo>
                    <a:pt x="391" y="1060"/>
                    <a:pt x="391" y="1060"/>
                    <a:pt x="391" y="1060"/>
                  </a:cubicBezTo>
                  <a:cubicBezTo>
                    <a:pt x="389" y="1058"/>
                    <a:pt x="388" y="1056"/>
                    <a:pt x="386" y="1053"/>
                  </a:cubicBezTo>
                  <a:cubicBezTo>
                    <a:pt x="346" y="899"/>
                    <a:pt x="347" y="901"/>
                    <a:pt x="345" y="900"/>
                  </a:cubicBezTo>
                  <a:cubicBezTo>
                    <a:pt x="344" y="898"/>
                    <a:pt x="342" y="897"/>
                    <a:pt x="341" y="895"/>
                  </a:cubicBezTo>
                  <a:cubicBezTo>
                    <a:pt x="341" y="906"/>
                    <a:pt x="342" y="917"/>
                    <a:pt x="344" y="929"/>
                  </a:cubicBezTo>
                  <a:cubicBezTo>
                    <a:pt x="344" y="930"/>
                    <a:pt x="345" y="931"/>
                    <a:pt x="346" y="931"/>
                  </a:cubicBezTo>
                  <a:cubicBezTo>
                    <a:pt x="346" y="930"/>
                    <a:pt x="346" y="928"/>
                    <a:pt x="346" y="927"/>
                  </a:cubicBezTo>
                  <a:cubicBezTo>
                    <a:pt x="347" y="927"/>
                    <a:pt x="349" y="927"/>
                    <a:pt x="350" y="927"/>
                  </a:cubicBezTo>
                  <a:cubicBezTo>
                    <a:pt x="349" y="917"/>
                    <a:pt x="348" y="908"/>
                    <a:pt x="348" y="899"/>
                  </a:cubicBezTo>
                  <a:cubicBezTo>
                    <a:pt x="389" y="1071"/>
                    <a:pt x="389" y="1071"/>
                    <a:pt x="389" y="1071"/>
                  </a:cubicBezTo>
                  <a:cubicBezTo>
                    <a:pt x="389" y="1071"/>
                    <a:pt x="389" y="1071"/>
                    <a:pt x="389" y="1071"/>
                  </a:cubicBezTo>
                  <a:cubicBezTo>
                    <a:pt x="389" y="1071"/>
                    <a:pt x="389" y="1071"/>
                    <a:pt x="389" y="1071"/>
                  </a:cubicBezTo>
                  <a:cubicBezTo>
                    <a:pt x="607" y="1142"/>
                    <a:pt x="606" y="1141"/>
                    <a:pt x="605" y="1141"/>
                  </a:cubicBezTo>
                  <a:cubicBezTo>
                    <a:pt x="606" y="1142"/>
                    <a:pt x="606" y="1143"/>
                    <a:pt x="607" y="1144"/>
                  </a:cubicBezTo>
                  <a:cubicBezTo>
                    <a:pt x="608" y="1143"/>
                    <a:pt x="608" y="1143"/>
                    <a:pt x="608" y="1143"/>
                  </a:cubicBezTo>
                  <a:cubicBezTo>
                    <a:pt x="1017" y="822"/>
                    <a:pt x="1017" y="823"/>
                    <a:pt x="1017" y="824"/>
                  </a:cubicBezTo>
                  <a:cubicBezTo>
                    <a:pt x="1019" y="821"/>
                    <a:pt x="1021" y="819"/>
                    <a:pt x="1022" y="816"/>
                  </a:cubicBezTo>
                  <a:cubicBezTo>
                    <a:pt x="1019" y="817"/>
                    <a:pt x="1015" y="818"/>
                    <a:pt x="1011" y="819"/>
                  </a:cubicBezTo>
                  <a:cubicBezTo>
                    <a:pt x="1013" y="820"/>
                    <a:pt x="1014" y="821"/>
                    <a:pt x="1017" y="821"/>
                  </a:cubicBezTo>
                  <a:cubicBezTo>
                    <a:pt x="362" y="894"/>
                    <a:pt x="362" y="894"/>
                    <a:pt x="362" y="894"/>
                  </a:cubicBezTo>
                  <a:cubicBezTo>
                    <a:pt x="362" y="894"/>
                    <a:pt x="362" y="894"/>
                    <a:pt x="362" y="895"/>
                  </a:cubicBezTo>
                  <a:cubicBezTo>
                    <a:pt x="362" y="894"/>
                    <a:pt x="362" y="894"/>
                    <a:pt x="362" y="894"/>
                  </a:cubicBezTo>
                  <a:cubicBezTo>
                    <a:pt x="746" y="319"/>
                    <a:pt x="747" y="322"/>
                    <a:pt x="747" y="324"/>
                  </a:cubicBezTo>
                  <a:cubicBezTo>
                    <a:pt x="747" y="324"/>
                    <a:pt x="748" y="324"/>
                    <a:pt x="748" y="324"/>
                  </a:cubicBezTo>
                  <a:cubicBezTo>
                    <a:pt x="749" y="323"/>
                    <a:pt x="750" y="323"/>
                    <a:pt x="750" y="323"/>
                  </a:cubicBezTo>
                  <a:cubicBezTo>
                    <a:pt x="748" y="320"/>
                    <a:pt x="749" y="319"/>
                    <a:pt x="749" y="317"/>
                  </a:cubicBezTo>
                  <a:cubicBezTo>
                    <a:pt x="748" y="317"/>
                    <a:pt x="747" y="317"/>
                    <a:pt x="745" y="317"/>
                  </a:cubicBezTo>
                  <a:cubicBezTo>
                    <a:pt x="1006" y="822"/>
                    <a:pt x="1006" y="823"/>
                    <a:pt x="1006" y="824"/>
                  </a:cubicBezTo>
                  <a:cubicBezTo>
                    <a:pt x="998" y="824"/>
                    <a:pt x="998" y="824"/>
                    <a:pt x="998" y="824"/>
                  </a:cubicBezTo>
                  <a:cubicBezTo>
                    <a:pt x="974" y="831"/>
                    <a:pt x="950" y="837"/>
                    <a:pt x="926" y="842"/>
                  </a:cubicBezTo>
                  <a:cubicBezTo>
                    <a:pt x="941" y="842"/>
                    <a:pt x="941" y="842"/>
                    <a:pt x="941" y="842"/>
                  </a:cubicBezTo>
                  <a:cubicBezTo>
                    <a:pt x="941" y="842"/>
                    <a:pt x="941" y="843"/>
                    <a:pt x="940" y="843"/>
                  </a:cubicBezTo>
                  <a:cubicBezTo>
                    <a:pt x="939" y="843"/>
                    <a:pt x="938" y="843"/>
                    <a:pt x="937" y="843"/>
                  </a:cubicBezTo>
                  <a:cubicBezTo>
                    <a:pt x="936" y="844"/>
                    <a:pt x="935" y="845"/>
                    <a:pt x="936" y="846"/>
                  </a:cubicBezTo>
                  <a:cubicBezTo>
                    <a:pt x="938" y="844"/>
                    <a:pt x="941" y="844"/>
                    <a:pt x="944" y="846"/>
                  </a:cubicBezTo>
                  <a:cubicBezTo>
                    <a:pt x="944" y="846"/>
                    <a:pt x="944" y="846"/>
                    <a:pt x="944" y="846"/>
                  </a:cubicBezTo>
                  <a:cubicBezTo>
                    <a:pt x="943" y="842"/>
                    <a:pt x="946" y="842"/>
                    <a:pt x="949" y="842"/>
                  </a:cubicBezTo>
                  <a:cubicBezTo>
                    <a:pt x="949" y="842"/>
                    <a:pt x="949" y="842"/>
                    <a:pt x="949" y="842"/>
                  </a:cubicBezTo>
                  <a:cubicBezTo>
                    <a:pt x="963" y="841"/>
                    <a:pt x="963" y="841"/>
                    <a:pt x="963" y="841"/>
                  </a:cubicBezTo>
                  <a:cubicBezTo>
                    <a:pt x="983" y="836"/>
                    <a:pt x="1002" y="830"/>
                    <a:pt x="1022" y="824"/>
                  </a:cubicBezTo>
                  <a:cubicBezTo>
                    <a:pt x="1007" y="824"/>
                    <a:pt x="1007" y="824"/>
                    <a:pt x="1007" y="824"/>
                  </a:cubicBezTo>
                  <a:cubicBezTo>
                    <a:pt x="1007" y="823"/>
                    <a:pt x="1007" y="822"/>
                    <a:pt x="1007" y="821"/>
                  </a:cubicBezTo>
                  <a:cubicBezTo>
                    <a:pt x="1007" y="821"/>
                    <a:pt x="1007" y="821"/>
                    <a:pt x="1006" y="821"/>
                  </a:cubicBezTo>
                  <a:cubicBezTo>
                    <a:pt x="1115" y="1035"/>
                    <a:pt x="1115" y="1036"/>
                    <a:pt x="1114" y="1036"/>
                  </a:cubicBezTo>
                  <a:cubicBezTo>
                    <a:pt x="1114" y="1036"/>
                    <a:pt x="1114" y="1036"/>
                    <a:pt x="1114" y="1036"/>
                  </a:cubicBezTo>
                  <a:cubicBezTo>
                    <a:pt x="1115" y="1036"/>
                    <a:pt x="1115" y="1036"/>
                    <a:pt x="1116" y="1035"/>
                  </a:cubicBezTo>
                  <a:cubicBezTo>
                    <a:pt x="997" y="1073"/>
                    <a:pt x="997" y="1073"/>
                    <a:pt x="997" y="1073"/>
                  </a:cubicBezTo>
                  <a:cubicBezTo>
                    <a:pt x="997" y="1073"/>
                    <a:pt x="997" y="1073"/>
                    <a:pt x="997" y="1073"/>
                  </a:cubicBezTo>
                  <a:cubicBezTo>
                    <a:pt x="995" y="1075"/>
                    <a:pt x="993" y="1076"/>
                    <a:pt x="991" y="1078"/>
                  </a:cubicBezTo>
                  <a:cubicBezTo>
                    <a:pt x="981" y="1083"/>
                    <a:pt x="972" y="1089"/>
                    <a:pt x="963" y="1094"/>
                  </a:cubicBezTo>
                  <a:cubicBezTo>
                    <a:pt x="963" y="1095"/>
                    <a:pt x="962" y="1096"/>
                    <a:pt x="962" y="1097"/>
                  </a:cubicBezTo>
                  <a:cubicBezTo>
                    <a:pt x="965" y="1097"/>
                    <a:pt x="968" y="1097"/>
                    <a:pt x="970" y="1098"/>
                  </a:cubicBezTo>
                  <a:cubicBezTo>
                    <a:pt x="972" y="1097"/>
                    <a:pt x="973" y="1096"/>
                    <a:pt x="974" y="1095"/>
                  </a:cubicBezTo>
                  <a:cubicBezTo>
                    <a:pt x="973" y="1095"/>
                    <a:pt x="971" y="1094"/>
                    <a:pt x="972" y="1091"/>
                  </a:cubicBezTo>
                  <a:cubicBezTo>
                    <a:pt x="972" y="1091"/>
                    <a:pt x="972" y="1091"/>
                    <a:pt x="972" y="1091"/>
                  </a:cubicBezTo>
                  <a:cubicBezTo>
                    <a:pt x="982" y="1091"/>
                    <a:pt x="982" y="1091"/>
                    <a:pt x="982" y="1091"/>
                  </a:cubicBezTo>
                  <a:cubicBezTo>
                    <a:pt x="992" y="1085"/>
                    <a:pt x="1001" y="1079"/>
                    <a:pt x="1011" y="1073"/>
                  </a:cubicBezTo>
                  <a:cubicBezTo>
                    <a:pt x="1010" y="1072"/>
                    <a:pt x="1009" y="1071"/>
                    <a:pt x="1008" y="1069"/>
                  </a:cubicBezTo>
                  <a:cubicBezTo>
                    <a:pt x="1007" y="1071"/>
                    <a:pt x="1006" y="1072"/>
                    <a:pt x="1006" y="1073"/>
                  </a:cubicBezTo>
                  <a:cubicBezTo>
                    <a:pt x="1000" y="1091"/>
                    <a:pt x="1001" y="1091"/>
                    <a:pt x="1002" y="1092"/>
                  </a:cubicBezTo>
                  <a:cubicBezTo>
                    <a:pt x="1002" y="1091"/>
                    <a:pt x="1002" y="1091"/>
                    <a:pt x="1002" y="1091"/>
                  </a:cubicBezTo>
                  <a:cubicBezTo>
                    <a:pt x="1008" y="1091"/>
                    <a:pt x="1008" y="1091"/>
                    <a:pt x="1008" y="1091"/>
                  </a:cubicBezTo>
                  <a:cubicBezTo>
                    <a:pt x="1009" y="1091"/>
                    <a:pt x="1009" y="1091"/>
                    <a:pt x="1009" y="1092"/>
                  </a:cubicBezTo>
                  <a:cubicBezTo>
                    <a:pt x="1010" y="1091"/>
                    <a:pt x="1010" y="1091"/>
                    <a:pt x="1010" y="1091"/>
                  </a:cubicBezTo>
                  <a:cubicBezTo>
                    <a:pt x="1020" y="1086"/>
                    <a:pt x="1029" y="1079"/>
                    <a:pt x="1039" y="1073"/>
                  </a:cubicBezTo>
                  <a:cubicBezTo>
                    <a:pt x="1026" y="1073"/>
                    <a:pt x="1026" y="1073"/>
                    <a:pt x="1026" y="1073"/>
                  </a:cubicBezTo>
                  <a:cubicBezTo>
                    <a:pt x="1017" y="1079"/>
                    <a:pt x="1008" y="1085"/>
                    <a:pt x="998" y="1091"/>
                  </a:cubicBezTo>
                  <a:cubicBezTo>
                    <a:pt x="867" y="1141"/>
                    <a:pt x="874" y="1139"/>
                    <a:pt x="882" y="1137"/>
                  </a:cubicBezTo>
                  <a:cubicBezTo>
                    <a:pt x="880" y="1135"/>
                    <a:pt x="879" y="1133"/>
                    <a:pt x="879" y="1131"/>
                  </a:cubicBezTo>
                  <a:cubicBezTo>
                    <a:pt x="872" y="1133"/>
                    <a:pt x="866" y="1135"/>
                    <a:pt x="859" y="1136"/>
                  </a:cubicBezTo>
                  <a:cubicBezTo>
                    <a:pt x="860" y="1137"/>
                    <a:pt x="860" y="1139"/>
                    <a:pt x="861" y="1140"/>
                  </a:cubicBezTo>
                  <a:cubicBezTo>
                    <a:pt x="860" y="1140"/>
                    <a:pt x="859" y="1140"/>
                    <a:pt x="859" y="1140"/>
                  </a:cubicBezTo>
                  <a:cubicBezTo>
                    <a:pt x="859" y="1141"/>
                    <a:pt x="859" y="1142"/>
                    <a:pt x="859" y="1143"/>
                  </a:cubicBezTo>
                  <a:cubicBezTo>
                    <a:pt x="170" y="1009"/>
                    <a:pt x="174" y="991"/>
                    <a:pt x="178" y="974"/>
                  </a:cubicBezTo>
                  <a:cubicBezTo>
                    <a:pt x="173" y="974"/>
                    <a:pt x="173" y="974"/>
                    <a:pt x="173" y="974"/>
                  </a:cubicBezTo>
                  <a:cubicBezTo>
                    <a:pt x="173" y="971"/>
                    <a:pt x="173" y="969"/>
                    <a:pt x="176" y="969"/>
                  </a:cubicBezTo>
                  <a:cubicBezTo>
                    <a:pt x="177" y="970"/>
                    <a:pt x="178" y="970"/>
                    <a:pt x="178" y="971"/>
                  </a:cubicBezTo>
                  <a:cubicBezTo>
                    <a:pt x="178" y="971"/>
                    <a:pt x="178" y="970"/>
                    <a:pt x="179" y="970"/>
                  </a:cubicBezTo>
                  <a:cubicBezTo>
                    <a:pt x="177" y="967"/>
                    <a:pt x="176" y="964"/>
                    <a:pt x="174" y="961"/>
                  </a:cubicBezTo>
                  <a:cubicBezTo>
                    <a:pt x="170" y="983"/>
                    <a:pt x="164" y="1005"/>
                    <a:pt x="158" y="1027"/>
                  </a:cubicBezTo>
                  <a:cubicBezTo>
                    <a:pt x="189" y="1004"/>
                    <a:pt x="190" y="1003"/>
                    <a:pt x="188" y="1005"/>
                  </a:cubicBezTo>
                  <a:cubicBezTo>
                    <a:pt x="188" y="1005"/>
                    <a:pt x="188" y="1005"/>
                    <a:pt x="188" y="1005"/>
                  </a:cubicBezTo>
                  <a:cubicBezTo>
                    <a:pt x="188" y="1006"/>
                    <a:pt x="188" y="1007"/>
                    <a:pt x="188" y="1007"/>
                  </a:cubicBezTo>
                  <a:cubicBezTo>
                    <a:pt x="190" y="1007"/>
                    <a:pt x="191" y="1008"/>
                    <a:pt x="193" y="1008"/>
                  </a:cubicBezTo>
                  <a:cubicBezTo>
                    <a:pt x="194" y="1006"/>
                    <a:pt x="194" y="1004"/>
                    <a:pt x="194" y="1003"/>
                  </a:cubicBezTo>
                  <a:cubicBezTo>
                    <a:pt x="193" y="1002"/>
                    <a:pt x="192" y="1001"/>
                    <a:pt x="190" y="1000"/>
                  </a:cubicBezTo>
                  <a:cubicBezTo>
                    <a:pt x="146" y="1067"/>
                    <a:pt x="146" y="1065"/>
                    <a:pt x="146" y="1063"/>
                  </a:cubicBezTo>
                  <a:cubicBezTo>
                    <a:pt x="145" y="1065"/>
                    <a:pt x="144" y="1068"/>
                    <a:pt x="143" y="1070"/>
                  </a:cubicBezTo>
                  <a:cubicBezTo>
                    <a:pt x="144" y="1073"/>
                    <a:pt x="146" y="1076"/>
                    <a:pt x="147" y="1079"/>
                  </a:cubicBezTo>
                  <a:cubicBezTo>
                    <a:pt x="149" y="1074"/>
                    <a:pt x="150" y="1070"/>
                    <a:pt x="152" y="1066"/>
                  </a:cubicBezTo>
                  <a:cubicBezTo>
                    <a:pt x="151" y="1067"/>
                    <a:pt x="149" y="1067"/>
                    <a:pt x="148" y="1068"/>
                  </a:cubicBezTo>
                  <a:cubicBezTo>
                    <a:pt x="255" y="971"/>
                    <a:pt x="256" y="982"/>
                    <a:pt x="258" y="992"/>
                  </a:cubicBezTo>
                  <a:cubicBezTo>
                    <a:pt x="258" y="997"/>
                    <a:pt x="259" y="1001"/>
                    <a:pt x="260" y="1005"/>
                  </a:cubicBezTo>
                  <a:cubicBezTo>
                    <a:pt x="260" y="1004"/>
                    <a:pt x="260" y="1004"/>
                    <a:pt x="260" y="1004"/>
                  </a:cubicBezTo>
                  <a:cubicBezTo>
                    <a:pt x="263" y="1003"/>
                    <a:pt x="265" y="1004"/>
                    <a:pt x="267" y="1005"/>
                  </a:cubicBezTo>
                  <a:cubicBezTo>
                    <a:pt x="261" y="968"/>
                    <a:pt x="258" y="930"/>
                    <a:pt x="259" y="892"/>
                  </a:cubicBezTo>
                  <a:cubicBezTo>
                    <a:pt x="258" y="892"/>
                    <a:pt x="258" y="892"/>
                    <a:pt x="257" y="892"/>
                  </a:cubicBezTo>
                  <a:cubicBezTo>
                    <a:pt x="257" y="890"/>
                    <a:pt x="258" y="890"/>
                    <a:pt x="259" y="889"/>
                  </a:cubicBezTo>
                  <a:cubicBezTo>
                    <a:pt x="259" y="881"/>
                    <a:pt x="259" y="874"/>
                    <a:pt x="260" y="866"/>
                  </a:cubicBezTo>
                  <a:cubicBezTo>
                    <a:pt x="253" y="866"/>
                    <a:pt x="253" y="866"/>
                    <a:pt x="253" y="866"/>
                  </a:cubicBezTo>
                  <a:cubicBezTo>
                    <a:pt x="253" y="866"/>
                    <a:pt x="253" y="866"/>
                    <a:pt x="254" y="865"/>
                  </a:cubicBezTo>
                  <a:cubicBezTo>
                    <a:pt x="254" y="865"/>
                    <a:pt x="253" y="865"/>
                    <a:pt x="253" y="865"/>
                  </a:cubicBezTo>
                  <a:cubicBezTo>
                    <a:pt x="251" y="887"/>
                    <a:pt x="251" y="909"/>
                    <a:pt x="252" y="931"/>
                  </a:cubicBezTo>
                  <a:cubicBezTo>
                    <a:pt x="252" y="931"/>
                    <a:pt x="252" y="932"/>
                    <a:pt x="252" y="933"/>
                  </a:cubicBezTo>
                  <a:cubicBezTo>
                    <a:pt x="252" y="933"/>
                    <a:pt x="252" y="933"/>
                    <a:pt x="252" y="933"/>
                  </a:cubicBezTo>
                  <a:cubicBezTo>
                    <a:pt x="252" y="940"/>
                    <a:pt x="253" y="947"/>
                    <a:pt x="253" y="955"/>
                  </a:cubicBezTo>
                  <a:cubicBezTo>
                    <a:pt x="258" y="955"/>
                    <a:pt x="258" y="955"/>
                    <a:pt x="258" y="955"/>
                  </a:cubicBezTo>
                  <a:cubicBezTo>
                    <a:pt x="257" y="957"/>
                    <a:pt x="257" y="959"/>
                    <a:pt x="256" y="961"/>
                  </a:cubicBezTo>
                  <a:cubicBezTo>
                    <a:pt x="256" y="961"/>
                    <a:pt x="255" y="961"/>
                    <a:pt x="254" y="961"/>
                  </a:cubicBezTo>
                  <a:cubicBezTo>
                    <a:pt x="207" y="930"/>
                    <a:pt x="206" y="930"/>
                    <a:pt x="206" y="930"/>
                  </a:cubicBezTo>
                  <a:cubicBezTo>
                    <a:pt x="205" y="927"/>
                    <a:pt x="206" y="926"/>
                    <a:pt x="209" y="926"/>
                  </a:cubicBezTo>
                  <a:cubicBezTo>
                    <a:pt x="209" y="924"/>
                    <a:pt x="210" y="922"/>
                    <a:pt x="210" y="920"/>
                  </a:cubicBezTo>
                  <a:cubicBezTo>
                    <a:pt x="209" y="920"/>
                    <a:pt x="208" y="920"/>
                    <a:pt x="207" y="919"/>
                  </a:cubicBezTo>
                  <a:cubicBezTo>
                    <a:pt x="210" y="919"/>
                    <a:pt x="210" y="919"/>
                    <a:pt x="210" y="919"/>
                  </a:cubicBezTo>
                  <a:cubicBezTo>
                    <a:pt x="211" y="913"/>
                    <a:pt x="212" y="908"/>
                    <a:pt x="213" y="902"/>
                  </a:cubicBezTo>
                  <a:cubicBezTo>
                    <a:pt x="207" y="902"/>
                    <a:pt x="207" y="902"/>
                    <a:pt x="207" y="902"/>
                  </a:cubicBezTo>
                  <a:cubicBezTo>
                    <a:pt x="208" y="902"/>
                    <a:pt x="208" y="901"/>
                    <a:pt x="209" y="901"/>
                  </a:cubicBezTo>
                  <a:cubicBezTo>
                    <a:pt x="208" y="900"/>
                    <a:pt x="208" y="898"/>
                    <a:pt x="208" y="896"/>
                  </a:cubicBezTo>
                  <a:cubicBezTo>
                    <a:pt x="205" y="909"/>
                    <a:pt x="203" y="922"/>
                    <a:pt x="201" y="935"/>
                  </a:cubicBezTo>
                  <a:cubicBezTo>
                    <a:pt x="201" y="935"/>
                    <a:pt x="201" y="936"/>
                    <a:pt x="201" y="937"/>
                  </a:cubicBezTo>
                  <a:cubicBezTo>
                    <a:pt x="201" y="937"/>
                    <a:pt x="201" y="937"/>
                    <a:pt x="201" y="937"/>
                  </a:cubicBezTo>
                  <a:cubicBezTo>
                    <a:pt x="199" y="947"/>
                    <a:pt x="198" y="956"/>
                    <a:pt x="196" y="966"/>
                  </a:cubicBezTo>
                  <a:cubicBezTo>
                    <a:pt x="196" y="967"/>
                    <a:pt x="196" y="968"/>
                    <a:pt x="195" y="969"/>
                  </a:cubicBezTo>
                  <a:cubicBezTo>
                    <a:pt x="196" y="968"/>
                    <a:pt x="198" y="968"/>
                    <a:pt x="200" y="969"/>
                  </a:cubicBezTo>
                  <a:cubicBezTo>
                    <a:pt x="200" y="972"/>
                    <a:pt x="197" y="972"/>
                    <a:pt x="195" y="971"/>
                  </a:cubicBezTo>
                  <a:cubicBezTo>
                    <a:pt x="194" y="978"/>
                    <a:pt x="192" y="984"/>
                    <a:pt x="191" y="991"/>
                  </a:cubicBezTo>
                  <a:cubicBezTo>
                    <a:pt x="197" y="991"/>
                    <a:pt x="197" y="991"/>
                    <a:pt x="197" y="991"/>
                  </a:cubicBezTo>
                  <a:cubicBezTo>
                    <a:pt x="201" y="971"/>
                    <a:pt x="204" y="950"/>
                    <a:pt x="208" y="930"/>
                  </a:cubicBezTo>
                  <a:cubicBezTo>
                    <a:pt x="915" y="1138"/>
                    <a:pt x="915" y="1138"/>
                    <a:pt x="914" y="1137"/>
                  </a:cubicBezTo>
                  <a:cubicBezTo>
                    <a:pt x="913" y="1138"/>
                    <a:pt x="911" y="1137"/>
                    <a:pt x="910" y="1136"/>
                  </a:cubicBezTo>
                  <a:cubicBezTo>
                    <a:pt x="910" y="1136"/>
                    <a:pt x="910" y="1136"/>
                    <a:pt x="910" y="1136"/>
                  </a:cubicBezTo>
                  <a:cubicBezTo>
                    <a:pt x="908" y="1138"/>
                    <a:pt x="907" y="1140"/>
                    <a:pt x="905" y="1141"/>
                  </a:cubicBezTo>
                  <a:cubicBezTo>
                    <a:pt x="904" y="1141"/>
                    <a:pt x="903" y="1141"/>
                    <a:pt x="902" y="1141"/>
                  </a:cubicBezTo>
                  <a:cubicBezTo>
                    <a:pt x="902" y="1142"/>
                    <a:pt x="903" y="1143"/>
                    <a:pt x="903" y="1143"/>
                  </a:cubicBezTo>
                  <a:cubicBezTo>
                    <a:pt x="907" y="1142"/>
                    <a:pt x="911" y="1140"/>
                    <a:pt x="916" y="1139"/>
                  </a:cubicBezTo>
                  <a:cubicBezTo>
                    <a:pt x="62" y="353"/>
                    <a:pt x="61" y="352"/>
                    <a:pt x="61" y="351"/>
                  </a:cubicBezTo>
                  <a:cubicBezTo>
                    <a:pt x="60" y="352"/>
                    <a:pt x="58" y="354"/>
                    <a:pt x="56" y="355"/>
                  </a:cubicBezTo>
                  <a:cubicBezTo>
                    <a:pt x="58" y="356"/>
                    <a:pt x="59" y="356"/>
                    <a:pt x="61" y="355"/>
                  </a:cubicBezTo>
                  <a:cubicBezTo>
                    <a:pt x="39" y="333"/>
                    <a:pt x="39" y="333"/>
                    <a:pt x="39" y="333"/>
                  </a:cubicBezTo>
                  <a:cubicBezTo>
                    <a:pt x="33" y="339"/>
                    <a:pt x="26" y="344"/>
                    <a:pt x="20" y="350"/>
                  </a:cubicBezTo>
                  <a:cubicBezTo>
                    <a:pt x="29" y="350"/>
                    <a:pt x="29" y="350"/>
                    <a:pt x="29" y="350"/>
                  </a:cubicBezTo>
                  <a:cubicBezTo>
                    <a:pt x="36" y="344"/>
                    <a:pt x="42" y="339"/>
                    <a:pt x="49" y="333"/>
                  </a:cubicBezTo>
                  <a:cubicBezTo>
                    <a:pt x="611" y="1204"/>
                    <a:pt x="610" y="1203"/>
                    <a:pt x="610" y="1203"/>
                  </a:cubicBezTo>
                  <a:cubicBezTo>
                    <a:pt x="610" y="1204"/>
                    <a:pt x="610" y="1204"/>
                    <a:pt x="610" y="1204"/>
                  </a:cubicBezTo>
                  <a:cubicBezTo>
                    <a:pt x="610" y="1204"/>
                    <a:pt x="610" y="1204"/>
                    <a:pt x="611" y="1204"/>
                  </a:cubicBezTo>
                  <a:cubicBezTo>
                    <a:pt x="603" y="1208"/>
                    <a:pt x="606" y="1209"/>
                    <a:pt x="609" y="1210"/>
                  </a:cubicBezTo>
                  <a:cubicBezTo>
                    <a:pt x="608" y="1208"/>
                    <a:pt x="608" y="1206"/>
                    <a:pt x="607" y="1204"/>
                  </a:cubicBezTo>
                  <a:cubicBezTo>
                    <a:pt x="606" y="1206"/>
                    <a:pt x="604" y="1207"/>
                    <a:pt x="601" y="1208"/>
                  </a:cubicBezTo>
                  <a:cubicBezTo>
                    <a:pt x="299" y="900"/>
                    <a:pt x="299" y="881"/>
                    <a:pt x="301" y="863"/>
                  </a:cubicBezTo>
                  <a:cubicBezTo>
                    <a:pt x="300" y="862"/>
                    <a:pt x="299" y="862"/>
                    <a:pt x="298" y="861"/>
                  </a:cubicBezTo>
                  <a:cubicBezTo>
                    <a:pt x="299" y="860"/>
                    <a:pt x="300" y="859"/>
                    <a:pt x="301" y="859"/>
                  </a:cubicBezTo>
                  <a:cubicBezTo>
                    <a:pt x="302" y="845"/>
                    <a:pt x="304" y="831"/>
                    <a:pt x="306" y="817"/>
                  </a:cubicBezTo>
                  <a:cubicBezTo>
                    <a:pt x="306" y="817"/>
                    <a:pt x="306" y="816"/>
                    <a:pt x="306" y="816"/>
                  </a:cubicBezTo>
                  <a:cubicBezTo>
                    <a:pt x="306" y="814"/>
                    <a:pt x="304" y="813"/>
                    <a:pt x="304" y="812"/>
                  </a:cubicBezTo>
                  <a:cubicBezTo>
                    <a:pt x="307" y="811"/>
                    <a:pt x="307" y="811"/>
                    <a:pt x="307" y="811"/>
                  </a:cubicBezTo>
                  <a:cubicBezTo>
                    <a:pt x="309" y="804"/>
                    <a:pt x="310" y="796"/>
                    <a:pt x="312" y="788"/>
                  </a:cubicBezTo>
                  <a:cubicBezTo>
                    <a:pt x="310" y="789"/>
                    <a:pt x="309" y="790"/>
                    <a:pt x="305" y="791"/>
                  </a:cubicBezTo>
                  <a:cubicBezTo>
                    <a:pt x="303" y="799"/>
                    <a:pt x="301" y="807"/>
                    <a:pt x="300" y="815"/>
                  </a:cubicBezTo>
                  <a:cubicBezTo>
                    <a:pt x="300" y="815"/>
                    <a:pt x="300" y="815"/>
                    <a:pt x="300" y="815"/>
                  </a:cubicBezTo>
                  <a:cubicBezTo>
                    <a:pt x="300" y="816"/>
                    <a:pt x="302" y="816"/>
                    <a:pt x="303" y="818"/>
                  </a:cubicBezTo>
                  <a:cubicBezTo>
                    <a:pt x="302" y="820"/>
                    <a:pt x="300" y="822"/>
                    <a:pt x="298" y="823"/>
                  </a:cubicBezTo>
                  <a:cubicBezTo>
                    <a:pt x="297" y="834"/>
                    <a:pt x="295" y="846"/>
                    <a:pt x="294" y="857"/>
                  </a:cubicBezTo>
                  <a:cubicBezTo>
                    <a:pt x="295" y="858"/>
                    <a:pt x="296" y="858"/>
                    <a:pt x="297" y="858"/>
                  </a:cubicBezTo>
                  <a:cubicBezTo>
                    <a:pt x="296" y="859"/>
                    <a:pt x="295" y="860"/>
                    <a:pt x="294" y="860"/>
                  </a:cubicBezTo>
                  <a:cubicBezTo>
                    <a:pt x="292" y="881"/>
                    <a:pt x="292" y="901"/>
                    <a:pt x="293" y="922"/>
                  </a:cubicBezTo>
                  <a:cubicBezTo>
                    <a:pt x="293" y="921"/>
                    <a:pt x="294" y="921"/>
                    <a:pt x="295" y="921"/>
                  </a:cubicBezTo>
                  <a:cubicBezTo>
                    <a:pt x="297" y="922"/>
                    <a:pt x="302" y="927"/>
                    <a:pt x="297" y="929"/>
                  </a:cubicBezTo>
                  <a:cubicBezTo>
                    <a:pt x="297" y="926"/>
                    <a:pt x="295" y="926"/>
                    <a:pt x="293" y="926"/>
                  </a:cubicBezTo>
                  <a:cubicBezTo>
                    <a:pt x="295" y="965"/>
                    <a:pt x="303" y="1004"/>
                    <a:pt x="315" y="1041"/>
                  </a:cubicBezTo>
                  <a:cubicBezTo>
                    <a:pt x="315" y="1041"/>
                    <a:pt x="315" y="1040"/>
                    <a:pt x="315" y="1040"/>
                  </a:cubicBezTo>
                  <a:cubicBezTo>
                    <a:pt x="318" y="1042"/>
                    <a:pt x="321" y="1042"/>
                    <a:pt x="323" y="1043"/>
                  </a:cubicBezTo>
                  <a:cubicBezTo>
                    <a:pt x="319" y="1030"/>
                    <a:pt x="315" y="1018"/>
                    <a:pt x="312" y="1005"/>
                  </a:cubicBezTo>
                  <a:cubicBezTo>
                    <a:pt x="311" y="1005"/>
                    <a:pt x="310" y="1005"/>
                    <a:pt x="308" y="1005"/>
                  </a:cubicBezTo>
                  <a:cubicBezTo>
                    <a:pt x="310" y="1002"/>
                    <a:pt x="304" y="999"/>
                    <a:pt x="309" y="998"/>
                  </a:cubicBezTo>
                  <a:cubicBezTo>
                    <a:pt x="310" y="999"/>
                    <a:pt x="310" y="1000"/>
                    <a:pt x="311" y="1001"/>
                  </a:cubicBezTo>
                  <a:cubicBezTo>
                    <a:pt x="309" y="991"/>
                    <a:pt x="307" y="982"/>
                    <a:pt x="306" y="972"/>
                  </a:cubicBezTo>
                  <a:cubicBezTo>
                    <a:pt x="305" y="972"/>
                    <a:pt x="305" y="972"/>
                    <a:pt x="305" y="972"/>
                  </a:cubicBezTo>
                  <a:cubicBezTo>
                    <a:pt x="303" y="971"/>
                    <a:pt x="303" y="965"/>
                    <a:pt x="302" y="963"/>
                  </a:cubicBezTo>
                  <a:cubicBezTo>
                    <a:pt x="303" y="963"/>
                    <a:pt x="303" y="962"/>
                    <a:pt x="304" y="962"/>
                  </a:cubicBezTo>
                  <a:cubicBezTo>
                    <a:pt x="302" y="948"/>
                    <a:pt x="301" y="933"/>
                    <a:pt x="300" y="918"/>
                  </a:cubicBezTo>
                  <a:cubicBezTo>
                    <a:pt x="624" y="1214"/>
                    <a:pt x="625" y="1214"/>
                    <a:pt x="625" y="1214"/>
                  </a:cubicBezTo>
                  <a:cubicBezTo>
                    <a:pt x="626" y="1211"/>
                    <a:pt x="627" y="1209"/>
                    <a:pt x="629" y="1208"/>
                  </a:cubicBezTo>
                  <a:cubicBezTo>
                    <a:pt x="626" y="1207"/>
                    <a:pt x="623" y="1207"/>
                    <a:pt x="620" y="1206"/>
                  </a:cubicBezTo>
                  <a:cubicBezTo>
                    <a:pt x="619" y="1207"/>
                    <a:pt x="619" y="1208"/>
                    <a:pt x="620" y="1209"/>
                  </a:cubicBezTo>
                  <a:cubicBezTo>
                    <a:pt x="621" y="1208"/>
                    <a:pt x="624" y="1209"/>
                    <a:pt x="624" y="1210"/>
                  </a:cubicBezTo>
                  <a:cubicBezTo>
                    <a:pt x="624" y="1212"/>
                    <a:pt x="625" y="1212"/>
                    <a:pt x="624" y="1214"/>
                  </a:cubicBezTo>
                  <a:cubicBezTo>
                    <a:pt x="616" y="1212"/>
                    <a:pt x="617" y="1212"/>
                    <a:pt x="617" y="1212"/>
                  </a:cubicBezTo>
                  <a:cubicBezTo>
                    <a:pt x="617" y="1212"/>
                    <a:pt x="616" y="1211"/>
                    <a:pt x="615" y="1210"/>
                  </a:cubicBezTo>
                  <a:cubicBezTo>
                    <a:pt x="615" y="1211"/>
                    <a:pt x="615" y="1211"/>
                    <a:pt x="615" y="1211"/>
                  </a:cubicBezTo>
                  <a:cubicBezTo>
                    <a:pt x="464" y="1185"/>
                    <a:pt x="464" y="1185"/>
                    <a:pt x="464" y="1185"/>
                  </a:cubicBezTo>
                  <a:cubicBezTo>
                    <a:pt x="463" y="1184"/>
                    <a:pt x="461" y="1183"/>
                    <a:pt x="459" y="1182"/>
                  </a:cubicBezTo>
                  <a:cubicBezTo>
                    <a:pt x="459" y="1181"/>
                    <a:pt x="459" y="1180"/>
                    <a:pt x="460" y="1180"/>
                  </a:cubicBezTo>
                  <a:cubicBezTo>
                    <a:pt x="457" y="1178"/>
                    <a:pt x="454" y="1176"/>
                    <a:pt x="451" y="1174"/>
                  </a:cubicBezTo>
                  <a:cubicBezTo>
                    <a:pt x="451" y="1176"/>
                    <a:pt x="451" y="1178"/>
                    <a:pt x="451" y="1180"/>
                  </a:cubicBezTo>
                  <a:cubicBezTo>
                    <a:pt x="461" y="1188"/>
                    <a:pt x="472" y="1195"/>
                    <a:pt x="484" y="1202"/>
                  </a:cubicBezTo>
                  <a:cubicBezTo>
                    <a:pt x="495" y="1202"/>
                    <a:pt x="495" y="1202"/>
                    <a:pt x="495" y="1202"/>
                  </a:cubicBezTo>
                  <a:cubicBezTo>
                    <a:pt x="485" y="1197"/>
                    <a:pt x="476" y="1191"/>
                    <a:pt x="467" y="1185"/>
                  </a:cubicBezTo>
                  <a:cubicBezTo>
                    <a:pt x="78" y="380"/>
                    <a:pt x="84" y="374"/>
                    <a:pt x="91" y="368"/>
                  </a:cubicBezTo>
                  <a:cubicBezTo>
                    <a:pt x="92" y="367"/>
                    <a:pt x="92" y="366"/>
                    <a:pt x="92" y="365"/>
                  </a:cubicBezTo>
                  <a:cubicBezTo>
                    <a:pt x="90" y="365"/>
                    <a:pt x="87" y="365"/>
                    <a:pt x="85" y="365"/>
                  </a:cubicBezTo>
                  <a:cubicBezTo>
                    <a:pt x="86" y="366"/>
                    <a:pt x="87" y="367"/>
                    <a:pt x="88" y="368"/>
                  </a:cubicBezTo>
                  <a:cubicBezTo>
                    <a:pt x="81" y="368"/>
                    <a:pt x="81" y="368"/>
                    <a:pt x="81" y="368"/>
                  </a:cubicBezTo>
                  <a:cubicBezTo>
                    <a:pt x="74" y="374"/>
                    <a:pt x="68" y="380"/>
                    <a:pt x="61" y="386"/>
                  </a:cubicBezTo>
                  <a:cubicBezTo>
                    <a:pt x="542" y="1196"/>
                    <a:pt x="532" y="1191"/>
                    <a:pt x="522" y="1184"/>
                  </a:cubicBezTo>
                  <a:cubicBezTo>
                    <a:pt x="509" y="1185"/>
                    <a:pt x="509" y="1185"/>
                    <a:pt x="509" y="1185"/>
                  </a:cubicBezTo>
                  <a:cubicBezTo>
                    <a:pt x="518" y="1191"/>
                    <a:pt x="528" y="1196"/>
                    <a:pt x="538" y="1202"/>
                  </a:cubicBezTo>
                  <a:cubicBezTo>
                    <a:pt x="41" y="369"/>
                    <a:pt x="41" y="369"/>
                    <a:pt x="41" y="369"/>
                  </a:cubicBezTo>
                  <a:cubicBezTo>
                    <a:pt x="41" y="369"/>
                    <a:pt x="40" y="370"/>
                    <a:pt x="39" y="371"/>
                  </a:cubicBezTo>
                  <a:cubicBezTo>
                    <a:pt x="33" y="376"/>
                    <a:pt x="28" y="381"/>
                    <a:pt x="23" y="386"/>
                  </a:cubicBezTo>
                  <a:cubicBezTo>
                    <a:pt x="32" y="386"/>
                    <a:pt x="32" y="386"/>
                    <a:pt x="32" y="386"/>
                  </a:cubicBezTo>
                  <a:cubicBezTo>
                    <a:pt x="38" y="380"/>
                    <a:pt x="44" y="374"/>
                    <a:pt x="50" y="369"/>
                  </a:cubicBezTo>
                  <a:cubicBezTo>
                    <a:pt x="1050" y="1105"/>
                    <a:pt x="1050" y="1104"/>
                    <a:pt x="1050" y="1103"/>
                  </a:cubicBezTo>
                  <a:cubicBezTo>
                    <a:pt x="1048" y="1104"/>
                    <a:pt x="1043" y="1102"/>
                    <a:pt x="1041" y="1104"/>
                  </a:cubicBezTo>
                  <a:cubicBezTo>
                    <a:pt x="1043" y="1104"/>
                    <a:pt x="1044" y="1105"/>
                    <a:pt x="1045" y="1106"/>
                  </a:cubicBezTo>
                  <a:cubicBezTo>
                    <a:pt x="1045" y="1106"/>
                    <a:pt x="1046" y="1106"/>
                    <a:pt x="1047" y="1106"/>
                  </a:cubicBezTo>
                  <a:cubicBezTo>
                    <a:pt x="1047" y="1106"/>
                    <a:pt x="1047" y="1107"/>
                    <a:pt x="1047" y="1107"/>
                  </a:cubicBezTo>
                  <a:cubicBezTo>
                    <a:pt x="1048" y="1107"/>
                    <a:pt x="1049" y="1106"/>
                    <a:pt x="1050" y="1105"/>
                  </a:cubicBezTo>
                  <a:cubicBezTo>
                    <a:pt x="1052" y="1101"/>
                    <a:pt x="1053" y="1102"/>
                    <a:pt x="1054" y="1102"/>
                  </a:cubicBezTo>
                  <a:cubicBezTo>
                    <a:pt x="1055" y="1102"/>
                    <a:pt x="1055" y="1102"/>
                    <a:pt x="1055" y="1102"/>
                  </a:cubicBezTo>
                  <a:cubicBezTo>
                    <a:pt x="1055" y="1100"/>
                    <a:pt x="1054" y="1099"/>
                    <a:pt x="1054" y="1096"/>
                  </a:cubicBezTo>
                  <a:cubicBezTo>
                    <a:pt x="1052" y="1097"/>
                    <a:pt x="1054" y="1101"/>
                    <a:pt x="1052" y="1101"/>
                  </a:cubicBezTo>
                  <a:cubicBezTo>
                    <a:pt x="1078" y="1076"/>
                    <a:pt x="1074" y="1078"/>
                    <a:pt x="1070" y="1081"/>
                  </a:cubicBezTo>
                  <a:cubicBezTo>
                    <a:pt x="1066" y="1084"/>
                    <a:pt x="1062" y="1087"/>
                    <a:pt x="1058" y="1090"/>
                  </a:cubicBezTo>
                  <a:cubicBezTo>
                    <a:pt x="1071" y="1090"/>
                    <a:pt x="1071" y="1090"/>
                    <a:pt x="1071" y="1090"/>
                  </a:cubicBezTo>
                  <a:cubicBezTo>
                    <a:pt x="1079" y="1084"/>
                    <a:pt x="1086" y="1079"/>
                    <a:pt x="1094" y="1073"/>
                  </a:cubicBezTo>
                  <a:cubicBezTo>
                    <a:pt x="1110" y="834"/>
                    <a:pt x="1103" y="837"/>
                    <a:pt x="1095" y="841"/>
                  </a:cubicBezTo>
                  <a:cubicBezTo>
                    <a:pt x="1096" y="843"/>
                    <a:pt x="1097" y="845"/>
                    <a:pt x="1098" y="847"/>
                  </a:cubicBezTo>
                  <a:cubicBezTo>
                    <a:pt x="1105" y="843"/>
                    <a:pt x="1112" y="840"/>
                    <a:pt x="1119" y="837"/>
                  </a:cubicBezTo>
                  <a:cubicBezTo>
                    <a:pt x="1123" y="835"/>
                    <a:pt x="1121" y="829"/>
                    <a:pt x="1117" y="830"/>
                  </a:cubicBezTo>
                  <a:cubicBezTo>
                    <a:pt x="1142" y="1022"/>
                    <a:pt x="1141" y="1021"/>
                    <a:pt x="1141" y="1021"/>
                  </a:cubicBezTo>
                  <a:cubicBezTo>
                    <a:pt x="1141" y="1021"/>
                    <a:pt x="1140" y="1021"/>
                    <a:pt x="1140" y="1021"/>
                  </a:cubicBezTo>
                  <a:cubicBezTo>
                    <a:pt x="1140" y="1021"/>
                    <a:pt x="1140" y="1021"/>
                    <a:pt x="1139" y="1021"/>
                  </a:cubicBezTo>
                  <a:cubicBezTo>
                    <a:pt x="1136" y="1026"/>
                    <a:pt x="1131" y="1030"/>
                    <a:pt x="1127" y="1034"/>
                  </a:cubicBezTo>
                  <a:cubicBezTo>
                    <a:pt x="1129" y="1035"/>
                    <a:pt x="1130" y="1036"/>
                    <a:pt x="1132" y="1037"/>
                  </a:cubicBezTo>
                  <a:cubicBezTo>
                    <a:pt x="1124" y="1037"/>
                    <a:pt x="1124" y="1037"/>
                    <a:pt x="1124" y="1037"/>
                  </a:cubicBezTo>
                  <a:cubicBezTo>
                    <a:pt x="1116" y="1044"/>
                    <a:pt x="1108" y="1051"/>
                    <a:pt x="1100" y="1058"/>
                  </a:cubicBezTo>
                  <a:cubicBezTo>
                    <a:pt x="1100" y="1058"/>
                    <a:pt x="1101" y="1059"/>
                    <a:pt x="1101" y="1059"/>
                  </a:cubicBezTo>
                  <a:cubicBezTo>
                    <a:pt x="1101" y="1059"/>
                    <a:pt x="1102" y="1059"/>
                    <a:pt x="1102" y="1059"/>
                  </a:cubicBezTo>
                  <a:cubicBezTo>
                    <a:pt x="1102" y="1059"/>
                    <a:pt x="1102" y="1059"/>
                    <a:pt x="1102" y="1059"/>
                  </a:cubicBezTo>
                  <a:cubicBezTo>
                    <a:pt x="1103" y="1060"/>
                    <a:pt x="1105" y="1060"/>
                    <a:pt x="1106" y="1060"/>
                  </a:cubicBezTo>
                  <a:cubicBezTo>
                    <a:pt x="1106" y="1058"/>
                    <a:pt x="1108" y="1055"/>
                    <a:pt x="1110" y="1054"/>
                  </a:cubicBezTo>
                  <a:cubicBezTo>
                    <a:pt x="1115" y="1054"/>
                    <a:pt x="1115" y="1054"/>
                    <a:pt x="1115" y="1054"/>
                  </a:cubicBezTo>
                  <a:cubicBezTo>
                    <a:pt x="1115" y="1054"/>
                    <a:pt x="1115" y="1054"/>
                    <a:pt x="1115" y="1054"/>
                  </a:cubicBezTo>
                  <a:cubicBezTo>
                    <a:pt x="1115" y="1054"/>
                    <a:pt x="1115" y="1054"/>
                    <a:pt x="1115" y="1054"/>
                  </a:cubicBezTo>
                  <a:cubicBezTo>
                    <a:pt x="1115" y="1054"/>
                    <a:pt x="1115" y="1054"/>
                    <a:pt x="1115" y="1054"/>
                  </a:cubicBezTo>
                  <a:cubicBezTo>
                    <a:pt x="1116" y="1054"/>
                    <a:pt x="1116" y="1054"/>
                    <a:pt x="1116" y="1054"/>
                  </a:cubicBezTo>
                  <a:cubicBezTo>
                    <a:pt x="1122" y="1048"/>
                    <a:pt x="1128" y="1042"/>
                    <a:pt x="1134" y="1036"/>
                  </a:cubicBezTo>
                  <a:cubicBezTo>
                    <a:pt x="1135" y="1034"/>
                    <a:pt x="1137" y="1032"/>
                    <a:pt x="1139" y="1031"/>
                  </a:cubicBezTo>
                  <a:cubicBezTo>
                    <a:pt x="1139" y="1030"/>
                    <a:pt x="1139" y="1030"/>
                    <a:pt x="1139" y="1030"/>
                  </a:cubicBezTo>
                  <a:cubicBezTo>
                    <a:pt x="1139" y="1030"/>
                    <a:pt x="1140" y="1030"/>
                    <a:pt x="1140" y="1030"/>
                  </a:cubicBezTo>
                  <a:cubicBezTo>
                    <a:pt x="1142" y="1029"/>
                    <a:pt x="1143" y="1027"/>
                    <a:pt x="1145" y="1026"/>
                  </a:cubicBezTo>
                  <a:cubicBezTo>
                    <a:pt x="1146" y="1024"/>
                    <a:pt x="1145" y="1022"/>
                    <a:pt x="1144" y="1021"/>
                  </a:cubicBezTo>
                  <a:cubicBezTo>
                    <a:pt x="1143" y="1021"/>
                    <a:pt x="1143" y="1022"/>
                    <a:pt x="1142" y="1022"/>
                  </a:cubicBezTo>
                  <a:cubicBezTo>
                    <a:pt x="939" y="1122"/>
                    <a:pt x="933" y="1124"/>
                    <a:pt x="927" y="1127"/>
                  </a:cubicBezTo>
                  <a:cubicBezTo>
                    <a:pt x="945" y="1127"/>
                    <a:pt x="945" y="1127"/>
                    <a:pt x="945" y="1127"/>
                  </a:cubicBezTo>
                  <a:cubicBezTo>
                    <a:pt x="957" y="1121"/>
                    <a:pt x="968" y="1116"/>
                    <a:pt x="980" y="1109"/>
                  </a:cubicBezTo>
                  <a:cubicBezTo>
                    <a:pt x="965" y="1109"/>
                    <a:pt x="965" y="1109"/>
                    <a:pt x="965" y="1109"/>
                  </a:cubicBezTo>
                  <a:cubicBezTo>
                    <a:pt x="958" y="1113"/>
                    <a:pt x="952" y="1116"/>
                    <a:pt x="945" y="1119"/>
                  </a:cubicBezTo>
                  <a:cubicBezTo>
                    <a:pt x="993" y="1121"/>
                    <a:pt x="1003" y="1115"/>
                    <a:pt x="1013" y="1109"/>
                  </a:cubicBezTo>
                  <a:cubicBezTo>
                    <a:pt x="999" y="1109"/>
                    <a:pt x="999" y="1109"/>
                    <a:pt x="999" y="1109"/>
                  </a:cubicBezTo>
                  <a:cubicBezTo>
                    <a:pt x="989" y="1115"/>
                    <a:pt x="978" y="1121"/>
                    <a:pt x="968" y="1127"/>
                  </a:cubicBezTo>
                  <a:cubicBezTo>
                    <a:pt x="962" y="1134"/>
                    <a:pt x="961" y="1133"/>
                    <a:pt x="961" y="1132"/>
                  </a:cubicBezTo>
                  <a:cubicBezTo>
                    <a:pt x="961" y="1132"/>
                    <a:pt x="960" y="1132"/>
                    <a:pt x="959" y="1132"/>
                  </a:cubicBezTo>
                  <a:cubicBezTo>
                    <a:pt x="960" y="1132"/>
                    <a:pt x="960" y="1134"/>
                    <a:pt x="960" y="1135"/>
                  </a:cubicBezTo>
                  <a:cubicBezTo>
                    <a:pt x="961" y="1135"/>
                    <a:pt x="961" y="1135"/>
                    <a:pt x="962" y="1135"/>
                  </a:cubicBezTo>
                  <a:cubicBezTo>
                    <a:pt x="685" y="311"/>
                    <a:pt x="684" y="311"/>
                    <a:pt x="682" y="311"/>
                  </a:cubicBezTo>
                  <a:cubicBezTo>
                    <a:pt x="682" y="313"/>
                    <a:pt x="682" y="315"/>
                    <a:pt x="681" y="317"/>
                  </a:cubicBezTo>
                  <a:cubicBezTo>
                    <a:pt x="684" y="318"/>
                    <a:pt x="686" y="318"/>
                    <a:pt x="689" y="318"/>
                  </a:cubicBezTo>
                  <a:cubicBezTo>
                    <a:pt x="689" y="316"/>
                    <a:pt x="688" y="314"/>
                    <a:pt x="687" y="311"/>
                  </a:cubicBezTo>
                  <a:cubicBezTo>
                    <a:pt x="1101" y="797"/>
                    <a:pt x="1093" y="801"/>
                    <a:pt x="1086" y="805"/>
                  </a:cubicBezTo>
                  <a:cubicBezTo>
                    <a:pt x="1093" y="805"/>
                    <a:pt x="1093" y="805"/>
                    <a:pt x="1093" y="805"/>
                  </a:cubicBezTo>
                  <a:cubicBezTo>
                    <a:pt x="1093" y="805"/>
                    <a:pt x="1093" y="805"/>
                    <a:pt x="1093" y="805"/>
                  </a:cubicBezTo>
                  <a:cubicBezTo>
                    <a:pt x="1093" y="806"/>
                    <a:pt x="1093" y="807"/>
                    <a:pt x="1093" y="809"/>
                  </a:cubicBezTo>
                  <a:cubicBezTo>
                    <a:pt x="1094" y="808"/>
                    <a:pt x="1095" y="807"/>
                    <a:pt x="1097" y="807"/>
                  </a:cubicBezTo>
                  <a:cubicBezTo>
                    <a:pt x="1096" y="806"/>
                    <a:pt x="1096" y="806"/>
                    <a:pt x="1097" y="806"/>
                  </a:cubicBezTo>
                  <a:cubicBezTo>
                    <a:pt x="1097" y="806"/>
                    <a:pt x="1098" y="806"/>
                    <a:pt x="1098" y="806"/>
                  </a:cubicBezTo>
                  <a:cubicBezTo>
                    <a:pt x="1102" y="804"/>
                    <a:pt x="1106" y="802"/>
                    <a:pt x="1110" y="800"/>
                  </a:cubicBezTo>
                  <a:cubicBezTo>
                    <a:pt x="1114" y="798"/>
                    <a:pt x="1112" y="792"/>
                    <a:pt x="1108" y="794"/>
                  </a:cubicBezTo>
                  <a:cubicBezTo>
                    <a:pt x="533" y="293"/>
                    <a:pt x="533" y="293"/>
                    <a:pt x="533" y="293"/>
                  </a:cubicBezTo>
                  <a:cubicBezTo>
                    <a:pt x="532" y="292"/>
                    <a:pt x="532" y="291"/>
                    <a:pt x="531" y="290"/>
                  </a:cubicBezTo>
                  <a:cubicBezTo>
                    <a:pt x="531" y="291"/>
                    <a:pt x="531" y="292"/>
                    <a:pt x="531" y="293"/>
                  </a:cubicBezTo>
                  <a:cubicBezTo>
                    <a:pt x="500" y="293"/>
                    <a:pt x="500" y="293"/>
                    <a:pt x="500" y="293"/>
                  </a:cubicBezTo>
                  <a:cubicBezTo>
                    <a:pt x="500" y="293"/>
                    <a:pt x="500" y="293"/>
                    <a:pt x="500" y="292"/>
                  </a:cubicBezTo>
                  <a:cubicBezTo>
                    <a:pt x="499" y="292"/>
                    <a:pt x="499" y="293"/>
                    <a:pt x="499" y="293"/>
                  </a:cubicBezTo>
                  <a:cubicBezTo>
                    <a:pt x="494" y="293"/>
                    <a:pt x="494" y="293"/>
                    <a:pt x="494" y="293"/>
                  </a:cubicBezTo>
                  <a:cubicBezTo>
                    <a:pt x="493" y="290"/>
                    <a:pt x="498" y="291"/>
                    <a:pt x="497" y="289"/>
                  </a:cubicBezTo>
                  <a:cubicBezTo>
                    <a:pt x="496" y="289"/>
                    <a:pt x="494" y="289"/>
                    <a:pt x="493" y="289"/>
                  </a:cubicBezTo>
                  <a:cubicBezTo>
                    <a:pt x="492" y="290"/>
                    <a:pt x="490" y="293"/>
                    <a:pt x="487" y="293"/>
                  </a:cubicBezTo>
                  <a:cubicBezTo>
                    <a:pt x="487" y="293"/>
                    <a:pt x="487" y="293"/>
                    <a:pt x="487" y="293"/>
                  </a:cubicBezTo>
                  <a:cubicBezTo>
                    <a:pt x="478" y="293"/>
                    <a:pt x="478" y="293"/>
                    <a:pt x="478" y="293"/>
                  </a:cubicBezTo>
                  <a:cubicBezTo>
                    <a:pt x="478" y="292"/>
                    <a:pt x="478" y="291"/>
                    <a:pt x="477" y="290"/>
                  </a:cubicBezTo>
                  <a:cubicBezTo>
                    <a:pt x="477" y="290"/>
                    <a:pt x="476" y="290"/>
                    <a:pt x="476" y="290"/>
                  </a:cubicBezTo>
                  <a:cubicBezTo>
                    <a:pt x="474" y="291"/>
                    <a:pt x="471" y="289"/>
                    <a:pt x="471" y="291"/>
                  </a:cubicBezTo>
                  <a:cubicBezTo>
                    <a:pt x="472" y="291"/>
                    <a:pt x="472" y="292"/>
                    <a:pt x="472" y="294"/>
                  </a:cubicBezTo>
                  <a:cubicBezTo>
                    <a:pt x="442" y="294"/>
                    <a:pt x="442" y="294"/>
                    <a:pt x="442" y="294"/>
                  </a:cubicBezTo>
                  <a:cubicBezTo>
                    <a:pt x="442" y="294"/>
                    <a:pt x="442" y="294"/>
                    <a:pt x="442" y="294"/>
                  </a:cubicBezTo>
                  <a:cubicBezTo>
                    <a:pt x="443" y="293"/>
                    <a:pt x="443" y="293"/>
                    <a:pt x="444" y="292"/>
                  </a:cubicBezTo>
                  <a:cubicBezTo>
                    <a:pt x="443" y="293"/>
                    <a:pt x="442" y="293"/>
                    <a:pt x="441" y="293"/>
                  </a:cubicBezTo>
                  <a:cubicBezTo>
                    <a:pt x="441" y="293"/>
                    <a:pt x="441" y="293"/>
                    <a:pt x="441" y="294"/>
                  </a:cubicBezTo>
                  <a:cubicBezTo>
                    <a:pt x="433" y="294"/>
                    <a:pt x="433" y="294"/>
                    <a:pt x="433" y="294"/>
                  </a:cubicBezTo>
                  <a:cubicBezTo>
                    <a:pt x="433" y="294"/>
                    <a:pt x="433" y="294"/>
                    <a:pt x="433" y="294"/>
                  </a:cubicBezTo>
                  <a:cubicBezTo>
                    <a:pt x="403" y="298"/>
                    <a:pt x="373" y="304"/>
                    <a:pt x="345" y="312"/>
                  </a:cubicBezTo>
                  <a:cubicBezTo>
                    <a:pt x="352" y="312"/>
                    <a:pt x="352" y="312"/>
                    <a:pt x="352" y="312"/>
                  </a:cubicBezTo>
                  <a:cubicBezTo>
                    <a:pt x="352" y="314"/>
                    <a:pt x="352" y="316"/>
                    <a:pt x="351" y="317"/>
                  </a:cubicBezTo>
                  <a:cubicBezTo>
                    <a:pt x="355" y="316"/>
                    <a:pt x="358" y="315"/>
                    <a:pt x="361" y="314"/>
                  </a:cubicBezTo>
                  <a:cubicBezTo>
                    <a:pt x="361" y="313"/>
                    <a:pt x="361" y="312"/>
                    <a:pt x="361" y="312"/>
                  </a:cubicBezTo>
                  <a:cubicBezTo>
                    <a:pt x="367" y="312"/>
                    <a:pt x="367" y="312"/>
                    <a:pt x="367" y="312"/>
                  </a:cubicBezTo>
                  <a:cubicBezTo>
                    <a:pt x="367" y="312"/>
                    <a:pt x="367" y="313"/>
                    <a:pt x="367" y="313"/>
                  </a:cubicBezTo>
                  <a:cubicBezTo>
                    <a:pt x="368" y="313"/>
                    <a:pt x="369" y="312"/>
                    <a:pt x="370" y="312"/>
                  </a:cubicBezTo>
                  <a:cubicBezTo>
                    <a:pt x="370" y="312"/>
                    <a:pt x="370" y="312"/>
                    <a:pt x="370" y="312"/>
                  </a:cubicBezTo>
                  <a:cubicBezTo>
                    <a:pt x="371" y="312"/>
                    <a:pt x="371" y="312"/>
                    <a:pt x="371" y="312"/>
                  </a:cubicBezTo>
                  <a:cubicBezTo>
                    <a:pt x="418" y="300"/>
                    <a:pt x="467" y="295"/>
                    <a:pt x="516" y="295"/>
                  </a:cubicBezTo>
                  <a:cubicBezTo>
                    <a:pt x="526" y="295"/>
                    <a:pt x="537" y="296"/>
                    <a:pt x="547" y="297"/>
                  </a:cubicBezTo>
                  <a:cubicBezTo>
                    <a:pt x="573" y="301"/>
                    <a:pt x="599" y="306"/>
                    <a:pt x="625" y="310"/>
                  </a:cubicBezTo>
                  <a:cubicBezTo>
                    <a:pt x="629" y="310"/>
                    <a:pt x="629" y="310"/>
                    <a:pt x="629" y="310"/>
                  </a:cubicBezTo>
                  <a:cubicBezTo>
                    <a:pt x="629" y="310"/>
                    <a:pt x="630" y="310"/>
                    <a:pt x="630" y="310"/>
                  </a:cubicBezTo>
                  <a:cubicBezTo>
                    <a:pt x="632" y="311"/>
                    <a:pt x="634" y="311"/>
                    <a:pt x="636" y="311"/>
                  </a:cubicBezTo>
                  <a:cubicBezTo>
                    <a:pt x="636" y="311"/>
                    <a:pt x="636" y="310"/>
                    <a:pt x="637" y="309"/>
                  </a:cubicBezTo>
                  <a:cubicBezTo>
                    <a:pt x="641" y="309"/>
                    <a:pt x="641" y="309"/>
                    <a:pt x="641" y="309"/>
                  </a:cubicBezTo>
                  <a:cubicBezTo>
                    <a:pt x="641" y="310"/>
                    <a:pt x="641" y="310"/>
                    <a:pt x="641" y="310"/>
                  </a:cubicBezTo>
                  <a:cubicBezTo>
                    <a:pt x="641" y="310"/>
                    <a:pt x="641" y="310"/>
                    <a:pt x="642" y="310"/>
                  </a:cubicBezTo>
                  <a:cubicBezTo>
                    <a:pt x="642" y="311"/>
                    <a:pt x="642" y="311"/>
                    <a:pt x="642" y="312"/>
                  </a:cubicBezTo>
                  <a:cubicBezTo>
                    <a:pt x="643" y="312"/>
                    <a:pt x="645" y="312"/>
                    <a:pt x="646" y="313"/>
                  </a:cubicBezTo>
                  <a:cubicBezTo>
                    <a:pt x="647" y="311"/>
                    <a:pt x="648" y="310"/>
                    <a:pt x="648" y="309"/>
                  </a:cubicBezTo>
                  <a:cubicBezTo>
                    <a:pt x="656" y="309"/>
                    <a:pt x="656" y="309"/>
                    <a:pt x="656" y="309"/>
                  </a:cubicBezTo>
                  <a:cubicBezTo>
                    <a:pt x="657" y="310"/>
                    <a:pt x="658" y="310"/>
                    <a:pt x="660" y="310"/>
                  </a:cubicBezTo>
                  <a:cubicBezTo>
                    <a:pt x="660" y="312"/>
                    <a:pt x="660" y="313"/>
                    <a:pt x="660" y="314"/>
                  </a:cubicBezTo>
                  <a:cubicBezTo>
                    <a:pt x="664" y="315"/>
                    <a:pt x="668" y="316"/>
                    <a:pt x="672" y="316"/>
                  </a:cubicBezTo>
                  <a:cubicBezTo>
                    <a:pt x="672" y="315"/>
                    <a:pt x="672" y="314"/>
                    <a:pt x="672" y="313"/>
                  </a:cubicBezTo>
                  <a:cubicBezTo>
                    <a:pt x="675" y="314"/>
                    <a:pt x="676" y="312"/>
                    <a:pt x="676" y="310"/>
                  </a:cubicBezTo>
                  <a:cubicBezTo>
                    <a:pt x="657" y="308"/>
                    <a:pt x="638" y="305"/>
                    <a:pt x="620" y="302"/>
                  </a:cubicBezTo>
                  <a:cubicBezTo>
                    <a:pt x="600" y="299"/>
                    <a:pt x="581" y="295"/>
                    <a:pt x="562" y="292"/>
                  </a:cubicBezTo>
                  <a:cubicBezTo>
                    <a:pt x="561" y="292"/>
                    <a:pt x="561" y="292"/>
                    <a:pt x="561" y="293"/>
                  </a:cubicBezTo>
                  <a:cubicBezTo>
                    <a:pt x="256" y="288"/>
                    <a:pt x="256" y="288"/>
                    <a:pt x="257" y="288"/>
                  </a:cubicBezTo>
                  <a:cubicBezTo>
                    <a:pt x="256" y="288"/>
                    <a:pt x="255" y="288"/>
                    <a:pt x="254" y="289"/>
                  </a:cubicBezTo>
                  <a:cubicBezTo>
                    <a:pt x="254" y="289"/>
                    <a:pt x="255" y="289"/>
                    <a:pt x="256" y="289"/>
                  </a:cubicBezTo>
                  <a:cubicBezTo>
                    <a:pt x="166" y="343"/>
                    <a:pt x="175" y="337"/>
                    <a:pt x="183" y="332"/>
                  </a:cubicBezTo>
                  <a:cubicBezTo>
                    <a:pt x="170" y="332"/>
                    <a:pt x="170" y="332"/>
                    <a:pt x="170" y="332"/>
                  </a:cubicBezTo>
                  <a:cubicBezTo>
                    <a:pt x="162" y="337"/>
                    <a:pt x="153" y="343"/>
                    <a:pt x="145" y="349"/>
                  </a:cubicBezTo>
                  <a:cubicBezTo>
                    <a:pt x="1109" y="786"/>
                    <a:pt x="1108" y="787"/>
                    <a:pt x="1107" y="787"/>
                  </a:cubicBezTo>
                  <a:cubicBezTo>
                    <a:pt x="1106" y="787"/>
                    <a:pt x="1106" y="787"/>
                    <a:pt x="1106" y="787"/>
                  </a:cubicBezTo>
                  <a:cubicBezTo>
                    <a:pt x="1106" y="786"/>
                    <a:pt x="1106" y="785"/>
                    <a:pt x="1106" y="784"/>
                  </a:cubicBezTo>
                  <a:cubicBezTo>
                    <a:pt x="1108" y="783"/>
                    <a:pt x="1110" y="782"/>
                    <a:pt x="1111" y="782"/>
                  </a:cubicBezTo>
                  <a:cubicBezTo>
                    <a:pt x="1110" y="782"/>
                    <a:pt x="1109" y="782"/>
                    <a:pt x="1108" y="782"/>
                  </a:cubicBezTo>
                  <a:cubicBezTo>
                    <a:pt x="1106" y="783"/>
                    <a:pt x="1104" y="784"/>
                    <a:pt x="1102" y="785"/>
                  </a:cubicBezTo>
                  <a:cubicBezTo>
                    <a:pt x="1102" y="786"/>
                    <a:pt x="1103" y="786"/>
                    <a:pt x="1103" y="787"/>
                  </a:cubicBezTo>
                  <a:cubicBezTo>
                    <a:pt x="1096" y="787"/>
                    <a:pt x="1096" y="787"/>
                    <a:pt x="1096" y="787"/>
                  </a:cubicBezTo>
                  <a:cubicBezTo>
                    <a:pt x="1082" y="793"/>
                    <a:pt x="1067" y="799"/>
                    <a:pt x="1052" y="805"/>
                  </a:cubicBezTo>
                  <a:cubicBezTo>
                    <a:pt x="1052" y="807"/>
                    <a:pt x="1050" y="807"/>
                    <a:pt x="1049" y="809"/>
                  </a:cubicBezTo>
                  <a:cubicBezTo>
                    <a:pt x="1049" y="809"/>
                    <a:pt x="1048" y="808"/>
                    <a:pt x="1047" y="807"/>
                  </a:cubicBezTo>
                  <a:cubicBezTo>
                    <a:pt x="1045" y="808"/>
                    <a:pt x="1043" y="809"/>
                    <a:pt x="1040" y="810"/>
                  </a:cubicBezTo>
                  <a:cubicBezTo>
                    <a:pt x="1041" y="811"/>
                    <a:pt x="1042" y="812"/>
                    <a:pt x="1044" y="813"/>
                  </a:cubicBezTo>
                  <a:cubicBezTo>
                    <a:pt x="1044" y="817"/>
                    <a:pt x="1039" y="815"/>
                    <a:pt x="1038" y="816"/>
                  </a:cubicBezTo>
                  <a:cubicBezTo>
                    <a:pt x="1038" y="818"/>
                    <a:pt x="1038" y="818"/>
                    <a:pt x="1038" y="818"/>
                  </a:cubicBezTo>
                  <a:cubicBezTo>
                    <a:pt x="1041" y="817"/>
                    <a:pt x="1044" y="815"/>
                    <a:pt x="1048" y="814"/>
                  </a:cubicBezTo>
                  <a:cubicBezTo>
                    <a:pt x="1048" y="812"/>
                    <a:pt x="1049" y="812"/>
                    <a:pt x="1050" y="811"/>
                  </a:cubicBezTo>
                  <a:cubicBezTo>
                    <a:pt x="1051" y="811"/>
                    <a:pt x="1052" y="812"/>
                    <a:pt x="1052" y="812"/>
                  </a:cubicBezTo>
                  <a:cubicBezTo>
                    <a:pt x="1053" y="812"/>
                    <a:pt x="1054" y="812"/>
                    <a:pt x="1054" y="812"/>
                  </a:cubicBezTo>
                  <a:cubicBezTo>
                    <a:pt x="1054" y="811"/>
                    <a:pt x="1055" y="810"/>
                    <a:pt x="1056" y="809"/>
                  </a:cubicBezTo>
                  <a:cubicBezTo>
                    <a:pt x="1057" y="809"/>
                    <a:pt x="1058" y="809"/>
                    <a:pt x="1059" y="810"/>
                  </a:cubicBezTo>
                  <a:cubicBezTo>
                    <a:pt x="1077" y="803"/>
                    <a:pt x="1094" y="796"/>
                    <a:pt x="1111" y="788"/>
                  </a:cubicBezTo>
                  <a:cubicBezTo>
                    <a:pt x="1111" y="788"/>
                    <a:pt x="1112" y="788"/>
                    <a:pt x="1112" y="787"/>
                  </a:cubicBezTo>
                  <a:cubicBezTo>
                    <a:pt x="1112" y="787"/>
                    <a:pt x="1112" y="787"/>
                    <a:pt x="1112" y="787"/>
                  </a:cubicBezTo>
                  <a:cubicBezTo>
                    <a:pt x="1111" y="787"/>
                    <a:pt x="1111" y="785"/>
                    <a:pt x="1109" y="785"/>
                  </a:cubicBezTo>
                  <a:cubicBezTo>
                    <a:pt x="1065" y="805"/>
                    <a:pt x="1065" y="805"/>
                    <a:pt x="1065" y="805"/>
                  </a:cubicBezTo>
                  <a:cubicBezTo>
                    <a:pt x="1063" y="806"/>
                    <a:pt x="1060" y="807"/>
                    <a:pt x="1058" y="805"/>
                  </a:cubicBezTo>
                  <a:cubicBezTo>
                    <a:pt x="733" y="318"/>
                    <a:pt x="733" y="319"/>
                    <a:pt x="733" y="321"/>
                  </a:cubicBezTo>
                  <a:cubicBezTo>
                    <a:pt x="735" y="320"/>
                    <a:pt x="736" y="322"/>
                    <a:pt x="737" y="323"/>
                  </a:cubicBezTo>
                  <a:cubicBezTo>
                    <a:pt x="738" y="323"/>
                    <a:pt x="738" y="323"/>
                    <a:pt x="739" y="323"/>
                  </a:cubicBezTo>
                  <a:cubicBezTo>
                    <a:pt x="739" y="323"/>
                    <a:pt x="740" y="323"/>
                    <a:pt x="740" y="323"/>
                  </a:cubicBezTo>
                  <a:cubicBezTo>
                    <a:pt x="739" y="322"/>
                    <a:pt x="739" y="319"/>
                    <a:pt x="739" y="317"/>
                  </a:cubicBezTo>
                  <a:cubicBezTo>
                    <a:pt x="737" y="317"/>
                    <a:pt x="735" y="316"/>
                    <a:pt x="733" y="316"/>
                  </a:cubicBezTo>
                  <a:cubicBezTo>
                    <a:pt x="702" y="314"/>
                    <a:pt x="702" y="314"/>
                    <a:pt x="701" y="314"/>
                  </a:cubicBezTo>
                  <a:cubicBezTo>
                    <a:pt x="701" y="316"/>
                    <a:pt x="700" y="318"/>
                    <a:pt x="701" y="319"/>
                  </a:cubicBezTo>
                  <a:cubicBezTo>
                    <a:pt x="701" y="320"/>
                    <a:pt x="702" y="320"/>
                    <a:pt x="703" y="320"/>
                  </a:cubicBezTo>
                  <a:cubicBezTo>
                    <a:pt x="705" y="318"/>
                    <a:pt x="707" y="316"/>
                    <a:pt x="713" y="317"/>
                  </a:cubicBezTo>
                  <a:cubicBezTo>
                    <a:pt x="713" y="319"/>
                    <a:pt x="713" y="320"/>
                    <a:pt x="714" y="321"/>
                  </a:cubicBezTo>
                  <a:cubicBezTo>
                    <a:pt x="715" y="321"/>
                    <a:pt x="716" y="321"/>
                    <a:pt x="717" y="321"/>
                  </a:cubicBezTo>
                  <a:cubicBezTo>
                    <a:pt x="716" y="320"/>
                    <a:pt x="715" y="319"/>
                    <a:pt x="716" y="317"/>
                  </a:cubicBezTo>
                  <a:cubicBezTo>
                    <a:pt x="719" y="316"/>
                    <a:pt x="721" y="320"/>
                    <a:pt x="719" y="321"/>
                  </a:cubicBezTo>
                  <a:cubicBezTo>
                    <a:pt x="720" y="321"/>
                    <a:pt x="722" y="322"/>
                    <a:pt x="723" y="322"/>
                  </a:cubicBezTo>
                  <a:cubicBezTo>
                    <a:pt x="723" y="322"/>
                    <a:pt x="723" y="321"/>
                    <a:pt x="723" y="321"/>
                  </a:cubicBezTo>
                  <a:cubicBezTo>
                    <a:pt x="721" y="321"/>
                    <a:pt x="723" y="317"/>
                    <a:pt x="722" y="315"/>
                  </a:cubicBezTo>
                  <a:cubicBezTo>
                    <a:pt x="716" y="315"/>
                    <a:pt x="709" y="314"/>
                    <a:pt x="703" y="313"/>
                  </a:cubicBezTo>
                  <a:cubicBezTo>
                    <a:pt x="145" y="421"/>
                    <a:pt x="145" y="421"/>
                    <a:pt x="145" y="421"/>
                  </a:cubicBezTo>
                  <a:cubicBezTo>
                    <a:pt x="146" y="421"/>
                    <a:pt x="146" y="421"/>
                    <a:pt x="147" y="421"/>
                  </a:cubicBezTo>
                  <a:cubicBezTo>
                    <a:pt x="152" y="421"/>
                    <a:pt x="152" y="421"/>
                    <a:pt x="152" y="421"/>
                  </a:cubicBezTo>
                  <a:cubicBezTo>
                    <a:pt x="159" y="415"/>
                    <a:pt x="167" y="409"/>
                    <a:pt x="174" y="403"/>
                  </a:cubicBezTo>
                  <a:cubicBezTo>
                    <a:pt x="164" y="403"/>
                    <a:pt x="164" y="403"/>
                    <a:pt x="164" y="403"/>
                  </a:cubicBezTo>
                  <a:cubicBezTo>
                    <a:pt x="164" y="403"/>
                    <a:pt x="165" y="402"/>
                    <a:pt x="165" y="402"/>
                  </a:cubicBezTo>
                  <a:cubicBezTo>
                    <a:pt x="164" y="402"/>
                    <a:pt x="164" y="403"/>
                    <a:pt x="163" y="403"/>
                  </a:cubicBezTo>
                  <a:cubicBezTo>
                    <a:pt x="163" y="403"/>
                    <a:pt x="163" y="403"/>
                    <a:pt x="163" y="403"/>
                  </a:cubicBezTo>
                  <a:cubicBezTo>
                    <a:pt x="163" y="403"/>
                    <a:pt x="163" y="403"/>
                    <a:pt x="163" y="403"/>
                  </a:cubicBezTo>
                  <a:cubicBezTo>
                    <a:pt x="162" y="404"/>
                    <a:pt x="161" y="405"/>
                    <a:pt x="160" y="405"/>
                  </a:cubicBezTo>
                  <a:cubicBezTo>
                    <a:pt x="154" y="410"/>
                    <a:pt x="147" y="415"/>
                    <a:pt x="141" y="421"/>
                  </a:cubicBezTo>
                  <a:cubicBezTo>
                    <a:pt x="363" y="849"/>
                    <a:pt x="362" y="849"/>
                    <a:pt x="362" y="849"/>
                  </a:cubicBezTo>
                  <a:cubicBezTo>
                    <a:pt x="362" y="849"/>
                    <a:pt x="362" y="850"/>
                    <a:pt x="362" y="850"/>
                  </a:cubicBezTo>
                  <a:cubicBezTo>
                    <a:pt x="362" y="850"/>
                    <a:pt x="363" y="850"/>
                    <a:pt x="363" y="849"/>
                  </a:cubicBezTo>
                  <a:cubicBezTo>
                    <a:pt x="381" y="773"/>
                    <a:pt x="383" y="765"/>
                    <a:pt x="385" y="758"/>
                  </a:cubicBezTo>
                  <a:cubicBezTo>
                    <a:pt x="378" y="758"/>
                    <a:pt x="378" y="758"/>
                    <a:pt x="378" y="758"/>
                  </a:cubicBezTo>
                  <a:cubicBezTo>
                    <a:pt x="371" y="779"/>
                    <a:pt x="367" y="800"/>
                    <a:pt x="365" y="822"/>
                  </a:cubicBezTo>
                  <a:cubicBezTo>
                    <a:pt x="367" y="822"/>
                    <a:pt x="368" y="822"/>
                    <a:pt x="370" y="822"/>
                  </a:cubicBezTo>
                  <a:cubicBezTo>
                    <a:pt x="371" y="823"/>
                    <a:pt x="371" y="823"/>
                    <a:pt x="371" y="824"/>
                  </a:cubicBezTo>
                  <a:cubicBezTo>
                    <a:pt x="373" y="814"/>
                    <a:pt x="374" y="803"/>
                    <a:pt x="376" y="793"/>
                  </a:cubicBezTo>
                  <a:cubicBezTo>
                    <a:pt x="376" y="793"/>
                    <a:pt x="375" y="793"/>
                    <a:pt x="375" y="793"/>
                  </a:cubicBezTo>
                  <a:cubicBezTo>
                    <a:pt x="371" y="790"/>
                    <a:pt x="375" y="788"/>
                    <a:pt x="375" y="783"/>
                  </a:cubicBezTo>
                  <a:cubicBezTo>
                    <a:pt x="376" y="783"/>
                    <a:pt x="377" y="783"/>
                    <a:pt x="378" y="783"/>
                  </a:cubicBezTo>
                  <a:cubicBezTo>
                    <a:pt x="377" y="782"/>
                    <a:pt x="378" y="781"/>
                    <a:pt x="379" y="781"/>
                  </a:cubicBezTo>
                  <a:cubicBezTo>
                    <a:pt x="332" y="598"/>
                    <a:pt x="332" y="598"/>
                    <a:pt x="332" y="598"/>
                  </a:cubicBezTo>
                  <a:cubicBezTo>
                    <a:pt x="330" y="600"/>
                    <a:pt x="329" y="602"/>
                    <a:pt x="327" y="604"/>
                  </a:cubicBezTo>
                  <a:cubicBezTo>
                    <a:pt x="328" y="604"/>
                    <a:pt x="329" y="604"/>
                    <a:pt x="329" y="603"/>
                  </a:cubicBezTo>
                  <a:cubicBezTo>
                    <a:pt x="330" y="603"/>
                    <a:pt x="330" y="603"/>
                    <a:pt x="331" y="603"/>
                  </a:cubicBezTo>
                  <a:cubicBezTo>
                    <a:pt x="332" y="602"/>
                    <a:pt x="332" y="603"/>
                    <a:pt x="333" y="603"/>
                  </a:cubicBezTo>
                  <a:cubicBezTo>
                    <a:pt x="333" y="603"/>
                    <a:pt x="333" y="603"/>
                    <a:pt x="334" y="603"/>
                  </a:cubicBezTo>
                  <a:cubicBezTo>
                    <a:pt x="334" y="604"/>
                    <a:pt x="334" y="605"/>
                    <a:pt x="334" y="606"/>
                  </a:cubicBezTo>
                  <a:cubicBezTo>
                    <a:pt x="335" y="605"/>
                    <a:pt x="337" y="603"/>
                    <a:pt x="338" y="602"/>
                  </a:cubicBezTo>
                  <a:cubicBezTo>
                    <a:pt x="337" y="602"/>
                    <a:pt x="336" y="602"/>
                    <a:pt x="335" y="602"/>
                  </a:cubicBezTo>
                  <a:cubicBezTo>
                    <a:pt x="334" y="600"/>
                    <a:pt x="333" y="599"/>
                    <a:pt x="332" y="598"/>
                  </a:cubicBezTo>
                  <a:cubicBezTo>
                    <a:pt x="557" y="1089"/>
                    <a:pt x="547" y="1083"/>
                    <a:pt x="538" y="1076"/>
                  </a:cubicBezTo>
                  <a:cubicBezTo>
                    <a:pt x="537" y="1077"/>
                    <a:pt x="537" y="1077"/>
                    <a:pt x="537" y="1077"/>
                  </a:cubicBezTo>
                  <a:cubicBezTo>
                    <a:pt x="530" y="1077"/>
                    <a:pt x="530" y="1077"/>
                    <a:pt x="530" y="1077"/>
                  </a:cubicBezTo>
                  <a:cubicBezTo>
                    <a:pt x="531" y="1077"/>
                    <a:pt x="531" y="1076"/>
                    <a:pt x="532" y="1076"/>
                  </a:cubicBezTo>
                  <a:cubicBezTo>
                    <a:pt x="531" y="1075"/>
                    <a:pt x="531" y="1075"/>
                    <a:pt x="530" y="1075"/>
                  </a:cubicBezTo>
                  <a:cubicBezTo>
                    <a:pt x="528" y="1076"/>
                    <a:pt x="526" y="1076"/>
                    <a:pt x="525" y="1076"/>
                  </a:cubicBezTo>
                  <a:cubicBezTo>
                    <a:pt x="525" y="1076"/>
                    <a:pt x="524" y="1076"/>
                    <a:pt x="524" y="1076"/>
                  </a:cubicBezTo>
                  <a:cubicBezTo>
                    <a:pt x="533" y="1083"/>
                    <a:pt x="543" y="1089"/>
                    <a:pt x="553" y="1095"/>
                  </a:cubicBezTo>
                  <a:cubicBezTo>
                    <a:pt x="565" y="1101"/>
                    <a:pt x="566" y="1101"/>
                    <a:pt x="566" y="1101"/>
                  </a:cubicBezTo>
                  <a:cubicBezTo>
                    <a:pt x="566" y="1100"/>
                    <a:pt x="566" y="1099"/>
                    <a:pt x="566" y="1098"/>
                  </a:cubicBezTo>
                  <a:cubicBezTo>
                    <a:pt x="565" y="1097"/>
                    <a:pt x="565" y="1097"/>
                    <a:pt x="564" y="1096"/>
                  </a:cubicBezTo>
                  <a:cubicBezTo>
                    <a:pt x="563" y="1098"/>
                    <a:pt x="563" y="1099"/>
                    <a:pt x="561" y="1099"/>
                  </a:cubicBezTo>
                  <a:cubicBezTo>
                    <a:pt x="563" y="1100"/>
                    <a:pt x="564" y="1100"/>
                    <a:pt x="565" y="1101"/>
                  </a:cubicBezTo>
                  <a:cubicBezTo>
                    <a:pt x="739" y="561"/>
                    <a:pt x="737" y="561"/>
                    <a:pt x="736" y="560"/>
                  </a:cubicBezTo>
                  <a:cubicBezTo>
                    <a:pt x="736" y="559"/>
                    <a:pt x="736" y="559"/>
                    <a:pt x="736" y="558"/>
                  </a:cubicBezTo>
                  <a:cubicBezTo>
                    <a:pt x="710" y="551"/>
                    <a:pt x="684" y="545"/>
                    <a:pt x="657" y="542"/>
                  </a:cubicBezTo>
                  <a:cubicBezTo>
                    <a:pt x="657" y="542"/>
                    <a:pt x="657" y="542"/>
                    <a:pt x="657" y="542"/>
                  </a:cubicBezTo>
                  <a:cubicBezTo>
                    <a:pt x="657" y="542"/>
                    <a:pt x="657" y="541"/>
                    <a:pt x="657" y="541"/>
                  </a:cubicBezTo>
                  <a:cubicBezTo>
                    <a:pt x="656" y="541"/>
                    <a:pt x="654" y="541"/>
                    <a:pt x="653" y="541"/>
                  </a:cubicBezTo>
                  <a:cubicBezTo>
                    <a:pt x="653" y="541"/>
                    <a:pt x="653" y="541"/>
                    <a:pt x="653" y="542"/>
                  </a:cubicBezTo>
                  <a:cubicBezTo>
                    <a:pt x="646" y="542"/>
                    <a:pt x="646" y="542"/>
                    <a:pt x="646" y="542"/>
                  </a:cubicBezTo>
                  <a:cubicBezTo>
                    <a:pt x="646" y="541"/>
                    <a:pt x="647" y="541"/>
                    <a:pt x="648" y="540"/>
                  </a:cubicBezTo>
                  <a:cubicBezTo>
                    <a:pt x="646" y="540"/>
                    <a:pt x="644" y="540"/>
                    <a:pt x="642" y="540"/>
                  </a:cubicBezTo>
                  <a:cubicBezTo>
                    <a:pt x="641" y="540"/>
                    <a:pt x="639" y="539"/>
                    <a:pt x="638" y="539"/>
                  </a:cubicBezTo>
                  <a:cubicBezTo>
                    <a:pt x="635" y="541"/>
                    <a:pt x="631" y="542"/>
                    <a:pt x="629" y="539"/>
                  </a:cubicBezTo>
                  <a:cubicBezTo>
                    <a:pt x="628" y="538"/>
                    <a:pt x="627" y="538"/>
                    <a:pt x="625" y="538"/>
                  </a:cubicBezTo>
                  <a:cubicBezTo>
                    <a:pt x="624" y="540"/>
                    <a:pt x="623" y="541"/>
                    <a:pt x="621" y="542"/>
                  </a:cubicBezTo>
                  <a:cubicBezTo>
                    <a:pt x="611" y="542"/>
                    <a:pt x="611" y="542"/>
                    <a:pt x="611" y="542"/>
                  </a:cubicBezTo>
                  <a:cubicBezTo>
                    <a:pt x="609" y="541"/>
                    <a:pt x="608" y="540"/>
                    <a:pt x="608" y="538"/>
                  </a:cubicBezTo>
                  <a:cubicBezTo>
                    <a:pt x="607" y="538"/>
                    <a:pt x="607" y="538"/>
                    <a:pt x="606" y="538"/>
                  </a:cubicBezTo>
                  <a:cubicBezTo>
                    <a:pt x="605" y="539"/>
                    <a:pt x="604" y="540"/>
                    <a:pt x="603" y="541"/>
                  </a:cubicBezTo>
                  <a:cubicBezTo>
                    <a:pt x="604" y="541"/>
                    <a:pt x="604" y="541"/>
                    <a:pt x="604" y="542"/>
                  </a:cubicBezTo>
                  <a:cubicBezTo>
                    <a:pt x="592" y="542"/>
                    <a:pt x="592" y="542"/>
                    <a:pt x="592" y="542"/>
                  </a:cubicBezTo>
                  <a:cubicBezTo>
                    <a:pt x="592" y="541"/>
                    <a:pt x="591" y="539"/>
                    <a:pt x="591" y="538"/>
                  </a:cubicBezTo>
                  <a:cubicBezTo>
                    <a:pt x="589" y="538"/>
                    <a:pt x="587" y="538"/>
                    <a:pt x="586" y="538"/>
                  </a:cubicBezTo>
                  <a:cubicBezTo>
                    <a:pt x="586" y="539"/>
                    <a:pt x="586" y="539"/>
                    <a:pt x="586" y="540"/>
                  </a:cubicBezTo>
                  <a:cubicBezTo>
                    <a:pt x="585" y="542"/>
                    <a:pt x="581" y="540"/>
                    <a:pt x="580" y="542"/>
                  </a:cubicBezTo>
                  <a:cubicBezTo>
                    <a:pt x="581" y="542"/>
                    <a:pt x="581" y="542"/>
                    <a:pt x="582" y="542"/>
                  </a:cubicBezTo>
                  <a:cubicBezTo>
                    <a:pt x="570" y="542"/>
                    <a:pt x="570" y="542"/>
                    <a:pt x="570" y="542"/>
                  </a:cubicBezTo>
                  <a:cubicBezTo>
                    <a:pt x="571" y="541"/>
                    <a:pt x="572" y="540"/>
                    <a:pt x="572" y="539"/>
                  </a:cubicBezTo>
                  <a:cubicBezTo>
                    <a:pt x="567" y="539"/>
                    <a:pt x="562" y="540"/>
                    <a:pt x="557" y="541"/>
                  </a:cubicBezTo>
                  <a:cubicBezTo>
                    <a:pt x="557" y="541"/>
                    <a:pt x="558" y="542"/>
                    <a:pt x="559" y="542"/>
                  </a:cubicBezTo>
                  <a:cubicBezTo>
                    <a:pt x="553" y="542"/>
                    <a:pt x="553" y="542"/>
                    <a:pt x="553" y="542"/>
                  </a:cubicBezTo>
                  <a:cubicBezTo>
                    <a:pt x="552" y="542"/>
                    <a:pt x="552" y="542"/>
                    <a:pt x="552" y="542"/>
                  </a:cubicBezTo>
                  <a:cubicBezTo>
                    <a:pt x="552" y="541"/>
                    <a:pt x="553" y="541"/>
                    <a:pt x="554" y="541"/>
                  </a:cubicBezTo>
                  <a:cubicBezTo>
                    <a:pt x="554" y="541"/>
                    <a:pt x="554" y="541"/>
                    <a:pt x="553" y="541"/>
                  </a:cubicBezTo>
                  <a:cubicBezTo>
                    <a:pt x="528" y="545"/>
                    <a:pt x="504" y="551"/>
                    <a:pt x="480" y="561"/>
                  </a:cubicBezTo>
                  <a:cubicBezTo>
                    <a:pt x="481" y="562"/>
                    <a:pt x="482" y="563"/>
                    <a:pt x="482" y="565"/>
                  </a:cubicBezTo>
                  <a:cubicBezTo>
                    <a:pt x="478" y="566"/>
                    <a:pt x="476" y="568"/>
                    <a:pt x="472" y="568"/>
                  </a:cubicBezTo>
                  <a:cubicBezTo>
                    <a:pt x="473" y="567"/>
                    <a:pt x="473" y="565"/>
                    <a:pt x="474" y="564"/>
                  </a:cubicBezTo>
                  <a:cubicBezTo>
                    <a:pt x="472" y="564"/>
                    <a:pt x="471" y="565"/>
                    <a:pt x="469" y="566"/>
                  </a:cubicBezTo>
                  <a:cubicBezTo>
                    <a:pt x="469" y="566"/>
                    <a:pt x="469" y="567"/>
                    <a:pt x="468" y="569"/>
                  </a:cubicBezTo>
                  <a:cubicBezTo>
                    <a:pt x="467" y="568"/>
                    <a:pt x="465" y="569"/>
                    <a:pt x="464" y="569"/>
                  </a:cubicBezTo>
                  <a:cubicBezTo>
                    <a:pt x="465" y="570"/>
                    <a:pt x="465" y="572"/>
                    <a:pt x="464" y="573"/>
                  </a:cubicBezTo>
                  <a:cubicBezTo>
                    <a:pt x="464" y="573"/>
                    <a:pt x="463" y="572"/>
                    <a:pt x="462" y="572"/>
                  </a:cubicBezTo>
                  <a:cubicBezTo>
                    <a:pt x="462" y="572"/>
                    <a:pt x="462" y="573"/>
                    <a:pt x="462" y="573"/>
                  </a:cubicBezTo>
                  <a:cubicBezTo>
                    <a:pt x="460" y="573"/>
                    <a:pt x="459" y="572"/>
                    <a:pt x="458" y="571"/>
                  </a:cubicBezTo>
                  <a:cubicBezTo>
                    <a:pt x="456" y="572"/>
                    <a:pt x="453" y="574"/>
                    <a:pt x="451" y="575"/>
                  </a:cubicBezTo>
                  <a:cubicBezTo>
                    <a:pt x="454" y="576"/>
                    <a:pt x="458" y="577"/>
                    <a:pt x="461" y="578"/>
                  </a:cubicBezTo>
                  <a:cubicBezTo>
                    <a:pt x="469" y="573"/>
                    <a:pt x="479" y="569"/>
                    <a:pt x="488" y="565"/>
                  </a:cubicBezTo>
                  <a:cubicBezTo>
                    <a:pt x="487" y="564"/>
                    <a:pt x="487" y="563"/>
                    <a:pt x="486" y="562"/>
                  </a:cubicBezTo>
                  <a:cubicBezTo>
                    <a:pt x="487" y="562"/>
                    <a:pt x="488" y="561"/>
                    <a:pt x="488" y="560"/>
                  </a:cubicBezTo>
                  <a:cubicBezTo>
                    <a:pt x="501" y="560"/>
                    <a:pt x="501" y="560"/>
                    <a:pt x="501" y="560"/>
                  </a:cubicBezTo>
                  <a:cubicBezTo>
                    <a:pt x="508" y="558"/>
                    <a:pt x="515" y="556"/>
                    <a:pt x="522" y="554"/>
                  </a:cubicBezTo>
                  <a:cubicBezTo>
                    <a:pt x="586" y="537"/>
                    <a:pt x="654" y="544"/>
                    <a:pt x="718" y="561"/>
                  </a:cubicBezTo>
                  <a:cubicBezTo>
                    <a:pt x="718" y="560"/>
                    <a:pt x="718" y="559"/>
                    <a:pt x="718" y="559"/>
                  </a:cubicBezTo>
                  <a:cubicBezTo>
                    <a:pt x="718" y="559"/>
                    <a:pt x="717" y="559"/>
                    <a:pt x="717" y="558"/>
                  </a:cubicBezTo>
                  <a:cubicBezTo>
                    <a:pt x="723" y="558"/>
                    <a:pt x="723" y="558"/>
                    <a:pt x="723" y="558"/>
                  </a:cubicBezTo>
                  <a:cubicBezTo>
                    <a:pt x="723" y="560"/>
                    <a:pt x="723" y="561"/>
                    <a:pt x="722" y="562"/>
                  </a:cubicBezTo>
                  <a:cubicBezTo>
                    <a:pt x="725" y="562"/>
                    <a:pt x="728" y="563"/>
                    <a:pt x="731" y="564"/>
                  </a:cubicBezTo>
                  <a:cubicBezTo>
                    <a:pt x="731" y="564"/>
                    <a:pt x="730" y="563"/>
                    <a:pt x="730" y="563"/>
                  </a:cubicBezTo>
                  <a:cubicBezTo>
                    <a:pt x="732" y="562"/>
                    <a:pt x="737" y="562"/>
                    <a:pt x="736" y="565"/>
                  </a:cubicBezTo>
                  <a:cubicBezTo>
                    <a:pt x="736" y="565"/>
                    <a:pt x="736" y="565"/>
                    <a:pt x="735" y="565"/>
                  </a:cubicBezTo>
                  <a:cubicBezTo>
                    <a:pt x="739" y="567"/>
                    <a:pt x="743" y="568"/>
                    <a:pt x="746" y="569"/>
                  </a:cubicBezTo>
                  <a:cubicBezTo>
                    <a:pt x="745" y="567"/>
                    <a:pt x="744" y="564"/>
                    <a:pt x="742" y="563"/>
                  </a:cubicBezTo>
                  <a:cubicBezTo>
                    <a:pt x="743" y="562"/>
                    <a:pt x="744" y="561"/>
                    <a:pt x="745" y="561"/>
                  </a:cubicBezTo>
                  <a:cubicBezTo>
                    <a:pt x="743" y="561"/>
                    <a:pt x="742" y="560"/>
                    <a:pt x="741" y="560"/>
                  </a:cubicBezTo>
                  <a:cubicBezTo>
                    <a:pt x="389" y="687"/>
                    <a:pt x="384" y="696"/>
                    <a:pt x="380" y="704"/>
                  </a:cubicBezTo>
                  <a:cubicBezTo>
                    <a:pt x="387" y="704"/>
                    <a:pt x="387" y="704"/>
                    <a:pt x="387" y="704"/>
                  </a:cubicBezTo>
                  <a:cubicBezTo>
                    <a:pt x="392" y="693"/>
                    <a:pt x="398" y="683"/>
                    <a:pt x="405" y="673"/>
                  </a:cubicBezTo>
                  <a:cubicBezTo>
                    <a:pt x="405" y="670"/>
                    <a:pt x="405" y="669"/>
                    <a:pt x="406" y="668"/>
                  </a:cubicBezTo>
                  <a:cubicBezTo>
                    <a:pt x="408" y="668"/>
                    <a:pt x="408" y="668"/>
                    <a:pt x="408" y="668"/>
                  </a:cubicBezTo>
                  <a:cubicBezTo>
                    <a:pt x="424" y="646"/>
                    <a:pt x="443" y="627"/>
                    <a:pt x="465" y="611"/>
                  </a:cubicBezTo>
                  <a:cubicBezTo>
                    <a:pt x="461" y="611"/>
                    <a:pt x="458" y="610"/>
                    <a:pt x="456" y="608"/>
                  </a:cubicBezTo>
                  <a:cubicBezTo>
                    <a:pt x="446" y="615"/>
                    <a:pt x="437" y="623"/>
                    <a:pt x="429" y="632"/>
                  </a:cubicBezTo>
                  <a:cubicBezTo>
                    <a:pt x="431" y="632"/>
                    <a:pt x="431" y="632"/>
                    <a:pt x="431" y="632"/>
                  </a:cubicBezTo>
                  <a:cubicBezTo>
                    <a:pt x="430" y="633"/>
                    <a:pt x="430" y="633"/>
                    <a:pt x="429" y="633"/>
                  </a:cubicBezTo>
                  <a:cubicBezTo>
                    <a:pt x="431" y="635"/>
                    <a:pt x="430" y="639"/>
                    <a:pt x="429" y="641"/>
                  </a:cubicBezTo>
                  <a:cubicBezTo>
                    <a:pt x="426" y="641"/>
                    <a:pt x="424" y="640"/>
                    <a:pt x="423" y="639"/>
                  </a:cubicBezTo>
                  <a:cubicBezTo>
                    <a:pt x="414" y="649"/>
                    <a:pt x="406" y="660"/>
                    <a:pt x="398" y="671"/>
                  </a:cubicBezTo>
                  <a:cubicBezTo>
                    <a:pt x="399" y="672"/>
                    <a:pt x="399" y="672"/>
                    <a:pt x="399" y="673"/>
                  </a:cubicBezTo>
                  <a:cubicBezTo>
                    <a:pt x="399" y="674"/>
                    <a:pt x="398" y="674"/>
                    <a:pt x="397" y="674"/>
                  </a:cubicBezTo>
                  <a:cubicBezTo>
                    <a:pt x="396" y="674"/>
                    <a:pt x="396" y="675"/>
                    <a:pt x="396" y="675"/>
                  </a:cubicBezTo>
                  <a:cubicBezTo>
                    <a:pt x="399" y="675"/>
                    <a:pt x="399" y="677"/>
                    <a:pt x="399" y="679"/>
                  </a:cubicBezTo>
                  <a:cubicBezTo>
                    <a:pt x="398" y="680"/>
                    <a:pt x="396" y="680"/>
                    <a:pt x="393" y="680"/>
                  </a:cubicBezTo>
                  <a:cubicBezTo>
                    <a:pt x="379" y="707"/>
                    <a:pt x="378" y="709"/>
                    <a:pt x="377" y="710"/>
                  </a:cubicBezTo>
                  <a:cubicBezTo>
                    <a:pt x="378" y="712"/>
                    <a:pt x="379" y="713"/>
                    <a:pt x="382" y="714"/>
                  </a:cubicBezTo>
                  <a:cubicBezTo>
                    <a:pt x="382" y="712"/>
                    <a:pt x="383" y="711"/>
                    <a:pt x="384" y="709"/>
                  </a:cubicBezTo>
                  <a:cubicBezTo>
                    <a:pt x="383" y="709"/>
                    <a:pt x="382" y="709"/>
                    <a:pt x="381" y="709"/>
                  </a:cubicBezTo>
                  <a:cubicBezTo>
                    <a:pt x="381" y="708"/>
                    <a:pt x="380" y="707"/>
                    <a:pt x="379" y="706"/>
                  </a:cubicBezTo>
                  <a:cubicBezTo>
                    <a:pt x="369" y="842"/>
                    <a:pt x="370" y="835"/>
                    <a:pt x="371" y="829"/>
                  </a:cubicBezTo>
                  <a:cubicBezTo>
                    <a:pt x="371" y="829"/>
                    <a:pt x="370" y="829"/>
                    <a:pt x="370" y="829"/>
                  </a:cubicBezTo>
                  <a:cubicBezTo>
                    <a:pt x="365" y="829"/>
                    <a:pt x="365" y="829"/>
                    <a:pt x="365" y="829"/>
                  </a:cubicBezTo>
                  <a:cubicBezTo>
                    <a:pt x="365" y="829"/>
                    <a:pt x="364" y="829"/>
                    <a:pt x="364" y="829"/>
                  </a:cubicBezTo>
                  <a:cubicBezTo>
                    <a:pt x="363" y="835"/>
                    <a:pt x="363" y="841"/>
                    <a:pt x="362" y="847"/>
                  </a:cubicBezTo>
                  <a:cubicBezTo>
                    <a:pt x="369" y="847"/>
                    <a:pt x="369" y="847"/>
                    <a:pt x="369" y="847"/>
                  </a:cubicBezTo>
                  <a:cubicBezTo>
                    <a:pt x="369" y="847"/>
                    <a:pt x="369" y="847"/>
                    <a:pt x="369" y="848"/>
                  </a:cubicBezTo>
                  <a:cubicBezTo>
                    <a:pt x="704" y="1108"/>
                    <a:pt x="704" y="1108"/>
                    <a:pt x="703" y="1108"/>
                  </a:cubicBezTo>
                  <a:cubicBezTo>
                    <a:pt x="704" y="1109"/>
                    <a:pt x="704" y="1109"/>
                    <a:pt x="705" y="1109"/>
                  </a:cubicBezTo>
                  <a:cubicBezTo>
                    <a:pt x="705" y="1109"/>
                    <a:pt x="705" y="1108"/>
                    <a:pt x="705" y="1108"/>
                  </a:cubicBezTo>
                  <a:cubicBezTo>
                    <a:pt x="644" y="1076"/>
                    <a:pt x="644" y="1076"/>
                    <a:pt x="644" y="1076"/>
                  </a:cubicBezTo>
                  <a:cubicBezTo>
                    <a:pt x="644" y="1076"/>
                    <a:pt x="644" y="1076"/>
                    <a:pt x="644" y="1076"/>
                  </a:cubicBezTo>
                  <a:cubicBezTo>
                    <a:pt x="644" y="1075"/>
                    <a:pt x="643" y="1075"/>
                    <a:pt x="642" y="1075"/>
                  </a:cubicBezTo>
                  <a:cubicBezTo>
                    <a:pt x="640" y="1075"/>
                    <a:pt x="637" y="1075"/>
                    <a:pt x="634" y="1075"/>
                  </a:cubicBezTo>
                  <a:cubicBezTo>
                    <a:pt x="633" y="1074"/>
                    <a:pt x="631" y="1072"/>
                    <a:pt x="630" y="1070"/>
                  </a:cubicBezTo>
                  <a:cubicBezTo>
                    <a:pt x="630" y="1070"/>
                    <a:pt x="629" y="1070"/>
                    <a:pt x="629" y="1069"/>
                  </a:cubicBezTo>
                  <a:cubicBezTo>
                    <a:pt x="628" y="1071"/>
                    <a:pt x="627" y="1074"/>
                    <a:pt x="627" y="1076"/>
                  </a:cubicBezTo>
                  <a:cubicBezTo>
                    <a:pt x="632" y="1078"/>
                    <a:pt x="638" y="1080"/>
                    <a:pt x="643" y="1083"/>
                  </a:cubicBezTo>
                  <a:cubicBezTo>
                    <a:pt x="652" y="1086"/>
                    <a:pt x="661" y="1090"/>
                    <a:pt x="670" y="1094"/>
                  </a:cubicBezTo>
                  <a:cubicBezTo>
                    <a:pt x="670" y="1094"/>
                    <a:pt x="670" y="1094"/>
                    <a:pt x="670" y="1094"/>
                  </a:cubicBezTo>
                  <a:cubicBezTo>
                    <a:pt x="670" y="1094"/>
                    <a:pt x="670" y="1094"/>
                    <a:pt x="670" y="1094"/>
                  </a:cubicBezTo>
                  <a:cubicBezTo>
                    <a:pt x="671" y="1094"/>
                    <a:pt x="673" y="1095"/>
                    <a:pt x="674" y="1096"/>
                  </a:cubicBezTo>
                  <a:cubicBezTo>
                    <a:pt x="674" y="1095"/>
                    <a:pt x="674" y="1095"/>
                    <a:pt x="675" y="1094"/>
                  </a:cubicBezTo>
                  <a:cubicBezTo>
                    <a:pt x="677" y="1095"/>
                    <a:pt x="677" y="1093"/>
                    <a:pt x="679" y="1095"/>
                  </a:cubicBezTo>
                  <a:cubicBezTo>
                    <a:pt x="679" y="1095"/>
                    <a:pt x="679" y="1095"/>
                    <a:pt x="679" y="1095"/>
                  </a:cubicBezTo>
                  <a:cubicBezTo>
                    <a:pt x="680" y="1096"/>
                    <a:pt x="681" y="1097"/>
                    <a:pt x="681" y="1098"/>
                  </a:cubicBezTo>
                  <a:cubicBezTo>
                    <a:pt x="681" y="1098"/>
                    <a:pt x="681" y="1099"/>
                    <a:pt x="682" y="1099"/>
                  </a:cubicBezTo>
                  <a:cubicBezTo>
                    <a:pt x="682" y="1098"/>
                    <a:pt x="683" y="1097"/>
                    <a:pt x="683" y="1096"/>
                  </a:cubicBezTo>
                  <a:cubicBezTo>
                    <a:pt x="685" y="1097"/>
                    <a:pt x="688" y="1096"/>
                    <a:pt x="688" y="1100"/>
                  </a:cubicBezTo>
                  <a:cubicBezTo>
                    <a:pt x="688" y="1100"/>
                    <a:pt x="688" y="1101"/>
                    <a:pt x="688" y="1101"/>
                  </a:cubicBezTo>
                  <a:cubicBezTo>
                    <a:pt x="692" y="1103"/>
                    <a:pt x="696" y="1105"/>
                    <a:pt x="700" y="1107"/>
                  </a:cubicBezTo>
                  <a:cubicBezTo>
                    <a:pt x="697" y="1105"/>
                    <a:pt x="697" y="1101"/>
                    <a:pt x="701" y="1100"/>
                  </a:cubicBezTo>
                  <a:cubicBezTo>
                    <a:pt x="702" y="1100"/>
                    <a:pt x="702" y="1100"/>
                    <a:pt x="703" y="1100"/>
                  </a:cubicBezTo>
                  <a:cubicBezTo>
                    <a:pt x="701" y="1099"/>
                    <a:pt x="699" y="1099"/>
                    <a:pt x="698" y="1098"/>
                  </a:cubicBezTo>
                  <a:cubicBezTo>
                    <a:pt x="681" y="1090"/>
                    <a:pt x="663" y="1083"/>
                    <a:pt x="646" y="1076"/>
                  </a:cubicBezTo>
                  <a:cubicBezTo>
                    <a:pt x="641" y="1105"/>
                    <a:pt x="641" y="1105"/>
                    <a:pt x="641" y="1105"/>
                  </a:cubicBezTo>
                  <a:cubicBezTo>
                    <a:pt x="641" y="1105"/>
                    <a:pt x="641" y="1105"/>
                    <a:pt x="641" y="1105"/>
                  </a:cubicBezTo>
                  <a:cubicBezTo>
                    <a:pt x="641" y="1105"/>
                    <a:pt x="641" y="1105"/>
                    <a:pt x="641" y="1105"/>
                  </a:cubicBezTo>
                  <a:cubicBezTo>
                    <a:pt x="991" y="1066"/>
                    <a:pt x="996" y="1063"/>
                    <a:pt x="1000" y="1060"/>
                  </a:cubicBezTo>
                  <a:cubicBezTo>
                    <a:pt x="1000" y="1060"/>
                    <a:pt x="1000" y="1060"/>
                    <a:pt x="1000" y="1060"/>
                  </a:cubicBezTo>
                  <a:cubicBezTo>
                    <a:pt x="1001" y="1058"/>
                    <a:pt x="1001" y="1056"/>
                    <a:pt x="1000" y="1055"/>
                  </a:cubicBezTo>
                  <a:cubicBezTo>
                    <a:pt x="1009" y="1055"/>
                    <a:pt x="1009" y="1055"/>
                    <a:pt x="1009" y="1055"/>
                  </a:cubicBezTo>
                  <a:cubicBezTo>
                    <a:pt x="1018" y="1049"/>
                    <a:pt x="1027" y="1043"/>
                    <a:pt x="1036" y="1037"/>
                  </a:cubicBezTo>
                  <a:cubicBezTo>
                    <a:pt x="1024" y="1038"/>
                    <a:pt x="1024" y="1038"/>
                    <a:pt x="1024" y="1038"/>
                  </a:cubicBezTo>
                  <a:cubicBezTo>
                    <a:pt x="1010" y="1046"/>
                    <a:pt x="997" y="1055"/>
                    <a:pt x="983" y="1063"/>
                  </a:cubicBezTo>
                  <a:cubicBezTo>
                    <a:pt x="984" y="1065"/>
                    <a:pt x="985" y="1067"/>
                    <a:pt x="986" y="1069"/>
                  </a:cubicBezTo>
                  <a:cubicBezTo>
                    <a:pt x="642" y="1112"/>
                    <a:pt x="643" y="1112"/>
                    <a:pt x="643" y="1112"/>
                  </a:cubicBezTo>
                  <a:cubicBezTo>
                    <a:pt x="644" y="1111"/>
                    <a:pt x="644" y="1111"/>
                    <a:pt x="644" y="1110"/>
                  </a:cubicBezTo>
                  <a:cubicBezTo>
                    <a:pt x="643" y="1111"/>
                    <a:pt x="642" y="1111"/>
                    <a:pt x="640" y="1111"/>
                  </a:cubicBezTo>
                  <a:cubicBezTo>
                    <a:pt x="641" y="1112"/>
                    <a:pt x="641" y="1112"/>
                    <a:pt x="641" y="1112"/>
                  </a:cubicBezTo>
                  <a:cubicBezTo>
                    <a:pt x="579" y="1108"/>
                    <a:pt x="580" y="1109"/>
                    <a:pt x="581" y="1109"/>
                  </a:cubicBezTo>
                  <a:cubicBezTo>
                    <a:pt x="580" y="1108"/>
                    <a:pt x="580" y="1108"/>
                    <a:pt x="578" y="1108"/>
                  </a:cubicBezTo>
                  <a:cubicBezTo>
                    <a:pt x="589" y="1108"/>
                    <a:pt x="587" y="1107"/>
                    <a:pt x="586" y="1107"/>
                  </a:cubicBezTo>
                  <a:cubicBezTo>
                    <a:pt x="585" y="1107"/>
                    <a:pt x="584" y="1107"/>
                    <a:pt x="582" y="1107"/>
                  </a:cubicBezTo>
                  <a:cubicBezTo>
                    <a:pt x="583" y="1108"/>
                    <a:pt x="585" y="1108"/>
                    <a:pt x="585" y="1110"/>
                  </a:cubicBezTo>
                  <a:cubicBezTo>
                    <a:pt x="586" y="1109"/>
                    <a:pt x="588" y="1109"/>
                    <a:pt x="590" y="1108"/>
                  </a:cubicBezTo>
                  <a:cubicBezTo>
                    <a:pt x="570" y="1103"/>
                    <a:pt x="570" y="1104"/>
                    <a:pt x="571" y="1104"/>
                  </a:cubicBezTo>
                  <a:cubicBezTo>
                    <a:pt x="572" y="1104"/>
                    <a:pt x="572" y="1104"/>
                    <a:pt x="572" y="1104"/>
                  </a:cubicBezTo>
                  <a:cubicBezTo>
                    <a:pt x="571" y="1104"/>
                    <a:pt x="570" y="1103"/>
                    <a:pt x="570" y="1103"/>
                  </a:cubicBezTo>
                  <a:cubicBezTo>
                    <a:pt x="569" y="1103"/>
                    <a:pt x="569" y="1103"/>
                    <a:pt x="569" y="1103"/>
                  </a:cubicBezTo>
                  <a:cubicBezTo>
                    <a:pt x="97" y="435"/>
                    <a:pt x="98" y="435"/>
                    <a:pt x="98" y="434"/>
                  </a:cubicBezTo>
                  <a:cubicBezTo>
                    <a:pt x="98" y="434"/>
                    <a:pt x="98" y="434"/>
                    <a:pt x="99" y="434"/>
                  </a:cubicBezTo>
                  <a:cubicBezTo>
                    <a:pt x="97" y="434"/>
                    <a:pt x="96" y="434"/>
                    <a:pt x="94" y="434"/>
                  </a:cubicBezTo>
                  <a:cubicBezTo>
                    <a:pt x="95" y="434"/>
                    <a:pt x="96" y="435"/>
                    <a:pt x="97" y="436"/>
                  </a:cubicBezTo>
                  <a:cubicBezTo>
                    <a:pt x="1042" y="1043"/>
                    <a:pt x="1033" y="1049"/>
                    <a:pt x="1025" y="1055"/>
                  </a:cubicBezTo>
                  <a:cubicBezTo>
                    <a:pt x="1025" y="1055"/>
                    <a:pt x="1025" y="1055"/>
                    <a:pt x="1025" y="1055"/>
                  </a:cubicBezTo>
                  <a:cubicBezTo>
                    <a:pt x="1025" y="1055"/>
                    <a:pt x="1025" y="1055"/>
                    <a:pt x="1025" y="1056"/>
                  </a:cubicBezTo>
                  <a:cubicBezTo>
                    <a:pt x="1027" y="1057"/>
                    <a:pt x="1028" y="1059"/>
                    <a:pt x="1030" y="1060"/>
                  </a:cubicBezTo>
                  <a:cubicBezTo>
                    <a:pt x="1030" y="1060"/>
                    <a:pt x="1030" y="1060"/>
                    <a:pt x="1031" y="1060"/>
                  </a:cubicBezTo>
                  <a:cubicBezTo>
                    <a:pt x="1031" y="1059"/>
                    <a:pt x="1032" y="1058"/>
                    <a:pt x="1032" y="1057"/>
                  </a:cubicBezTo>
                  <a:cubicBezTo>
                    <a:pt x="1033" y="1057"/>
                    <a:pt x="1033" y="1057"/>
                    <a:pt x="1034" y="1057"/>
                  </a:cubicBezTo>
                  <a:cubicBezTo>
                    <a:pt x="1034" y="1057"/>
                    <a:pt x="1034" y="1057"/>
                    <a:pt x="1034" y="1057"/>
                  </a:cubicBezTo>
                  <a:cubicBezTo>
                    <a:pt x="1033" y="1056"/>
                    <a:pt x="1031" y="1055"/>
                    <a:pt x="1030" y="1055"/>
                  </a:cubicBezTo>
                  <a:cubicBezTo>
                    <a:pt x="1037" y="1055"/>
                    <a:pt x="1037" y="1055"/>
                    <a:pt x="1037" y="1055"/>
                  </a:cubicBezTo>
                  <a:cubicBezTo>
                    <a:pt x="1046" y="1049"/>
                    <a:pt x="1053" y="1043"/>
                    <a:pt x="1061" y="1037"/>
                  </a:cubicBezTo>
                  <a:cubicBezTo>
                    <a:pt x="327" y="609"/>
                    <a:pt x="330" y="609"/>
                    <a:pt x="329" y="607"/>
                  </a:cubicBezTo>
                  <a:cubicBezTo>
                    <a:pt x="328" y="606"/>
                    <a:pt x="327" y="606"/>
                    <a:pt x="326" y="605"/>
                  </a:cubicBezTo>
                  <a:cubicBezTo>
                    <a:pt x="325" y="607"/>
                    <a:pt x="324" y="608"/>
                    <a:pt x="323" y="609"/>
                  </a:cubicBezTo>
                  <a:cubicBezTo>
                    <a:pt x="324" y="610"/>
                    <a:pt x="326" y="611"/>
                    <a:pt x="328" y="611"/>
                  </a:cubicBezTo>
                  <a:cubicBezTo>
                    <a:pt x="135" y="435"/>
                    <a:pt x="135" y="435"/>
                    <a:pt x="135" y="435"/>
                  </a:cubicBezTo>
                  <a:cubicBezTo>
                    <a:pt x="135" y="435"/>
                    <a:pt x="135" y="435"/>
                    <a:pt x="135" y="435"/>
                  </a:cubicBezTo>
                  <a:cubicBezTo>
                    <a:pt x="135" y="435"/>
                    <a:pt x="135" y="435"/>
                    <a:pt x="135" y="435"/>
                  </a:cubicBezTo>
                  <a:cubicBezTo>
                    <a:pt x="82" y="451"/>
                    <a:pt x="88" y="445"/>
                    <a:pt x="93" y="439"/>
                  </a:cubicBezTo>
                  <a:cubicBezTo>
                    <a:pt x="84" y="440"/>
                    <a:pt x="84" y="440"/>
                    <a:pt x="84" y="440"/>
                  </a:cubicBezTo>
                  <a:cubicBezTo>
                    <a:pt x="78" y="445"/>
                    <a:pt x="73" y="451"/>
                    <a:pt x="68" y="457"/>
                  </a:cubicBezTo>
                  <a:cubicBezTo>
                    <a:pt x="184" y="427"/>
                    <a:pt x="183" y="426"/>
                    <a:pt x="183" y="425"/>
                  </a:cubicBezTo>
                  <a:cubicBezTo>
                    <a:pt x="182" y="426"/>
                    <a:pt x="181" y="427"/>
                    <a:pt x="180" y="427"/>
                  </a:cubicBezTo>
                  <a:cubicBezTo>
                    <a:pt x="181" y="427"/>
                    <a:pt x="183" y="427"/>
                    <a:pt x="184" y="428"/>
                  </a:cubicBezTo>
                  <a:cubicBezTo>
                    <a:pt x="218" y="400"/>
                    <a:pt x="217" y="400"/>
                    <a:pt x="217" y="399"/>
                  </a:cubicBezTo>
                  <a:cubicBezTo>
                    <a:pt x="216" y="400"/>
                    <a:pt x="215" y="401"/>
                    <a:pt x="214" y="401"/>
                  </a:cubicBezTo>
                  <a:cubicBezTo>
                    <a:pt x="215" y="401"/>
                    <a:pt x="216" y="401"/>
                    <a:pt x="218" y="401"/>
                  </a:cubicBezTo>
                  <a:cubicBezTo>
                    <a:pt x="200" y="420"/>
                    <a:pt x="200" y="420"/>
                    <a:pt x="200" y="420"/>
                  </a:cubicBezTo>
                  <a:cubicBezTo>
                    <a:pt x="208" y="414"/>
                    <a:pt x="216" y="408"/>
                    <a:pt x="224" y="403"/>
                  </a:cubicBezTo>
                  <a:cubicBezTo>
                    <a:pt x="212" y="403"/>
                    <a:pt x="212" y="403"/>
                    <a:pt x="212" y="403"/>
                  </a:cubicBezTo>
                  <a:cubicBezTo>
                    <a:pt x="206" y="407"/>
                    <a:pt x="201" y="411"/>
                    <a:pt x="196" y="415"/>
                  </a:cubicBezTo>
                  <a:cubicBezTo>
                    <a:pt x="193" y="417"/>
                    <a:pt x="191" y="418"/>
                    <a:pt x="189" y="420"/>
                  </a:cubicBezTo>
                  <a:cubicBezTo>
                    <a:pt x="43" y="493"/>
                    <a:pt x="44" y="493"/>
                    <a:pt x="44" y="494"/>
                  </a:cubicBezTo>
                  <a:cubicBezTo>
                    <a:pt x="44" y="493"/>
                    <a:pt x="44" y="493"/>
                    <a:pt x="44" y="493"/>
                  </a:cubicBezTo>
                  <a:cubicBezTo>
                    <a:pt x="46" y="493"/>
                    <a:pt x="46" y="493"/>
                    <a:pt x="46" y="493"/>
                  </a:cubicBezTo>
                  <a:cubicBezTo>
                    <a:pt x="52" y="486"/>
                    <a:pt x="58" y="478"/>
                    <a:pt x="64" y="471"/>
                  </a:cubicBezTo>
                  <a:cubicBezTo>
                    <a:pt x="62" y="471"/>
                    <a:pt x="60" y="470"/>
                    <a:pt x="58" y="468"/>
                  </a:cubicBezTo>
                  <a:cubicBezTo>
                    <a:pt x="57" y="469"/>
                    <a:pt x="57" y="470"/>
                    <a:pt x="56" y="471"/>
                  </a:cubicBezTo>
                  <a:cubicBezTo>
                    <a:pt x="57" y="473"/>
                    <a:pt x="58" y="474"/>
                    <a:pt x="60" y="475"/>
                  </a:cubicBezTo>
                  <a:cubicBezTo>
                    <a:pt x="52" y="475"/>
                    <a:pt x="52" y="475"/>
                    <a:pt x="52" y="475"/>
                  </a:cubicBezTo>
                  <a:cubicBezTo>
                    <a:pt x="47" y="481"/>
                    <a:pt x="43" y="487"/>
                    <a:pt x="38" y="493"/>
                  </a:cubicBezTo>
                  <a:cubicBezTo>
                    <a:pt x="93" y="431"/>
                    <a:pt x="93" y="430"/>
                    <a:pt x="93" y="429"/>
                  </a:cubicBezTo>
                  <a:cubicBezTo>
                    <a:pt x="93" y="430"/>
                    <a:pt x="92" y="431"/>
                    <a:pt x="91" y="432"/>
                  </a:cubicBezTo>
                  <a:cubicBezTo>
                    <a:pt x="92" y="432"/>
                    <a:pt x="93" y="432"/>
                    <a:pt x="93" y="432"/>
                  </a:cubicBezTo>
                  <a:cubicBezTo>
                    <a:pt x="267" y="638"/>
                    <a:pt x="265" y="638"/>
                    <a:pt x="264" y="638"/>
                  </a:cubicBezTo>
                  <a:cubicBezTo>
                    <a:pt x="263" y="639"/>
                    <a:pt x="263" y="640"/>
                    <a:pt x="262" y="641"/>
                  </a:cubicBezTo>
                  <a:cubicBezTo>
                    <a:pt x="263" y="642"/>
                    <a:pt x="263" y="643"/>
                    <a:pt x="265" y="644"/>
                  </a:cubicBezTo>
                  <a:cubicBezTo>
                    <a:pt x="265" y="648"/>
                    <a:pt x="265" y="651"/>
                    <a:pt x="262" y="652"/>
                  </a:cubicBezTo>
                  <a:cubicBezTo>
                    <a:pt x="256" y="652"/>
                    <a:pt x="256" y="652"/>
                    <a:pt x="256" y="652"/>
                  </a:cubicBezTo>
                  <a:cubicBezTo>
                    <a:pt x="256" y="651"/>
                    <a:pt x="256" y="651"/>
                    <a:pt x="256" y="650"/>
                  </a:cubicBezTo>
                  <a:cubicBezTo>
                    <a:pt x="252" y="657"/>
                    <a:pt x="249" y="663"/>
                    <a:pt x="245" y="669"/>
                  </a:cubicBezTo>
                  <a:cubicBezTo>
                    <a:pt x="249" y="669"/>
                    <a:pt x="249" y="669"/>
                    <a:pt x="249" y="669"/>
                  </a:cubicBezTo>
                  <a:cubicBezTo>
                    <a:pt x="249" y="670"/>
                    <a:pt x="249" y="671"/>
                    <a:pt x="249" y="672"/>
                  </a:cubicBezTo>
                  <a:cubicBezTo>
                    <a:pt x="247" y="672"/>
                    <a:pt x="245" y="672"/>
                    <a:pt x="243" y="674"/>
                  </a:cubicBezTo>
                  <a:cubicBezTo>
                    <a:pt x="244" y="674"/>
                    <a:pt x="245" y="675"/>
                    <a:pt x="245" y="676"/>
                  </a:cubicBezTo>
                  <a:cubicBezTo>
                    <a:pt x="244" y="678"/>
                    <a:pt x="242" y="678"/>
                    <a:pt x="240" y="678"/>
                  </a:cubicBezTo>
                  <a:cubicBezTo>
                    <a:pt x="240" y="679"/>
                    <a:pt x="239" y="680"/>
                    <a:pt x="239" y="681"/>
                  </a:cubicBezTo>
                  <a:cubicBezTo>
                    <a:pt x="239" y="683"/>
                    <a:pt x="238" y="685"/>
                    <a:pt x="241" y="684"/>
                  </a:cubicBezTo>
                  <a:cubicBezTo>
                    <a:pt x="241" y="682"/>
                    <a:pt x="241" y="681"/>
                    <a:pt x="242" y="680"/>
                  </a:cubicBezTo>
                  <a:cubicBezTo>
                    <a:pt x="244" y="680"/>
                    <a:pt x="246" y="680"/>
                    <a:pt x="247" y="680"/>
                  </a:cubicBezTo>
                  <a:cubicBezTo>
                    <a:pt x="249" y="677"/>
                    <a:pt x="250" y="674"/>
                    <a:pt x="252" y="671"/>
                  </a:cubicBezTo>
                  <a:cubicBezTo>
                    <a:pt x="251" y="671"/>
                    <a:pt x="251" y="670"/>
                    <a:pt x="250" y="669"/>
                  </a:cubicBezTo>
                  <a:cubicBezTo>
                    <a:pt x="253" y="669"/>
                    <a:pt x="253" y="669"/>
                    <a:pt x="253" y="669"/>
                  </a:cubicBezTo>
                  <a:cubicBezTo>
                    <a:pt x="258" y="660"/>
                    <a:pt x="263" y="651"/>
                    <a:pt x="269" y="643"/>
                  </a:cubicBezTo>
                  <a:cubicBezTo>
                    <a:pt x="268" y="641"/>
                    <a:pt x="270" y="638"/>
                    <a:pt x="267" y="637"/>
                  </a:cubicBezTo>
                  <a:cubicBezTo>
                    <a:pt x="202" y="723"/>
                    <a:pt x="201" y="724"/>
                    <a:pt x="201" y="724"/>
                  </a:cubicBezTo>
                  <a:cubicBezTo>
                    <a:pt x="196" y="724"/>
                    <a:pt x="196" y="724"/>
                    <a:pt x="196" y="724"/>
                  </a:cubicBezTo>
                  <a:cubicBezTo>
                    <a:pt x="194" y="730"/>
                    <a:pt x="192" y="736"/>
                    <a:pt x="190" y="742"/>
                  </a:cubicBezTo>
                  <a:cubicBezTo>
                    <a:pt x="191" y="742"/>
                    <a:pt x="191" y="742"/>
                    <a:pt x="192" y="741"/>
                  </a:cubicBezTo>
                  <a:cubicBezTo>
                    <a:pt x="192" y="741"/>
                    <a:pt x="192" y="741"/>
                    <a:pt x="191" y="741"/>
                  </a:cubicBezTo>
                  <a:cubicBezTo>
                    <a:pt x="197" y="741"/>
                    <a:pt x="197" y="741"/>
                    <a:pt x="197" y="741"/>
                  </a:cubicBezTo>
                  <a:cubicBezTo>
                    <a:pt x="197" y="741"/>
                    <a:pt x="197" y="742"/>
                    <a:pt x="197" y="742"/>
                  </a:cubicBezTo>
                  <a:cubicBezTo>
                    <a:pt x="199" y="736"/>
                    <a:pt x="201" y="729"/>
                    <a:pt x="203" y="723"/>
                  </a:cubicBezTo>
                  <a:cubicBezTo>
                    <a:pt x="294" y="607"/>
                    <a:pt x="296" y="605"/>
                    <a:pt x="298" y="603"/>
                  </a:cubicBezTo>
                  <a:cubicBezTo>
                    <a:pt x="299" y="601"/>
                    <a:pt x="300" y="600"/>
                    <a:pt x="302" y="598"/>
                  </a:cubicBezTo>
                  <a:cubicBezTo>
                    <a:pt x="301" y="598"/>
                    <a:pt x="301" y="598"/>
                    <a:pt x="301" y="598"/>
                  </a:cubicBezTo>
                  <a:cubicBezTo>
                    <a:pt x="302" y="598"/>
                    <a:pt x="302" y="598"/>
                    <a:pt x="302" y="598"/>
                  </a:cubicBezTo>
                  <a:cubicBezTo>
                    <a:pt x="307" y="592"/>
                    <a:pt x="313" y="586"/>
                    <a:pt x="318" y="580"/>
                  </a:cubicBezTo>
                  <a:cubicBezTo>
                    <a:pt x="318" y="580"/>
                    <a:pt x="318" y="580"/>
                    <a:pt x="318" y="580"/>
                  </a:cubicBezTo>
                  <a:cubicBezTo>
                    <a:pt x="316" y="578"/>
                    <a:pt x="315" y="577"/>
                    <a:pt x="312" y="577"/>
                  </a:cubicBezTo>
                  <a:cubicBezTo>
                    <a:pt x="312" y="577"/>
                    <a:pt x="312" y="577"/>
                    <a:pt x="312" y="578"/>
                  </a:cubicBezTo>
                  <a:cubicBezTo>
                    <a:pt x="313" y="578"/>
                    <a:pt x="313" y="579"/>
                    <a:pt x="314" y="580"/>
                  </a:cubicBezTo>
                  <a:cubicBezTo>
                    <a:pt x="309" y="580"/>
                    <a:pt x="309" y="580"/>
                    <a:pt x="309" y="580"/>
                  </a:cubicBezTo>
                  <a:cubicBezTo>
                    <a:pt x="304" y="586"/>
                    <a:pt x="298" y="592"/>
                    <a:pt x="293" y="599"/>
                  </a:cubicBezTo>
                  <a:cubicBezTo>
                    <a:pt x="294" y="599"/>
                    <a:pt x="294" y="598"/>
                    <a:pt x="294" y="598"/>
                  </a:cubicBezTo>
                  <a:cubicBezTo>
                    <a:pt x="292" y="600"/>
                    <a:pt x="294" y="606"/>
                    <a:pt x="293" y="610"/>
                  </a:cubicBezTo>
                  <a:cubicBezTo>
                    <a:pt x="8" y="494"/>
                    <a:pt x="8" y="494"/>
                    <a:pt x="7" y="494"/>
                  </a:cubicBezTo>
                  <a:cubicBezTo>
                    <a:pt x="8" y="495"/>
                    <a:pt x="10" y="494"/>
                    <a:pt x="11" y="493"/>
                  </a:cubicBezTo>
                  <a:cubicBezTo>
                    <a:pt x="15" y="487"/>
                    <a:pt x="20" y="481"/>
                    <a:pt x="24" y="476"/>
                  </a:cubicBezTo>
                  <a:cubicBezTo>
                    <a:pt x="16" y="476"/>
                    <a:pt x="16" y="476"/>
                    <a:pt x="16" y="476"/>
                  </a:cubicBezTo>
                  <a:cubicBezTo>
                    <a:pt x="12" y="480"/>
                    <a:pt x="9" y="485"/>
                    <a:pt x="6" y="489"/>
                  </a:cubicBezTo>
                  <a:cubicBezTo>
                    <a:pt x="4" y="490"/>
                    <a:pt x="5" y="492"/>
                    <a:pt x="6" y="493"/>
                  </a:cubicBezTo>
                  <a:cubicBezTo>
                    <a:pt x="96" y="944"/>
                    <a:pt x="97" y="940"/>
                    <a:pt x="98" y="937"/>
                  </a:cubicBezTo>
                  <a:cubicBezTo>
                    <a:pt x="98" y="937"/>
                    <a:pt x="97" y="937"/>
                    <a:pt x="97" y="936"/>
                  </a:cubicBezTo>
                  <a:cubicBezTo>
                    <a:pt x="97" y="937"/>
                    <a:pt x="97" y="938"/>
                    <a:pt x="97" y="939"/>
                  </a:cubicBezTo>
                  <a:cubicBezTo>
                    <a:pt x="90" y="939"/>
                    <a:pt x="90" y="939"/>
                    <a:pt x="90" y="939"/>
                  </a:cubicBezTo>
                  <a:cubicBezTo>
                    <a:pt x="90" y="940"/>
                    <a:pt x="89" y="942"/>
                    <a:pt x="89" y="944"/>
                  </a:cubicBezTo>
                  <a:cubicBezTo>
                    <a:pt x="87" y="948"/>
                    <a:pt x="93" y="951"/>
                    <a:pt x="95" y="947"/>
                  </a:cubicBezTo>
                  <a:cubicBezTo>
                    <a:pt x="192" y="748"/>
                    <a:pt x="191" y="747"/>
                    <a:pt x="189" y="747"/>
                  </a:cubicBezTo>
                  <a:cubicBezTo>
                    <a:pt x="189" y="747"/>
                    <a:pt x="189" y="746"/>
                    <a:pt x="189" y="746"/>
                  </a:cubicBezTo>
                  <a:cubicBezTo>
                    <a:pt x="188" y="748"/>
                    <a:pt x="188" y="749"/>
                    <a:pt x="187" y="751"/>
                  </a:cubicBezTo>
                  <a:cubicBezTo>
                    <a:pt x="189" y="751"/>
                    <a:pt x="191" y="751"/>
                    <a:pt x="192" y="751"/>
                  </a:cubicBezTo>
                  <a:cubicBezTo>
                    <a:pt x="192" y="753"/>
                    <a:pt x="193" y="755"/>
                    <a:pt x="193" y="757"/>
                  </a:cubicBezTo>
                  <a:cubicBezTo>
                    <a:pt x="193" y="754"/>
                    <a:pt x="194" y="751"/>
                    <a:pt x="195" y="748"/>
                  </a:cubicBezTo>
                  <a:cubicBezTo>
                    <a:pt x="169" y="737"/>
                    <a:pt x="169" y="739"/>
                    <a:pt x="168" y="741"/>
                  </a:cubicBezTo>
                  <a:cubicBezTo>
                    <a:pt x="175" y="741"/>
                    <a:pt x="175" y="741"/>
                    <a:pt x="175" y="741"/>
                  </a:cubicBezTo>
                  <a:cubicBezTo>
                    <a:pt x="176" y="740"/>
                    <a:pt x="176" y="738"/>
                    <a:pt x="176" y="736"/>
                  </a:cubicBezTo>
                  <a:cubicBezTo>
                    <a:pt x="177" y="732"/>
                    <a:pt x="170" y="731"/>
                    <a:pt x="170" y="735"/>
                  </a:cubicBezTo>
                  <a:cubicBezTo>
                    <a:pt x="1065" y="1034"/>
                    <a:pt x="1065" y="1034"/>
                    <a:pt x="1065" y="1034"/>
                  </a:cubicBezTo>
                  <a:cubicBezTo>
                    <a:pt x="1065" y="1034"/>
                    <a:pt x="1065" y="1034"/>
                    <a:pt x="1066" y="1034"/>
                  </a:cubicBezTo>
                  <a:cubicBezTo>
                    <a:pt x="783" y="349"/>
                    <a:pt x="785" y="350"/>
                    <a:pt x="787" y="350"/>
                  </a:cubicBezTo>
                  <a:cubicBezTo>
                    <a:pt x="787" y="350"/>
                    <a:pt x="787" y="349"/>
                    <a:pt x="788" y="349"/>
                  </a:cubicBezTo>
                  <a:cubicBezTo>
                    <a:pt x="784" y="350"/>
                    <a:pt x="785" y="349"/>
                    <a:pt x="781" y="349"/>
                  </a:cubicBezTo>
                  <a:cubicBezTo>
                    <a:pt x="950" y="792"/>
                    <a:pt x="991" y="792"/>
                    <a:pt x="1033" y="788"/>
                  </a:cubicBezTo>
                  <a:cubicBezTo>
                    <a:pt x="1021" y="788"/>
                    <a:pt x="1021" y="788"/>
                    <a:pt x="1021" y="788"/>
                  </a:cubicBezTo>
                  <a:cubicBezTo>
                    <a:pt x="1020" y="787"/>
                    <a:pt x="1019" y="787"/>
                    <a:pt x="1018" y="786"/>
                  </a:cubicBezTo>
                  <a:cubicBezTo>
                    <a:pt x="1019" y="787"/>
                    <a:pt x="1018" y="788"/>
                    <a:pt x="1018" y="788"/>
                  </a:cubicBezTo>
                  <a:cubicBezTo>
                    <a:pt x="1012" y="788"/>
                    <a:pt x="1012" y="788"/>
                    <a:pt x="1012" y="788"/>
                  </a:cubicBezTo>
                  <a:cubicBezTo>
                    <a:pt x="1011" y="785"/>
                    <a:pt x="1013" y="784"/>
                    <a:pt x="1015" y="783"/>
                  </a:cubicBezTo>
                  <a:cubicBezTo>
                    <a:pt x="1007" y="784"/>
                    <a:pt x="999" y="784"/>
                    <a:pt x="991" y="784"/>
                  </a:cubicBezTo>
                  <a:cubicBezTo>
                    <a:pt x="991" y="785"/>
                    <a:pt x="991" y="785"/>
                    <a:pt x="990" y="785"/>
                  </a:cubicBezTo>
                  <a:cubicBezTo>
                    <a:pt x="990" y="785"/>
                    <a:pt x="990" y="785"/>
                    <a:pt x="990" y="784"/>
                  </a:cubicBezTo>
                  <a:cubicBezTo>
                    <a:pt x="972" y="785"/>
                    <a:pt x="955" y="785"/>
                    <a:pt x="937" y="784"/>
                  </a:cubicBezTo>
                  <a:cubicBezTo>
                    <a:pt x="938" y="785"/>
                    <a:pt x="938" y="785"/>
                    <a:pt x="939" y="786"/>
                  </a:cubicBezTo>
                  <a:cubicBezTo>
                    <a:pt x="939" y="787"/>
                    <a:pt x="939" y="788"/>
                    <a:pt x="939" y="789"/>
                  </a:cubicBezTo>
                  <a:cubicBezTo>
                    <a:pt x="926" y="789"/>
                    <a:pt x="926" y="789"/>
                    <a:pt x="926" y="789"/>
                  </a:cubicBezTo>
                  <a:cubicBezTo>
                    <a:pt x="926" y="785"/>
                    <a:pt x="926" y="785"/>
                    <a:pt x="926" y="785"/>
                  </a:cubicBezTo>
                  <a:cubicBezTo>
                    <a:pt x="927" y="784"/>
                    <a:pt x="927" y="784"/>
                    <a:pt x="927" y="784"/>
                  </a:cubicBezTo>
                  <a:cubicBezTo>
                    <a:pt x="926" y="784"/>
                    <a:pt x="924" y="784"/>
                    <a:pt x="923" y="783"/>
                  </a:cubicBezTo>
                  <a:cubicBezTo>
                    <a:pt x="923" y="784"/>
                    <a:pt x="923" y="784"/>
                    <a:pt x="923" y="784"/>
                  </a:cubicBezTo>
                  <a:cubicBezTo>
                    <a:pt x="920" y="784"/>
                    <a:pt x="919" y="785"/>
                    <a:pt x="917" y="783"/>
                  </a:cubicBezTo>
                  <a:cubicBezTo>
                    <a:pt x="917" y="783"/>
                    <a:pt x="917" y="783"/>
                    <a:pt x="917" y="783"/>
                  </a:cubicBezTo>
                  <a:cubicBezTo>
                    <a:pt x="915" y="783"/>
                    <a:pt x="912" y="783"/>
                    <a:pt x="909" y="783"/>
                  </a:cubicBezTo>
                  <a:cubicBezTo>
                    <a:pt x="912" y="784"/>
                    <a:pt x="916" y="785"/>
                    <a:pt x="918" y="788"/>
                  </a:cubicBezTo>
                  <a:cubicBezTo>
                    <a:pt x="919" y="786"/>
                    <a:pt x="923" y="784"/>
                    <a:pt x="924" y="785"/>
                  </a:cubicBezTo>
                  <a:cubicBezTo>
                    <a:pt x="924" y="787"/>
                    <a:pt x="923" y="788"/>
                    <a:pt x="923" y="789"/>
                  </a:cubicBezTo>
                  <a:cubicBezTo>
                    <a:pt x="1005" y="786"/>
                    <a:pt x="1005" y="785"/>
                    <a:pt x="1009" y="786"/>
                  </a:cubicBezTo>
                  <a:cubicBezTo>
                    <a:pt x="1009" y="786"/>
                    <a:pt x="1009" y="787"/>
                    <a:pt x="1010" y="788"/>
                  </a:cubicBezTo>
                  <a:cubicBezTo>
                    <a:pt x="1002" y="788"/>
                    <a:pt x="1002" y="788"/>
                    <a:pt x="1002" y="788"/>
                  </a:cubicBezTo>
                  <a:cubicBezTo>
                    <a:pt x="1002" y="788"/>
                    <a:pt x="1002" y="787"/>
                    <a:pt x="1002" y="786"/>
                  </a:cubicBezTo>
                  <a:cubicBezTo>
                    <a:pt x="954" y="786"/>
                    <a:pt x="956" y="787"/>
                    <a:pt x="958" y="787"/>
                  </a:cubicBezTo>
                  <a:cubicBezTo>
                    <a:pt x="958" y="788"/>
                    <a:pt x="958" y="788"/>
                    <a:pt x="958" y="788"/>
                  </a:cubicBezTo>
                  <a:cubicBezTo>
                    <a:pt x="950" y="789"/>
                    <a:pt x="950" y="789"/>
                    <a:pt x="950" y="789"/>
                  </a:cubicBezTo>
                  <a:cubicBezTo>
                    <a:pt x="951" y="788"/>
                    <a:pt x="951" y="787"/>
                    <a:pt x="951" y="787"/>
                  </a:cubicBezTo>
                  <a:cubicBezTo>
                    <a:pt x="274" y="365"/>
                    <a:pt x="274" y="365"/>
                    <a:pt x="274" y="365"/>
                  </a:cubicBezTo>
                  <a:cubicBezTo>
                    <a:pt x="274" y="365"/>
                    <a:pt x="274" y="365"/>
                    <a:pt x="273" y="365"/>
                  </a:cubicBezTo>
                  <a:cubicBezTo>
                    <a:pt x="274" y="365"/>
                    <a:pt x="274" y="365"/>
                    <a:pt x="274" y="365"/>
                  </a:cubicBezTo>
                  <a:cubicBezTo>
                    <a:pt x="173" y="401"/>
                    <a:pt x="172" y="397"/>
                    <a:pt x="173" y="395"/>
                  </a:cubicBezTo>
                  <a:cubicBezTo>
                    <a:pt x="173" y="396"/>
                    <a:pt x="172" y="396"/>
                    <a:pt x="171" y="397"/>
                  </a:cubicBezTo>
                  <a:cubicBezTo>
                    <a:pt x="172" y="397"/>
                    <a:pt x="172" y="397"/>
                    <a:pt x="172" y="397"/>
                  </a:cubicBezTo>
                  <a:cubicBezTo>
                    <a:pt x="173" y="399"/>
                    <a:pt x="170" y="403"/>
                    <a:pt x="174" y="402"/>
                  </a:cubicBezTo>
                  <a:cubicBezTo>
                    <a:pt x="259" y="373"/>
                    <a:pt x="248" y="379"/>
                    <a:pt x="237" y="386"/>
                  </a:cubicBezTo>
                  <a:cubicBezTo>
                    <a:pt x="240" y="386"/>
                    <a:pt x="243" y="387"/>
                    <a:pt x="247" y="387"/>
                  </a:cubicBezTo>
                  <a:cubicBezTo>
                    <a:pt x="260" y="380"/>
                    <a:pt x="272" y="373"/>
                    <a:pt x="285" y="366"/>
                  </a:cubicBezTo>
                  <a:cubicBezTo>
                    <a:pt x="271" y="367"/>
                    <a:pt x="271" y="367"/>
                    <a:pt x="271" y="367"/>
                  </a:cubicBezTo>
                  <a:cubicBezTo>
                    <a:pt x="271" y="367"/>
                    <a:pt x="271" y="367"/>
                    <a:pt x="271" y="367"/>
                  </a:cubicBezTo>
                  <a:cubicBezTo>
                    <a:pt x="782" y="325"/>
                    <a:pt x="783" y="325"/>
                    <a:pt x="783" y="325"/>
                  </a:cubicBezTo>
                  <a:cubicBezTo>
                    <a:pt x="783" y="324"/>
                    <a:pt x="783" y="323"/>
                    <a:pt x="783" y="322"/>
                  </a:cubicBezTo>
                  <a:cubicBezTo>
                    <a:pt x="782" y="322"/>
                    <a:pt x="782" y="324"/>
                    <a:pt x="781" y="325"/>
                  </a:cubicBezTo>
                  <a:cubicBezTo>
                    <a:pt x="1040" y="786"/>
                    <a:pt x="1040" y="787"/>
                    <a:pt x="1039" y="787"/>
                  </a:cubicBezTo>
                  <a:cubicBezTo>
                    <a:pt x="1040" y="787"/>
                    <a:pt x="1040" y="787"/>
                    <a:pt x="1041" y="787"/>
                  </a:cubicBezTo>
                  <a:cubicBezTo>
                    <a:pt x="1041" y="787"/>
                    <a:pt x="1041" y="786"/>
                    <a:pt x="1041" y="786"/>
                  </a:cubicBezTo>
                  <a:cubicBezTo>
                    <a:pt x="1029" y="784"/>
                    <a:pt x="1030" y="786"/>
                    <a:pt x="1031" y="787"/>
                  </a:cubicBezTo>
                  <a:cubicBezTo>
                    <a:pt x="1031" y="786"/>
                    <a:pt x="1031" y="785"/>
                    <a:pt x="1031" y="785"/>
                  </a:cubicBezTo>
                  <a:cubicBezTo>
                    <a:pt x="1033" y="784"/>
                    <a:pt x="1034" y="784"/>
                    <a:pt x="1035" y="785"/>
                  </a:cubicBezTo>
                  <a:cubicBezTo>
                    <a:pt x="1037" y="781"/>
                    <a:pt x="1044" y="783"/>
                    <a:pt x="1045" y="786"/>
                  </a:cubicBezTo>
                  <a:cubicBezTo>
                    <a:pt x="1054" y="785"/>
                    <a:pt x="1063" y="784"/>
                    <a:pt x="1072" y="782"/>
                  </a:cubicBezTo>
                  <a:cubicBezTo>
                    <a:pt x="1073" y="781"/>
                    <a:pt x="1073" y="780"/>
                    <a:pt x="1074" y="779"/>
                  </a:cubicBezTo>
                  <a:cubicBezTo>
                    <a:pt x="1073" y="778"/>
                    <a:pt x="1072" y="777"/>
                    <a:pt x="1072" y="777"/>
                  </a:cubicBezTo>
                  <a:cubicBezTo>
                    <a:pt x="1071" y="777"/>
                    <a:pt x="1071" y="778"/>
                    <a:pt x="1072" y="780"/>
                  </a:cubicBezTo>
                  <a:cubicBezTo>
                    <a:pt x="1069" y="780"/>
                    <a:pt x="1068" y="781"/>
                    <a:pt x="1066" y="781"/>
                  </a:cubicBezTo>
                  <a:cubicBezTo>
                    <a:pt x="1065" y="780"/>
                    <a:pt x="1065" y="778"/>
                    <a:pt x="1065" y="776"/>
                  </a:cubicBezTo>
                  <a:cubicBezTo>
                    <a:pt x="1064" y="777"/>
                    <a:pt x="1063" y="777"/>
                    <a:pt x="1062" y="777"/>
                  </a:cubicBezTo>
                  <a:cubicBezTo>
                    <a:pt x="1062" y="777"/>
                    <a:pt x="1062" y="777"/>
                    <a:pt x="1063" y="777"/>
                  </a:cubicBezTo>
                  <a:cubicBezTo>
                    <a:pt x="1063" y="780"/>
                    <a:pt x="1061" y="782"/>
                    <a:pt x="1058" y="782"/>
                  </a:cubicBezTo>
                  <a:cubicBezTo>
                    <a:pt x="1058" y="780"/>
                    <a:pt x="1056" y="780"/>
                    <a:pt x="1057" y="778"/>
                  </a:cubicBezTo>
                  <a:cubicBezTo>
                    <a:pt x="1054" y="784"/>
                    <a:pt x="1047" y="781"/>
                    <a:pt x="1041" y="782"/>
                  </a:cubicBezTo>
                  <a:cubicBezTo>
                    <a:pt x="1041" y="781"/>
                    <a:pt x="1041" y="781"/>
                    <a:pt x="1041" y="780"/>
                  </a:cubicBezTo>
                  <a:cubicBezTo>
                    <a:pt x="1037" y="781"/>
                    <a:pt x="1033" y="781"/>
                    <a:pt x="1029" y="782"/>
                  </a:cubicBezTo>
                  <a:cubicBezTo>
                    <a:pt x="640" y="1212"/>
                    <a:pt x="637" y="1214"/>
                    <a:pt x="635" y="1216"/>
                  </a:cubicBezTo>
                  <a:cubicBezTo>
                    <a:pt x="640" y="1217"/>
                    <a:pt x="646" y="1217"/>
                    <a:pt x="651" y="1218"/>
                  </a:cubicBezTo>
                  <a:cubicBezTo>
                    <a:pt x="652" y="1218"/>
                    <a:pt x="652" y="1218"/>
                    <a:pt x="653" y="1218"/>
                  </a:cubicBezTo>
                  <a:cubicBezTo>
                    <a:pt x="652" y="1216"/>
                    <a:pt x="651" y="1214"/>
                    <a:pt x="652" y="1210"/>
                  </a:cubicBezTo>
                  <a:cubicBezTo>
                    <a:pt x="649" y="1210"/>
                    <a:pt x="645" y="1210"/>
                    <a:pt x="642" y="1210"/>
                  </a:cubicBezTo>
                  <a:cubicBezTo>
                    <a:pt x="12" y="447"/>
                    <a:pt x="15" y="444"/>
                    <a:pt x="18" y="440"/>
                  </a:cubicBezTo>
                  <a:cubicBezTo>
                    <a:pt x="9" y="440"/>
                    <a:pt x="9" y="440"/>
                    <a:pt x="9" y="440"/>
                  </a:cubicBezTo>
                  <a:cubicBezTo>
                    <a:pt x="7" y="442"/>
                    <a:pt x="6" y="444"/>
                    <a:pt x="4" y="446"/>
                  </a:cubicBezTo>
                  <a:cubicBezTo>
                    <a:pt x="1" y="450"/>
                    <a:pt x="7" y="454"/>
                    <a:pt x="9" y="450"/>
                  </a:cubicBezTo>
                  <a:cubicBezTo>
                    <a:pt x="94" y="706"/>
                    <a:pt x="94" y="706"/>
                    <a:pt x="94" y="706"/>
                  </a:cubicBezTo>
                  <a:cubicBezTo>
                    <a:pt x="95" y="707"/>
                    <a:pt x="96" y="708"/>
                    <a:pt x="96" y="708"/>
                  </a:cubicBezTo>
                  <a:cubicBezTo>
                    <a:pt x="99" y="702"/>
                    <a:pt x="101" y="695"/>
                    <a:pt x="104" y="689"/>
                  </a:cubicBezTo>
                  <a:cubicBezTo>
                    <a:pt x="101" y="689"/>
                    <a:pt x="101" y="689"/>
                    <a:pt x="101" y="689"/>
                  </a:cubicBezTo>
                  <a:cubicBezTo>
                    <a:pt x="101" y="689"/>
                    <a:pt x="101" y="688"/>
                    <a:pt x="101" y="688"/>
                  </a:cubicBezTo>
                  <a:cubicBezTo>
                    <a:pt x="100" y="687"/>
                    <a:pt x="99" y="686"/>
                    <a:pt x="98" y="686"/>
                  </a:cubicBezTo>
                  <a:cubicBezTo>
                    <a:pt x="95" y="693"/>
                    <a:pt x="92" y="700"/>
                    <a:pt x="89" y="707"/>
                  </a:cubicBezTo>
                  <a:cubicBezTo>
                    <a:pt x="90" y="708"/>
                    <a:pt x="90" y="709"/>
                    <a:pt x="90" y="709"/>
                  </a:cubicBezTo>
                  <a:cubicBezTo>
                    <a:pt x="91" y="708"/>
                    <a:pt x="90" y="707"/>
                    <a:pt x="91" y="706"/>
                  </a:cubicBezTo>
                  <a:cubicBezTo>
                    <a:pt x="359" y="670"/>
                    <a:pt x="360" y="671"/>
                    <a:pt x="360" y="672"/>
                  </a:cubicBezTo>
                  <a:cubicBezTo>
                    <a:pt x="375" y="648"/>
                    <a:pt x="394" y="627"/>
                    <a:pt x="414" y="609"/>
                  </a:cubicBezTo>
                  <a:cubicBezTo>
                    <a:pt x="415" y="609"/>
                    <a:pt x="415" y="609"/>
                    <a:pt x="415" y="609"/>
                  </a:cubicBezTo>
                  <a:cubicBezTo>
                    <a:pt x="415" y="609"/>
                    <a:pt x="415" y="609"/>
                    <a:pt x="415" y="609"/>
                  </a:cubicBezTo>
                  <a:cubicBezTo>
                    <a:pt x="429" y="597"/>
                    <a:pt x="443" y="587"/>
                    <a:pt x="459" y="579"/>
                  </a:cubicBezTo>
                  <a:cubicBezTo>
                    <a:pt x="445" y="579"/>
                    <a:pt x="445" y="579"/>
                    <a:pt x="445" y="579"/>
                  </a:cubicBezTo>
                  <a:cubicBezTo>
                    <a:pt x="445" y="579"/>
                    <a:pt x="445" y="579"/>
                    <a:pt x="445" y="579"/>
                  </a:cubicBezTo>
                  <a:cubicBezTo>
                    <a:pt x="434" y="585"/>
                    <a:pt x="425" y="592"/>
                    <a:pt x="416" y="599"/>
                  </a:cubicBezTo>
                  <a:cubicBezTo>
                    <a:pt x="416" y="600"/>
                    <a:pt x="416" y="601"/>
                    <a:pt x="416" y="602"/>
                  </a:cubicBezTo>
                  <a:cubicBezTo>
                    <a:pt x="414" y="602"/>
                    <a:pt x="414" y="602"/>
                    <a:pt x="413" y="601"/>
                  </a:cubicBezTo>
                  <a:cubicBezTo>
                    <a:pt x="412" y="603"/>
                    <a:pt x="410" y="604"/>
                    <a:pt x="409" y="605"/>
                  </a:cubicBezTo>
                  <a:cubicBezTo>
                    <a:pt x="409" y="606"/>
                    <a:pt x="409" y="607"/>
                    <a:pt x="409" y="608"/>
                  </a:cubicBezTo>
                  <a:cubicBezTo>
                    <a:pt x="408" y="608"/>
                    <a:pt x="407" y="607"/>
                    <a:pt x="406" y="607"/>
                  </a:cubicBezTo>
                  <a:cubicBezTo>
                    <a:pt x="397" y="616"/>
                    <a:pt x="388" y="625"/>
                    <a:pt x="380" y="635"/>
                  </a:cubicBezTo>
                  <a:cubicBezTo>
                    <a:pt x="381" y="635"/>
                    <a:pt x="381" y="635"/>
                    <a:pt x="382" y="635"/>
                  </a:cubicBezTo>
                  <a:cubicBezTo>
                    <a:pt x="384" y="639"/>
                    <a:pt x="379" y="640"/>
                    <a:pt x="376" y="639"/>
                  </a:cubicBezTo>
                  <a:cubicBezTo>
                    <a:pt x="374" y="642"/>
                    <a:pt x="371" y="645"/>
                    <a:pt x="369" y="649"/>
                  </a:cubicBezTo>
                  <a:cubicBezTo>
                    <a:pt x="369" y="649"/>
                    <a:pt x="370" y="650"/>
                    <a:pt x="370" y="651"/>
                  </a:cubicBezTo>
                  <a:cubicBezTo>
                    <a:pt x="367" y="651"/>
                    <a:pt x="367" y="651"/>
                    <a:pt x="367" y="651"/>
                  </a:cubicBezTo>
                  <a:cubicBezTo>
                    <a:pt x="363" y="657"/>
                    <a:pt x="359" y="662"/>
                    <a:pt x="355" y="668"/>
                  </a:cubicBezTo>
                  <a:cubicBezTo>
                    <a:pt x="274" y="687"/>
                    <a:pt x="274" y="688"/>
                    <a:pt x="272" y="687"/>
                  </a:cubicBezTo>
                  <a:cubicBezTo>
                    <a:pt x="269" y="693"/>
                    <a:pt x="266" y="699"/>
                    <a:pt x="264" y="705"/>
                  </a:cubicBezTo>
                  <a:cubicBezTo>
                    <a:pt x="272" y="705"/>
                    <a:pt x="272" y="705"/>
                    <a:pt x="272" y="705"/>
                  </a:cubicBezTo>
                  <a:cubicBezTo>
                    <a:pt x="275" y="699"/>
                    <a:pt x="277" y="693"/>
                    <a:pt x="280" y="687"/>
                  </a:cubicBezTo>
                  <a:cubicBezTo>
                    <a:pt x="278" y="687"/>
                    <a:pt x="278" y="687"/>
                    <a:pt x="278" y="687"/>
                  </a:cubicBezTo>
                  <a:cubicBezTo>
                    <a:pt x="277" y="687"/>
                    <a:pt x="276" y="686"/>
                    <a:pt x="274" y="686"/>
                  </a:cubicBezTo>
                  <a:cubicBezTo>
                    <a:pt x="20" y="431"/>
                    <a:pt x="21" y="433"/>
                    <a:pt x="21" y="436"/>
                  </a:cubicBezTo>
                  <a:cubicBezTo>
                    <a:pt x="22" y="436"/>
                    <a:pt x="23" y="435"/>
                    <a:pt x="23" y="434"/>
                  </a:cubicBezTo>
                  <a:cubicBezTo>
                    <a:pt x="22" y="432"/>
                    <a:pt x="21" y="430"/>
                    <a:pt x="25" y="429"/>
                  </a:cubicBezTo>
                  <a:cubicBezTo>
                    <a:pt x="25" y="429"/>
                    <a:pt x="24" y="428"/>
                    <a:pt x="24" y="427"/>
                  </a:cubicBezTo>
                  <a:cubicBezTo>
                    <a:pt x="20" y="425"/>
                    <a:pt x="22" y="429"/>
                    <a:pt x="19" y="429"/>
                  </a:cubicBezTo>
                  <a:cubicBezTo>
                    <a:pt x="57" y="438"/>
                    <a:pt x="58" y="437"/>
                    <a:pt x="59" y="436"/>
                  </a:cubicBezTo>
                  <a:cubicBezTo>
                    <a:pt x="58" y="434"/>
                    <a:pt x="56" y="432"/>
                    <a:pt x="53" y="432"/>
                  </a:cubicBezTo>
                  <a:cubicBezTo>
                    <a:pt x="53" y="432"/>
                    <a:pt x="52" y="433"/>
                    <a:pt x="52" y="433"/>
                  </a:cubicBezTo>
                  <a:cubicBezTo>
                    <a:pt x="53" y="433"/>
                    <a:pt x="53" y="434"/>
                    <a:pt x="54" y="434"/>
                  </a:cubicBezTo>
                  <a:cubicBezTo>
                    <a:pt x="52" y="438"/>
                    <a:pt x="54" y="438"/>
                    <a:pt x="56" y="440"/>
                  </a:cubicBezTo>
                  <a:cubicBezTo>
                    <a:pt x="47" y="439"/>
                    <a:pt x="47" y="440"/>
                    <a:pt x="47" y="440"/>
                  </a:cubicBezTo>
                  <a:cubicBezTo>
                    <a:pt x="46" y="440"/>
                    <a:pt x="46" y="440"/>
                    <a:pt x="46" y="440"/>
                  </a:cubicBezTo>
                  <a:cubicBezTo>
                    <a:pt x="41" y="446"/>
                    <a:pt x="36" y="451"/>
                    <a:pt x="31" y="457"/>
                  </a:cubicBezTo>
                  <a:cubicBezTo>
                    <a:pt x="40" y="457"/>
                    <a:pt x="40" y="457"/>
                    <a:pt x="40" y="457"/>
                  </a:cubicBezTo>
                  <a:cubicBezTo>
                    <a:pt x="45" y="451"/>
                    <a:pt x="50" y="446"/>
                    <a:pt x="56" y="440"/>
                  </a:cubicBezTo>
                  <a:cubicBezTo>
                    <a:pt x="51" y="440"/>
                    <a:pt x="51" y="440"/>
                    <a:pt x="51" y="440"/>
                  </a:cubicBezTo>
                  <a:cubicBezTo>
                    <a:pt x="50" y="439"/>
                    <a:pt x="49" y="439"/>
                    <a:pt x="47" y="439"/>
                  </a:cubicBezTo>
                  <a:cubicBezTo>
                    <a:pt x="1002" y="924"/>
                    <a:pt x="1002" y="923"/>
                    <a:pt x="1003" y="923"/>
                  </a:cubicBezTo>
                  <a:cubicBezTo>
                    <a:pt x="1003" y="922"/>
                    <a:pt x="1003" y="920"/>
                    <a:pt x="1003" y="919"/>
                  </a:cubicBezTo>
                  <a:cubicBezTo>
                    <a:pt x="1001" y="920"/>
                    <a:pt x="998" y="921"/>
                    <a:pt x="996" y="922"/>
                  </a:cubicBezTo>
                  <a:cubicBezTo>
                    <a:pt x="996" y="922"/>
                    <a:pt x="997" y="922"/>
                    <a:pt x="997" y="922"/>
                  </a:cubicBezTo>
                  <a:cubicBezTo>
                    <a:pt x="997" y="923"/>
                    <a:pt x="997" y="923"/>
                    <a:pt x="997" y="924"/>
                  </a:cubicBezTo>
                  <a:cubicBezTo>
                    <a:pt x="998" y="924"/>
                    <a:pt x="1000" y="924"/>
                    <a:pt x="1001" y="924"/>
                  </a:cubicBezTo>
                  <a:cubicBezTo>
                    <a:pt x="1048" y="1061"/>
                    <a:pt x="1049" y="1062"/>
                    <a:pt x="1049" y="1062"/>
                  </a:cubicBezTo>
                  <a:cubicBezTo>
                    <a:pt x="1049" y="1062"/>
                    <a:pt x="1049" y="1061"/>
                    <a:pt x="1048" y="1061"/>
                  </a:cubicBezTo>
                  <a:cubicBezTo>
                    <a:pt x="1048" y="1061"/>
                    <a:pt x="1048" y="1061"/>
                    <a:pt x="1048" y="1061"/>
                  </a:cubicBezTo>
                  <a:cubicBezTo>
                    <a:pt x="1064" y="1054"/>
                    <a:pt x="1064" y="1054"/>
                    <a:pt x="1064" y="1054"/>
                  </a:cubicBezTo>
                  <a:cubicBezTo>
                    <a:pt x="1072" y="1049"/>
                    <a:pt x="1080" y="1043"/>
                    <a:pt x="1088" y="1037"/>
                  </a:cubicBezTo>
                  <a:cubicBezTo>
                    <a:pt x="1088" y="1034"/>
                    <a:pt x="1088" y="1034"/>
                    <a:pt x="1088" y="1034"/>
                  </a:cubicBezTo>
                  <a:cubicBezTo>
                    <a:pt x="1087" y="1033"/>
                    <a:pt x="1086" y="1033"/>
                    <a:pt x="1086" y="1032"/>
                  </a:cubicBezTo>
                  <a:cubicBezTo>
                    <a:pt x="1086" y="1032"/>
                    <a:pt x="1085" y="1032"/>
                    <a:pt x="1085" y="1032"/>
                  </a:cubicBezTo>
                  <a:cubicBezTo>
                    <a:pt x="1085" y="1032"/>
                    <a:pt x="1085" y="1032"/>
                    <a:pt x="1085" y="1032"/>
                  </a:cubicBezTo>
                  <a:cubicBezTo>
                    <a:pt x="1085" y="1031"/>
                    <a:pt x="1085" y="1031"/>
                    <a:pt x="1085" y="1031"/>
                  </a:cubicBezTo>
                  <a:cubicBezTo>
                    <a:pt x="1082" y="1033"/>
                    <a:pt x="1080" y="1035"/>
                    <a:pt x="1077" y="1037"/>
                  </a:cubicBezTo>
                  <a:cubicBezTo>
                    <a:pt x="1077" y="1037"/>
                    <a:pt x="1077" y="1037"/>
                    <a:pt x="1077" y="1037"/>
                  </a:cubicBezTo>
                  <a:cubicBezTo>
                    <a:pt x="1077" y="1037"/>
                    <a:pt x="1077" y="1037"/>
                    <a:pt x="1077" y="1037"/>
                  </a:cubicBezTo>
                  <a:cubicBezTo>
                    <a:pt x="1069" y="1043"/>
                    <a:pt x="1061" y="1049"/>
                    <a:pt x="1053" y="1055"/>
                  </a:cubicBezTo>
                  <a:cubicBezTo>
                    <a:pt x="863" y="781"/>
                    <a:pt x="864" y="780"/>
                    <a:pt x="864" y="779"/>
                  </a:cubicBezTo>
                  <a:cubicBezTo>
                    <a:pt x="858" y="778"/>
                    <a:pt x="852" y="777"/>
                    <a:pt x="845" y="777"/>
                  </a:cubicBezTo>
                  <a:cubicBezTo>
                    <a:pt x="845" y="777"/>
                    <a:pt x="845" y="777"/>
                    <a:pt x="845" y="777"/>
                  </a:cubicBezTo>
                  <a:cubicBezTo>
                    <a:pt x="849" y="779"/>
                    <a:pt x="853" y="782"/>
                    <a:pt x="856" y="784"/>
                  </a:cubicBezTo>
                  <a:cubicBezTo>
                    <a:pt x="858" y="785"/>
                    <a:pt x="859" y="785"/>
                    <a:pt x="861" y="785"/>
                  </a:cubicBezTo>
                  <a:cubicBezTo>
                    <a:pt x="861" y="785"/>
                    <a:pt x="861" y="784"/>
                    <a:pt x="861" y="784"/>
                  </a:cubicBezTo>
                  <a:cubicBezTo>
                    <a:pt x="861" y="784"/>
                    <a:pt x="861" y="784"/>
                    <a:pt x="860" y="784"/>
                  </a:cubicBezTo>
                  <a:cubicBezTo>
                    <a:pt x="858" y="783"/>
                    <a:pt x="859" y="781"/>
                    <a:pt x="861" y="780"/>
                  </a:cubicBezTo>
                  <a:cubicBezTo>
                    <a:pt x="861" y="781"/>
                    <a:pt x="862" y="781"/>
                    <a:pt x="863" y="781"/>
                  </a:cubicBezTo>
                  <a:cubicBezTo>
                    <a:pt x="1100" y="914"/>
                    <a:pt x="1068" y="931"/>
                    <a:pt x="1036" y="948"/>
                  </a:cubicBezTo>
                  <a:cubicBezTo>
                    <a:pt x="1039" y="948"/>
                    <a:pt x="1039" y="948"/>
                    <a:pt x="1039" y="948"/>
                  </a:cubicBezTo>
                  <a:cubicBezTo>
                    <a:pt x="1038" y="949"/>
                    <a:pt x="1036" y="949"/>
                    <a:pt x="1034" y="949"/>
                  </a:cubicBezTo>
                  <a:cubicBezTo>
                    <a:pt x="1033" y="950"/>
                    <a:pt x="1032" y="951"/>
                    <a:pt x="1030" y="951"/>
                  </a:cubicBezTo>
                  <a:cubicBezTo>
                    <a:pt x="1029" y="952"/>
                    <a:pt x="1027" y="952"/>
                    <a:pt x="1026" y="953"/>
                  </a:cubicBezTo>
                  <a:cubicBezTo>
                    <a:pt x="1026" y="954"/>
                    <a:pt x="1026" y="955"/>
                    <a:pt x="1026" y="956"/>
                  </a:cubicBezTo>
                  <a:cubicBezTo>
                    <a:pt x="1025" y="956"/>
                    <a:pt x="1024" y="956"/>
                    <a:pt x="1022" y="956"/>
                  </a:cubicBezTo>
                  <a:cubicBezTo>
                    <a:pt x="1023" y="957"/>
                    <a:pt x="1023" y="958"/>
                    <a:pt x="1023" y="959"/>
                  </a:cubicBezTo>
                  <a:cubicBezTo>
                    <a:pt x="1024" y="959"/>
                    <a:pt x="1024" y="958"/>
                    <a:pt x="1024" y="958"/>
                  </a:cubicBezTo>
                  <a:cubicBezTo>
                    <a:pt x="1026" y="958"/>
                    <a:pt x="1027" y="959"/>
                    <a:pt x="1028" y="960"/>
                  </a:cubicBezTo>
                  <a:cubicBezTo>
                    <a:pt x="1035" y="956"/>
                    <a:pt x="1042" y="952"/>
                    <a:pt x="1049" y="949"/>
                  </a:cubicBezTo>
                  <a:cubicBezTo>
                    <a:pt x="1048" y="948"/>
                    <a:pt x="1047" y="948"/>
                    <a:pt x="1045" y="949"/>
                  </a:cubicBezTo>
                  <a:cubicBezTo>
                    <a:pt x="1045" y="948"/>
                    <a:pt x="1045" y="948"/>
                    <a:pt x="1045" y="948"/>
                  </a:cubicBezTo>
                  <a:cubicBezTo>
                    <a:pt x="1051" y="948"/>
                    <a:pt x="1051" y="948"/>
                    <a:pt x="1051" y="948"/>
                  </a:cubicBezTo>
                  <a:cubicBezTo>
                    <a:pt x="1066" y="940"/>
                    <a:pt x="1081" y="932"/>
                    <a:pt x="1096" y="924"/>
                  </a:cubicBezTo>
                  <a:cubicBezTo>
                    <a:pt x="1096" y="923"/>
                    <a:pt x="1097" y="923"/>
                    <a:pt x="1098" y="922"/>
                  </a:cubicBezTo>
                  <a:cubicBezTo>
                    <a:pt x="1099" y="922"/>
                    <a:pt x="1100" y="922"/>
                    <a:pt x="1101" y="922"/>
                  </a:cubicBezTo>
                  <a:cubicBezTo>
                    <a:pt x="1113" y="917"/>
                    <a:pt x="1124" y="912"/>
                    <a:pt x="1136" y="907"/>
                  </a:cubicBezTo>
                  <a:cubicBezTo>
                    <a:pt x="1140" y="905"/>
                    <a:pt x="1138" y="899"/>
                    <a:pt x="1134" y="901"/>
                  </a:cubicBezTo>
                  <a:cubicBezTo>
                    <a:pt x="1048" y="1058"/>
                    <a:pt x="1048" y="1058"/>
                    <a:pt x="1048" y="1059"/>
                  </a:cubicBezTo>
                  <a:cubicBezTo>
                    <a:pt x="1048" y="1059"/>
                    <a:pt x="1048" y="1059"/>
                    <a:pt x="1048" y="1059"/>
                  </a:cubicBezTo>
                  <a:cubicBezTo>
                    <a:pt x="1048" y="1059"/>
                    <a:pt x="1048" y="1059"/>
                    <a:pt x="1048" y="1058"/>
                  </a:cubicBezTo>
                  <a:cubicBezTo>
                    <a:pt x="1052" y="1057"/>
                    <a:pt x="1052" y="1058"/>
                    <a:pt x="1053" y="1059"/>
                  </a:cubicBezTo>
                  <a:cubicBezTo>
                    <a:pt x="1053" y="1058"/>
                    <a:pt x="1054" y="1057"/>
                    <a:pt x="1054" y="1056"/>
                  </a:cubicBezTo>
                  <a:cubicBezTo>
                    <a:pt x="1053" y="1056"/>
                    <a:pt x="1053" y="1056"/>
                    <a:pt x="1052" y="1055"/>
                  </a:cubicBezTo>
                  <a:cubicBezTo>
                    <a:pt x="1052" y="1056"/>
                    <a:pt x="1052" y="1056"/>
                    <a:pt x="1052" y="1057"/>
                  </a:cubicBezTo>
                  <a:cubicBezTo>
                    <a:pt x="1123" y="883"/>
                    <a:pt x="1116" y="886"/>
                    <a:pt x="1109" y="890"/>
                  </a:cubicBezTo>
                  <a:cubicBezTo>
                    <a:pt x="1109" y="891"/>
                    <a:pt x="1110" y="893"/>
                    <a:pt x="1111" y="894"/>
                  </a:cubicBezTo>
                  <a:cubicBezTo>
                    <a:pt x="1099" y="894"/>
                    <a:pt x="1099" y="894"/>
                    <a:pt x="1099" y="894"/>
                  </a:cubicBezTo>
                  <a:cubicBezTo>
                    <a:pt x="1083" y="902"/>
                    <a:pt x="1066" y="911"/>
                    <a:pt x="1050" y="919"/>
                  </a:cubicBezTo>
                  <a:cubicBezTo>
                    <a:pt x="1052" y="921"/>
                    <a:pt x="1053" y="923"/>
                    <a:pt x="1053" y="925"/>
                  </a:cubicBezTo>
                  <a:cubicBezTo>
                    <a:pt x="1080" y="912"/>
                    <a:pt x="1106" y="898"/>
                    <a:pt x="1132" y="886"/>
                  </a:cubicBezTo>
                  <a:cubicBezTo>
                    <a:pt x="1136" y="885"/>
                    <a:pt x="1133" y="878"/>
                    <a:pt x="1129" y="880"/>
                  </a:cubicBezTo>
                  <a:cubicBezTo>
                    <a:pt x="1069" y="912"/>
                    <a:pt x="1069" y="912"/>
                    <a:pt x="1069" y="912"/>
                  </a:cubicBezTo>
                  <a:cubicBezTo>
                    <a:pt x="1070" y="912"/>
                    <a:pt x="1070" y="912"/>
                    <a:pt x="1070" y="912"/>
                  </a:cubicBezTo>
                  <a:cubicBezTo>
                    <a:pt x="1070" y="912"/>
                    <a:pt x="1070" y="912"/>
                    <a:pt x="1069" y="912"/>
                  </a:cubicBezTo>
                  <a:cubicBezTo>
                    <a:pt x="1026" y="1063"/>
                    <a:pt x="1026" y="1062"/>
                    <a:pt x="1027" y="1062"/>
                  </a:cubicBezTo>
                  <a:cubicBezTo>
                    <a:pt x="1027" y="1062"/>
                    <a:pt x="1027" y="1062"/>
                    <a:pt x="1027" y="1062"/>
                  </a:cubicBezTo>
                  <a:cubicBezTo>
                    <a:pt x="1026" y="1062"/>
                    <a:pt x="1026" y="1063"/>
                    <a:pt x="1025" y="1063"/>
                  </a:cubicBezTo>
                  <a:cubicBezTo>
                    <a:pt x="1097" y="1023"/>
                    <a:pt x="1100" y="1024"/>
                    <a:pt x="1101" y="1026"/>
                  </a:cubicBezTo>
                  <a:cubicBezTo>
                    <a:pt x="1112" y="1017"/>
                    <a:pt x="1123" y="1008"/>
                    <a:pt x="1133" y="998"/>
                  </a:cubicBezTo>
                  <a:cubicBezTo>
                    <a:pt x="1132" y="996"/>
                    <a:pt x="1131" y="994"/>
                    <a:pt x="1131" y="991"/>
                  </a:cubicBezTo>
                  <a:cubicBezTo>
                    <a:pt x="1119" y="1001"/>
                    <a:pt x="1108" y="1012"/>
                    <a:pt x="1096" y="1021"/>
                  </a:cubicBezTo>
                  <a:cubicBezTo>
                    <a:pt x="805" y="775"/>
                    <a:pt x="807" y="777"/>
                    <a:pt x="807" y="779"/>
                  </a:cubicBezTo>
                  <a:cubicBezTo>
                    <a:pt x="809" y="779"/>
                    <a:pt x="810" y="780"/>
                    <a:pt x="812" y="780"/>
                  </a:cubicBezTo>
                  <a:cubicBezTo>
                    <a:pt x="811" y="779"/>
                    <a:pt x="811" y="779"/>
                    <a:pt x="811" y="778"/>
                  </a:cubicBezTo>
                  <a:cubicBezTo>
                    <a:pt x="810" y="778"/>
                    <a:pt x="809" y="777"/>
                    <a:pt x="809" y="775"/>
                  </a:cubicBezTo>
                  <a:cubicBezTo>
                    <a:pt x="808" y="775"/>
                    <a:pt x="807" y="775"/>
                    <a:pt x="806" y="775"/>
                  </a:cubicBezTo>
                  <a:cubicBezTo>
                    <a:pt x="806" y="774"/>
                    <a:pt x="806" y="773"/>
                    <a:pt x="806" y="773"/>
                  </a:cubicBezTo>
                  <a:cubicBezTo>
                    <a:pt x="806" y="773"/>
                    <a:pt x="805" y="773"/>
                    <a:pt x="804" y="773"/>
                  </a:cubicBezTo>
                  <a:cubicBezTo>
                    <a:pt x="906" y="931"/>
                    <a:pt x="905" y="930"/>
                    <a:pt x="905" y="930"/>
                  </a:cubicBezTo>
                  <a:cubicBezTo>
                    <a:pt x="904" y="930"/>
                    <a:pt x="902" y="931"/>
                    <a:pt x="901" y="931"/>
                  </a:cubicBezTo>
                  <a:cubicBezTo>
                    <a:pt x="902" y="931"/>
                    <a:pt x="904" y="931"/>
                    <a:pt x="905" y="932"/>
                  </a:cubicBezTo>
                  <a:cubicBezTo>
                    <a:pt x="898" y="932"/>
                    <a:pt x="898" y="932"/>
                    <a:pt x="898" y="932"/>
                  </a:cubicBezTo>
                  <a:cubicBezTo>
                    <a:pt x="843" y="944"/>
                    <a:pt x="787" y="949"/>
                    <a:pt x="732" y="937"/>
                  </a:cubicBezTo>
                  <a:cubicBezTo>
                    <a:pt x="726" y="936"/>
                    <a:pt x="719" y="934"/>
                    <a:pt x="713" y="932"/>
                  </a:cubicBezTo>
                  <a:cubicBezTo>
                    <a:pt x="713" y="933"/>
                    <a:pt x="713" y="933"/>
                    <a:pt x="713" y="933"/>
                  </a:cubicBezTo>
                  <a:cubicBezTo>
                    <a:pt x="699" y="933"/>
                    <a:pt x="699" y="933"/>
                    <a:pt x="699" y="933"/>
                  </a:cubicBezTo>
                  <a:cubicBezTo>
                    <a:pt x="701" y="932"/>
                    <a:pt x="702" y="930"/>
                    <a:pt x="704" y="929"/>
                  </a:cubicBezTo>
                  <a:cubicBezTo>
                    <a:pt x="702" y="928"/>
                    <a:pt x="700" y="928"/>
                    <a:pt x="698" y="927"/>
                  </a:cubicBezTo>
                  <a:cubicBezTo>
                    <a:pt x="698" y="927"/>
                    <a:pt x="697" y="927"/>
                    <a:pt x="697" y="926"/>
                  </a:cubicBezTo>
                  <a:cubicBezTo>
                    <a:pt x="697" y="926"/>
                    <a:pt x="697" y="927"/>
                    <a:pt x="697" y="927"/>
                  </a:cubicBezTo>
                  <a:cubicBezTo>
                    <a:pt x="698" y="927"/>
                    <a:pt x="699" y="928"/>
                    <a:pt x="698" y="929"/>
                  </a:cubicBezTo>
                  <a:cubicBezTo>
                    <a:pt x="697" y="929"/>
                    <a:pt x="696" y="929"/>
                    <a:pt x="695" y="929"/>
                  </a:cubicBezTo>
                  <a:cubicBezTo>
                    <a:pt x="694" y="930"/>
                    <a:pt x="693" y="931"/>
                    <a:pt x="692" y="932"/>
                  </a:cubicBezTo>
                  <a:cubicBezTo>
                    <a:pt x="722" y="945"/>
                    <a:pt x="755" y="950"/>
                    <a:pt x="788" y="951"/>
                  </a:cubicBezTo>
                  <a:cubicBezTo>
                    <a:pt x="788" y="951"/>
                    <a:pt x="788" y="950"/>
                    <a:pt x="788" y="950"/>
                  </a:cubicBezTo>
                  <a:cubicBezTo>
                    <a:pt x="819" y="950"/>
                    <a:pt x="819" y="950"/>
                    <a:pt x="819" y="950"/>
                  </a:cubicBezTo>
                  <a:cubicBezTo>
                    <a:pt x="819" y="950"/>
                    <a:pt x="820" y="950"/>
                    <a:pt x="820" y="950"/>
                  </a:cubicBezTo>
                  <a:cubicBezTo>
                    <a:pt x="820" y="950"/>
                    <a:pt x="821" y="950"/>
                    <a:pt x="821" y="950"/>
                  </a:cubicBezTo>
                  <a:cubicBezTo>
                    <a:pt x="821" y="950"/>
                    <a:pt x="821" y="950"/>
                    <a:pt x="821" y="950"/>
                  </a:cubicBezTo>
                  <a:cubicBezTo>
                    <a:pt x="828" y="950"/>
                    <a:pt x="828" y="950"/>
                    <a:pt x="828" y="950"/>
                  </a:cubicBezTo>
                  <a:cubicBezTo>
                    <a:pt x="861" y="947"/>
                    <a:pt x="894" y="940"/>
                    <a:pt x="926" y="931"/>
                  </a:cubicBezTo>
                  <a:cubicBezTo>
                    <a:pt x="832" y="777"/>
                    <a:pt x="833" y="780"/>
                    <a:pt x="831" y="782"/>
                  </a:cubicBezTo>
                  <a:cubicBezTo>
                    <a:pt x="835" y="782"/>
                    <a:pt x="839" y="783"/>
                    <a:pt x="843" y="783"/>
                  </a:cubicBezTo>
                  <a:cubicBezTo>
                    <a:pt x="841" y="782"/>
                    <a:pt x="838" y="781"/>
                    <a:pt x="835" y="780"/>
                  </a:cubicBezTo>
                  <a:cubicBezTo>
                    <a:pt x="834" y="778"/>
                    <a:pt x="834" y="776"/>
                    <a:pt x="834" y="775"/>
                  </a:cubicBezTo>
                  <a:cubicBezTo>
                    <a:pt x="833" y="775"/>
                    <a:pt x="832" y="775"/>
                    <a:pt x="831" y="775"/>
                  </a:cubicBezTo>
                  <a:cubicBezTo>
                    <a:pt x="350" y="794"/>
                    <a:pt x="350" y="794"/>
                    <a:pt x="350" y="794"/>
                  </a:cubicBezTo>
                  <a:cubicBezTo>
                    <a:pt x="350" y="794"/>
                    <a:pt x="350" y="794"/>
                    <a:pt x="350" y="793"/>
                  </a:cubicBezTo>
                  <a:cubicBezTo>
                    <a:pt x="350" y="793"/>
                    <a:pt x="350" y="793"/>
                    <a:pt x="350" y="793"/>
                  </a:cubicBezTo>
                  <a:cubicBezTo>
                    <a:pt x="350" y="793"/>
                    <a:pt x="349" y="793"/>
                    <a:pt x="349" y="793"/>
                  </a:cubicBezTo>
                  <a:cubicBezTo>
                    <a:pt x="348" y="799"/>
                    <a:pt x="347" y="805"/>
                    <a:pt x="346" y="811"/>
                  </a:cubicBezTo>
                  <a:cubicBezTo>
                    <a:pt x="352" y="811"/>
                    <a:pt x="352" y="811"/>
                    <a:pt x="352" y="811"/>
                  </a:cubicBezTo>
                  <a:cubicBezTo>
                    <a:pt x="351" y="813"/>
                    <a:pt x="351" y="816"/>
                    <a:pt x="349" y="817"/>
                  </a:cubicBezTo>
                  <a:cubicBezTo>
                    <a:pt x="350" y="817"/>
                    <a:pt x="351" y="817"/>
                    <a:pt x="352" y="817"/>
                  </a:cubicBezTo>
                  <a:cubicBezTo>
                    <a:pt x="353" y="809"/>
                    <a:pt x="354" y="801"/>
                    <a:pt x="356" y="794"/>
                  </a:cubicBezTo>
                  <a:cubicBezTo>
                    <a:pt x="1110" y="867"/>
                    <a:pt x="1098" y="874"/>
                    <a:pt x="1086" y="880"/>
                  </a:cubicBezTo>
                  <a:cubicBezTo>
                    <a:pt x="1086" y="882"/>
                    <a:pt x="1089" y="885"/>
                    <a:pt x="1087" y="887"/>
                  </a:cubicBezTo>
                  <a:cubicBezTo>
                    <a:pt x="1091" y="884"/>
                    <a:pt x="1095" y="882"/>
                    <a:pt x="1100" y="880"/>
                  </a:cubicBezTo>
                  <a:cubicBezTo>
                    <a:pt x="1099" y="879"/>
                    <a:pt x="1099" y="877"/>
                    <a:pt x="1100" y="876"/>
                  </a:cubicBezTo>
                  <a:cubicBezTo>
                    <a:pt x="1104" y="876"/>
                    <a:pt x="1104" y="876"/>
                    <a:pt x="1104" y="876"/>
                  </a:cubicBezTo>
                  <a:cubicBezTo>
                    <a:pt x="1103" y="877"/>
                    <a:pt x="1103" y="877"/>
                    <a:pt x="1103" y="878"/>
                  </a:cubicBezTo>
                  <a:cubicBezTo>
                    <a:pt x="1104" y="878"/>
                    <a:pt x="1105" y="877"/>
                    <a:pt x="1107" y="876"/>
                  </a:cubicBezTo>
                  <a:cubicBezTo>
                    <a:pt x="1107" y="876"/>
                    <a:pt x="1107" y="876"/>
                    <a:pt x="1107" y="876"/>
                  </a:cubicBezTo>
                  <a:cubicBezTo>
                    <a:pt x="1107" y="876"/>
                    <a:pt x="1107" y="876"/>
                    <a:pt x="1107" y="876"/>
                  </a:cubicBezTo>
                  <a:cubicBezTo>
                    <a:pt x="1113" y="873"/>
                    <a:pt x="1119" y="870"/>
                    <a:pt x="1125" y="866"/>
                  </a:cubicBezTo>
                  <a:cubicBezTo>
                    <a:pt x="1129" y="864"/>
                    <a:pt x="1125" y="859"/>
                    <a:pt x="1121" y="861"/>
                  </a:cubicBezTo>
                  <a:cubicBezTo>
                    <a:pt x="926" y="949"/>
                    <a:pt x="926" y="949"/>
                    <a:pt x="926" y="949"/>
                  </a:cubicBezTo>
                  <a:cubicBezTo>
                    <a:pt x="925" y="950"/>
                    <a:pt x="925" y="952"/>
                    <a:pt x="924" y="953"/>
                  </a:cubicBezTo>
                  <a:cubicBezTo>
                    <a:pt x="924" y="953"/>
                    <a:pt x="924" y="953"/>
                    <a:pt x="924" y="953"/>
                  </a:cubicBezTo>
                  <a:cubicBezTo>
                    <a:pt x="925" y="953"/>
                    <a:pt x="926" y="952"/>
                    <a:pt x="927" y="952"/>
                  </a:cubicBezTo>
                  <a:cubicBezTo>
                    <a:pt x="928" y="951"/>
                    <a:pt x="928" y="951"/>
                    <a:pt x="929" y="951"/>
                  </a:cubicBezTo>
                  <a:cubicBezTo>
                    <a:pt x="927" y="951"/>
                    <a:pt x="927" y="950"/>
                    <a:pt x="927" y="949"/>
                  </a:cubicBezTo>
                  <a:cubicBezTo>
                    <a:pt x="937" y="949"/>
                    <a:pt x="937" y="949"/>
                    <a:pt x="937" y="949"/>
                  </a:cubicBezTo>
                  <a:cubicBezTo>
                    <a:pt x="937" y="949"/>
                    <a:pt x="938" y="949"/>
                    <a:pt x="938" y="949"/>
                  </a:cubicBezTo>
                  <a:cubicBezTo>
                    <a:pt x="957" y="943"/>
                    <a:pt x="976" y="936"/>
                    <a:pt x="995" y="929"/>
                  </a:cubicBezTo>
                  <a:cubicBezTo>
                    <a:pt x="995" y="929"/>
                    <a:pt x="995" y="928"/>
                    <a:pt x="995" y="928"/>
                  </a:cubicBezTo>
                  <a:cubicBezTo>
                    <a:pt x="992" y="929"/>
                    <a:pt x="990" y="927"/>
                    <a:pt x="990" y="924"/>
                  </a:cubicBezTo>
                  <a:cubicBezTo>
                    <a:pt x="989" y="924"/>
                    <a:pt x="989" y="925"/>
                    <a:pt x="989" y="925"/>
                  </a:cubicBezTo>
                  <a:cubicBezTo>
                    <a:pt x="989" y="926"/>
                    <a:pt x="989" y="927"/>
                    <a:pt x="988" y="927"/>
                  </a:cubicBezTo>
                  <a:cubicBezTo>
                    <a:pt x="987" y="927"/>
                    <a:pt x="986" y="927"/>
                    <a:pt x="985" y="926"/>
                  </a:cubicBezTo>
                  <a:cubicBezTo>
                    <a:pt x="983" y="927"/>
                    <a:pt x="981" y="928"/>
                    <a:pt x="979" y="929"/>
                  </a:cubicBezTo>
                  <a:cubicBezTo>
                    <a:pt x="979" y="929"/>
                    <a:pt x="980" y="930"/>
                    <a:pt x="981" y="931"/>
                  </a:cubicBezTo>
                  <a:cubicBezTo>
                    <a:pt x="973" y="931"/>
                    <a:pt x="973" y="931"/>
                    <a:pt x="973" y="931"/>
                  </a:cubicBezTo>
                  <a:cubicBezTo>
                    <a:pt x="955" y="938"/>
                    <a:pt x="936" y="944"/>
                    <a:pt x="918" y="949"/>
                  </a:cubicBezTo>
                  <a:cubicBezTo>
                    <a:pt x="927" y="931"/>
                    <a:pt x="928" y="931"/>
                    <a:pt x="929" y="931"/>
                  </a:cubicBezTo>
                  <a:cubicBezTo>
                    <a:pt x="928" y="930"/>
                    <a:pt x="927" y="929"/>
                    <a:pt x="926" y="928"/>
                  </a:cubicBezTo>
                  <a:cubicBezTo>
                    <a:pt x="926" y="929"/>
                    <a:pt x="926" y="930"/>
                    <a:pt x="926" y="931"/>
                  </a:cubicBezTo>
                  <a:cubicBezTo>
                    <a:pt x="352" y="1207"/>
                    <a:pt x="350" y="1207"/>
                    <a:pt x="348" y="1207"/>
                  </a:cubicBezTo>
                  <a:cubicBezTo>
                    <a:pt x="344" y="1225"/>
                    <a:pt x="330" y="1240"/>
                    <a:pt x="317" y="1252"/>
                  </a:cubicBezTo>
                  <a:cubicBezTo>
                    <a:pt x="309" y="1260"/>
                    <a:pt x="300" y="1268"/>
                    <a:pt x="290" y="1275"/>
                  </a:cubicBezTo>
                  <a:cubicBezTo>
                    <a:pt x="301" y="1275"/>
                    <a:pt x="301" y="1275"/>
                    <a:pt x="301" y="1275"/>
                  </a:cubicBezTo>
                  <a:cubicBezTo>
                    <a:pt x="308" y="1269"/>
                    <a:pt x="315" y="1264"/>
                    <a:pt x="321" y="1258"/>
                  </a:cubicBezTo>
                  <a:cubicBezTo>
                    <a:pt x="316" y="1258"/>
                    <a:pt x="316" y="1258"/>
                    <a:pt x="316" y="1258"/>
                  </a:cubicBezTo>
                  <a:cubicBezTo>
                    <a:pt x="323" y="1254"/>
                    <a:pt x="328" y="1249"/>
                    <a:pt x="334" y="1245"/>
                  </a:cubicBezTo>
                  <a:cubicBezTo>
                    <a:pt x="340" y="1238"/>
                    <a:pt x="345" y="1230"/>
                    <a:pt x="349" y="1222"/>
                  </a:cubicBezTo>
                  <a:cubicBezTo>
                    <a:pt x="346" y="1222"/>
                    <a:pt x="346" y="1222"/>
                    <a:pt x="346" y="1222"/>
                  </a:cubicBezTo>
                  <a:cubicBezTo>
                    <a:pt x="346" y="1221"/>
                    <a:pt x="346" y="1221"/>
                    <a:pt x="347" y="1220"/>
                  </a:cubicBezTo>
                  <a:cubicBezTo>
                    <a:pt x="348" y="1220"/>
                    <a:pt x="349" y="1221"/>
                    <a:pt x="350" y="1221"/>
                  </a:cubicBezTo>
                  <a:cubicBezTo>
                    <a:pt x="350" y="1220"/>
                    <a:pt x="350" y="1220"/>
                    <a:pt x="350" y="1219"/>
                  </a:cubicBezTo>
                  <a:cubicBezTo>
                    <a:pt x="349" y="1219"/>
                    <a:pt x="349" y="1219"/>
                    <a:pt x="348" y="1219"/>
                  </a:cubicBezTo>
                  <a:cubicBezTo>
                    <a:pt x="348" y="1217"/>
                    <a:pt x="349" y="1216"/>
                    <a:pt x="351" y="1216"/>
                  </a:cubicBezTo>
                  <a:cubicBezTo>
                    <a:pt x="351" y="1216"/>
                    <a:pt x="351" y="1216"/>
                    <a:pt x="351" y="1217"/>
                  </a:cubicBezTo>
                  <a:cubicBezTo>
                    <a:pt x="353" y="1213"/>
                    <a:pt x="354" y="1210"/>
                    <a:pt x="354" y="1206"/>
                  </a:cubicBezTo>
                  <a:cubicBezTo>
                    <a:pt x="363" y="109"/>
                    <a:pt x="363" y="107"/>
                    <a:pt x="363" y="106"/>
                  </a:cubicBezTo>
                  <a:cubicBezTo>
                    <a:pt x="361" y="106"/>
                    <a:pt x="360" y="108"/>
                    <a:pt x="360" y="110"/>
                  </a:cubicBezTo>
                  <a:cubicBezTo>
                    <a:pt x="360" y="110"/>
                    <a:pt x="361" y="110"/>
                    <a:pt x="362" y="110"/>
                  </a:cubicBezTo>
                  <a:cubicBezTo>
                    <a:pt x="84" y="201"/>
                    <a:pt x="101" y="194"/>
                    <a:pt x="119" y="188"/>
                  </a:cubicBezTo>
                  <a:cubicBezTo>
                    <a:pt x="121" y="186"/>
                    <a:pt x="123" y="183"/>
                    <a:pt x="124" y="180"/>
                  </a:cubicBezTo>
                  <a:cubicBezTo>
                    <a:pt x="126" y="180"/>
                    <a:pt x="129" y="180"/>
                    <a:pt x="131" y="180"/>
                  </a:cubicBezTo>
                  <a:cubicBezTo>
                    <a:pt x="131" y="181"/>
                    <a:pt x="131" y="182"/>
                    <a:pt x="131" y="183"/>
                  </a:cubicBezTo>
                  <a:cubicBezTo>
                    <a:pt x="137" y="182"/>
                    <a:pt x="143" y="180"/>
                    <a:pt x="149" y="178"/>
                  </a:cubicBezTo>
                  <a:cubicBezTo>
                    <a:pt x="149" y="177"/>
                    <a:pt x="148" y="177"/>
                    <a:pt x="148" y="177"/>
                  </a:cubicBezTo>
                  <a:cubicBezTo>
                    <a:pt x="149" y="176"/>
                    <a:pt x="152" y="176"/>
                    <a:pt x="153" y="176"/>
                  </a:cubicBezTo>
                  <a:cubicBezTo>
                    <a:pt x="190" y="165"/>
                    <a:pt x="227" y="156"/>
                    <a:pt x="264" y="149"/>
                  </a:cubicBezTo>
                  <a:cubicBezTo>
                    <a:pt x="266" y="149"/>
                    <a:pt x="267" y="148"/>
                    <a:pt x="269" y="148"/>
                  </a:cubicBezTo>
                  <a:cubicBezTo>
                    <a:pt x="269" y="148"/>
                    <a:pt x="269" y="148"/>
                    <a:pt x="269" y="147"/>
                  </a:cubicBezTo>
                  <a:cubicBezTo>
                    <a:pt x="270" y="147"/>
                    <a:pt x="271" y="147"/>
                    <a:pt x="271" y="147"/>
                  </a:cubicBezTo>
                  <a:cubicBezTo>
                    <a:pt x="279" y="146"/>
                    <a:pt x="287" y="144"/>
                    <a:pt x="295" y="143"/>
                  </a:cubicBezTo>
                  <a:cubicBezTo>
                    <a:pt x="283" y="143"/>
                    <a:pt x="270" y="143"/>
                    <a:pt x="256" y="144"/>
                  </a:cubicBezTo>
                  <a:cubicBezTo>
                    <a:pt x="210" y="153"/>
                    <a:pt x="164" y="165"/>
                    <a:pt x="119" y="180"/>
                  </a:cubicBezTo>
                  <a:cubicBezTo>
                    <a:pt x="119" y="181"/>
                    <a:pt x="119" y="183"/>
                    <a:pt x="118" y="184"/>
                  </a:cubicBezTo>
                  <a:cubicBezTo>
                    <a:pt x="115" y="183"/>
                    <a:pt x="113" y="183"/>
                    <a:pt x="111" y="184"/>
                  </a:cubicBezTo>
                  <a:cubicBezTo>
                    <a:pt x="109" y="184"/>
                    <a:pt x="108" y="184"/>
                    <a:pt x="107" y="185"/>
                  </a:cubicBezTo>
                  <a:cubicBezTo>
                    <a:pt x="106" y="187"/>
                    <a:pt x="105" y="187"/>
                    <a:pt x="106" y="190"/>
                  </a:cubicBezTo>
                  <a:cubicBezTo>
                    <a:pt x="101" y="190"/>
                    <a:pt x="101" y="190"/>
                    <a:pt x="101" y="190"/>
                  </a:cubicBezTo>
                  <a:cubicBezTo>
                    <a:pt x="100" y="189"/>
                    <a:pt x="100" y="189"/>
                    <a:pt x="99" y="188"/>
                  </a:cubicBezTo>
                  <a:cubicBezTo>
                    <a:pt x="87" y="192"/>
                    <a:pt x="76" y="197"/>
                    <a:pt x="65" y="202"/>
                  </a:cubicBezTo>
                  <a:cubicBezTo>
                    <a:pt x="65" y="202"/>
                    <a:pt x="65" y="202"/>
                    <a:pt x="65" y="202"/>
                  </a:cubicBezTo>
                  <a:cubicBezTo>
                    <a:pt x="61" y="204"/>
                    <a:pt x="63" y="210"/>
                    <a:pt x="67" y="208"/>
                  </a:cubicBezTo>
                  <a:cubicBezTo>
                    <a:pt x="66" y="208"/>
                    <a:pt x="66" y="208"/>
                    <a:pt x="65" y="208"/>
                  </a:cubicBezTo>
                  <a:cubicBezTo>
                    <a:pt x="65" y="208"/>
                    <a:pt x="65" y="207"/>
                    <a:pt x="65" y="207"/>
                  </a:cubicBezTo>
                  <a:cubicBezTo>
                    <a:pt x="771" y="1351"/>
                    <a:pt x="770" y="1352"/>
                    <a:pt x="769" y="1352"/>
                  </a:cubicBezTo>
                  <a:cubicBezTo>
                    <a:pt x="769" y="1352"/>
                    <a:pt x="769" y="1352"/>
                    <a:pt x="770" y="1352"/>
                  </a:cubicBezTo>
                  <a:cubicBezTo>
                    <a:pt x="771" y="1352"/>
                    <a:pt x="772" y="1352"/>
                    <a:pt x="773" y="1351"/>
                  </a:cubicBezTo>
                  <a:cubicBezTo>
                    <a:pt x="684" y="1352"/>
                    <a:pt x="683" y="1352"/>
                    <a:pt x="687" y="1353"/>
                  </a:cubicBezTo>
                  <a:cubicBezTo>
                    <a:pt x="688" y="1350"/>
                    <a:pt x="692" y="1350"/>
                    <a:pt x="696" y="1351"/>
                  </a:cubicBezTo>
                  <a:cubicBezTo>
                    <a:pt x="698" y="1350"/>
                    <a:pt x="698" y="1345"/>
                    <a:pt x="702" y="1347"/>
                  </a:cubicBezTo>
                  <a:cubicBezTo>
                    <a:pt x="702" y="1346"/>
                    <a:pt x="701" y="1345"/>
                    <a:pt x="701" y="1345"/>
                  </a:cubicBezTo>
                  <a:cubicBezTo>
                    <a:pt x="694" y="1346"/>
                    <a:pt x="688" y="1347"/>
                    <a:pt x="681" y="1349"/>
                  </a:cubicBezTo>
                  <a:cubicBezTo>
                    <a:pt x="681" y="1350"/>
                    <a:pt x="681" y="1351"/>
                    <a:pt x="680" y="1352"/>
                  </a:cubicBezTo>
                  <a:cubicBezTo>
                    <a:pt x="141" y="144"/>
                    <a:pt x="138" y="144"/>
                    <a:pt x="136" y="144"/>
                  </a:cubicBezTo>
                  <a:cubicBezTo>
                    <a:pt x="137" y="144"/>
                    <a:pt x="137" y="145"/>
                    <a:pt x="137" y="146"/>
                  </a:cubicBezTo>
                  <a:cubicBezTo>
                    <a:pt x="139" y="145"/>
                    <a:pt x="141" y="145"/>
                    <a:pt x="143" y="144"/>
                  </a:cubicBezTo>
                  <a:cubicBezTo>
                    <a:pt x="450" y="104"/>
                    <a:pt x="452" y="104"/>
                    <a:pt x="453" y="104"/>
                  </a:cubicBezTo>
                  <a:cubicBezTo>
                    <a:pt x="453" y="104"/>
                    <a:pt x="453" y="103"/>
                    <a:pt x="453" y="103"/>
                  </a:cubicBezTo>
                  <a:cubicBezTo>
                    <a:pt x="451" y="103"/>
                    <a:pt x="450" y="103"/>
                    <a:pt x="449" y="104"/>
                  </a:cubicBezTo>
                  <a:cubicBezTo>
                    <a:pt x="769" y="1214"/>
                    <a:pt x="771" y="1214"/>
                    <a:pt x="773" y="1213"/>
                  </a:cubicBezTo>
                  <a:cubicBezTo>
                    <a:pt x="773" y="1213"/>
                    <a:pt x="773" y="1213"/>
                    <a:pt x="774" y="1213"/>
                  </a:cubicBezTo>
                  <a:cubicBezTo>
                    <a:pt x="774" y="1213"/>
                    <a:pt x="775" y="1213"/>
                    <a:pt x="775" y="1213"/>
                  </a:cubicBezTo>
                  <a:cubicBezTo>
                    <a:pt x="776" y="1213"/>
                    <a:pt x="777" y="1213"/>
                    <a:pt x="778" y="1213"/>
                  </a:cubicBezTo>
                  <a:cubicBezTo>
                    <a:pt x="778" y="1213"/>
                    <a:pt x="779" y="1213"/>
                    <a:pt x="779" y="1213"/>
                  </a:cubicBezTo>
                  <a:cubicBezTo>
                    <a:pt x="779" y="1213"/>
                    <a:pt x="780" y="1213"/>
                    <a:pt x="780" y="1212"/>
                  </a:cubicBezTo>
                  <a:cubicBezTo>
                    <a:pt x="782" y="1212"/>
                    <a:pt x="785" y="1212"/>
                    <a:pt x="788" y="1213"/>
                  </a:cubicBezTo>
                  <a:cubicBezTo>
                    <a:pt x="789" y="1213"/>
                    <a:pt x="790" y="1213"/>
                    <a:pt x="791" y="1213"/>
                  </a:cubicBezTo>
                  <a:cubicBezTo>
                    <a:pt x="791" y="1207"/>
                    <a:pt x="796" y="1209"/>
                    <a:pt x="797" y="1205"/>
                  </a:cubicBezTo>
                  <a:cubicBezTo>
                    <a:pt x="795" y="1206"/>
                    <a:pt x="793" y="1206"/>
                    <a:pt x="791" y="1206"/>
                  </a:cubicBezTo>
                  <a:cubicBezTo>
                    <a:pt x="791" y="1206"/>
                    <a:pt x="790" y="1207"/>
                    <a:pt x="790" y="1208"/>
                  </a:cubicBezTo>
                  <a:cubicBezTo>
                    <a:pt x="784" y="1205"/>
                    <a:pt x="784" y="1212"/>
                    <a:pt x="776" y="1210"/>
                  </a:cubicBezTo>
                  <a:cubicBezTo>
                    <a:pt x="775" y="1209"/>
                    <a:pt x="773" y="1208"/>
                    <a:pt x="772" y="1207"/>
                  </a:cubicBezTo>
                  <a:cubicBezTo>
                    <a:pt x="767" y="1207"/>
                    <a:pt x="761" y="1207"/>
                    <a:pt x="756" y="1207"/>
                  </a:cubicBezTo>
                  <a:cubicBezTo>
                    <a:pt x="756" y="1208"/>
                    <a:pt x="757" y="1209"/>
                    <a:pt x="758" y="1210"/>
                  </a:cubicBezTo>
                  <a:cubicBezTo>
                    <a:pt x="760" y="1209"/>
                    <a:pt x="762" y="1208"/>
                    <a:pt x="766" y="1209"/>
                  </a:cubicBezTo>
                  <a:cubicBezTo>
                    <a:pt x="765" y="1211"/>
                    <a:pt x="766" y="1212"/>
                    <a:pt x="767" y="1214"/>
                  </a:cubicBezTo>
                  <a:cubicBezTo>
                    <a:pt x="609" y="107"/>
                    <a:pt x="606" y="108"/>
                    <a:pt x="606" y="111"/>
                  </a:cubicBezTo>
                  <a:cubicBezTo>
                    <a:pt x="615" y="112"/>
                    <a:pt x="617" y="107"/>
                    <a:pt x="623" y="107"/>
                  </a:cubicBezTo>
                  <a:cubicBezTo>
                    <a:pt x="622" y="106"/>
                    <a:pt x="620" y="106"/>
                    <a:pt x="618" y="106"/>
                  </a:cubicBezTo>
                  <a:cubicBezTo>
                    <a:pt x="618" y="106"/>
                    <a:pt x="618" y="107"/>
                    <a:pt x="618" y="107"/>
                  </a:cubicBezTo>
                  <a:cubicBezTo>
                    <a:pt x="616" y="107"/>
                    <a:pt x="613" y="107"/>
                    <a:pt x="611" y="107"/>
                  </a:cubicBezTo>
                  <a:cubicBezTo>
                    <a:pt x="610" y="106"/>
                    <a:pt x="610" y="106"/>
                    <a:pt x="611" y="105"/>
                  </a:cubicBezTo>
                  <a:cubicBezTo>
                    <a:pt x="610" y="105"/>
                    <a:pt x="610" y="105"/>
                    <a:pt x="610" y="105"/>
                  </a:cubicBezTo>
                  <a:cubicBezTo>
                    <a:pt x="810" y="1348"/>
                    <a:pt x="812" y="1347"/>
                    <a:pt x="815" y="1346"/>
                  </a:cubicBezTo>
                  <a:cubicBezTo>
                    <a:pt x="814" y="1346"/>
                    <a:pt x="812" y="1345"/>
                    <a:pt x="810" y="1345"/>
                  </a:cubicBezTo>
                  <a:cubicBezTo>
                    <a:pt x="809" y="1346"/>
                    <a:pt x="808" y="1347"/>
                    <a:pt x="807" y="1348"/>
                  </a:cubicBezTo>
                  <a:cubicBezTo>
                    <a:pt x="1011" y="1319"/>
                    <a:pt x="1011" y="1319"/>
                    <a:pt x="1011" y="1319"/>
                  </a:cubicBezTo>
                  <a:cubicBezTo>
                    <a:pt x="982" y="1326"/>
                    <a:pt x="954" y="1334"/>
                    <a:pt x="926" y="1343"/>
                  </a:cubicBezTo>
                  <a:cubicBezTo>
                    <a:pt x="926" y="1345"/>
                    <a:pt x="925" y="1346"/>
                    <a:pt x="923" y="1347"/>
                  </a:cubicBezTo>
                  <a:cubicBezTo>
                    <a:pt x="925" y="1348"/>
                    <a:pt x="927" y="1349"/>
                    <a:pt x="928" y="1350"/>
                  </a:cubicBezTo>
                  <a:cubicBezTo>
                    <a:pt x="931" y="1349"/>
                    <a:pt x="934" y="1348"/>
                    <a:pt x="936" y="1347"/>
                  </a:cubicBezTo>
                  <a:cubicBezTo>
                    <a:pt x="936" y="1345"/>
                    <a:pt x="938" y="1343"/>
                    <a:pt x="939" y="1341"/>
                  </a:cubicBezTo>
                  <a:cubicBezTo>
                    <a:pt x="943" y="1341"/>
                    <a:pt x="943" y="1341"/>
                    <a:pt x="943" y="1341"/>
                  </a:cubicBezTo>
                  <a:cubicBezTo>
                    <a:pt x="945" y="1342"/>
                    <a:pt x="946" y="1342"/>
                    <a:pt x="947" y="1344"/>
                  </a:cubicBezTo>
                  <a:cubicBezTo>
                    <a:pt x="950" y="1343"/>
                    <a:pt x="952" y="1342"/>
                    <a:pt x="955" y="1341"/>
                  </a:cubicBezTo>
                  <a:cubicBezTo>
                    <a:pt x="955" y="1341"/>
                    <a:pt x="955" y="1341"/>
                    <a:pt x="955" y="1341"/>
                  </a:cubicBezTo>
                  <a:cubicBezTo>
                    <a:pt x="956" y="1341"/>
                    <a:pt x="956" y="1341"/>
                    <a:pt x="956" y="1341"/>
                  </a:cubicBezTo>
                  <a:cubicBezTo>
                    <a:pt x="978" y="1334"/>
                    <a:pt x="1001" y="1328"/>
                    <a:pt x="1023" y="1323"/>
                  </a:cubicBezTo>
                  <a:cubicBezTo>
                    <a:pt x="1009" y="1323"/>
                    <a:pt x="1009" y="1323"/>
                    <a:pt x="1009" y="1323"/>
                  </a:cubicBezTo>
                  <a:cubicBezTo>
                    <a:pt x="1010" y="1322"/>
                    <a:pt x="1011" y="1320"/>
                    <a:pt x="1011" y="1319"/>
                  </a:cubicBezTo>
                  <a:cubicBezTo>
                    <a:pt x="952" y="1380"/>
                    <a:pt x="946" y="1382"/>
                    <a:pt x="940" y="1383"/>
                  </a:cubicBezTo>
                  <a:cubicBezTo>
                    <a:pt x="941" y="1385"/>
                    <a:pt x="941" y="1388"/>
                    <a:pt x="941" y="1390"/>
                  </a:cubicBezTo>
                  <a:cubicBezTo>
                    <a:pt x="947" y="1388"/>
                    <a:pt x="953" y="1386"/>
                    <a:pt x="960" y="1385"/>
                  </a:cubicBezTo>
                  <a:cubicBezTo>
                    <a:pt x="964" y="1384"/>
                    <a:pt x="961" y="1377"/>
                    <a:pt x="957" y="1378"/>
                  </a:cubicBezTo>
                  <a:cubicBezTo>
                    <a:pt x="1011" y="1340"/>
                    <a:pt x="1010" y="1340"/>
                    <a:pt x="1009" y="1340"/>
                  </a:cubicBezTo>
                  <a:cubicBezTo>
                    <a:pt x="1014" y="1340"/>
                    <a:pt x="1014" y="1340"/>
                    <a:pt x="1014" y="1340"/>
                  </a:cubicBezTo>
                  <a:cubicBezTo>
                    <a:pt x="1014" y="1340"/>
                    <a:pt x="1013" y="1339"/>
                    <a:pt x="1012" y="1340"/>
                  </a:cubicBezTo>
                  <a:cubicBezTo>
                    <a:pt x="1017" y="1309"/>
                    <a:pt x="1015" y="1309"/>
                    <a:pt x="1013" y="1308"/>
                  </a:cubicBezTo>
                  <a:cubicBezTo>
                    <a:pt x="1012" y="1310"/>
                    <a:pt x="1011" y="1311"/>
                    <a:pt x="1011" y="1312"/>
                  </a:cubicBezTo>
                  <a:cubicBezTo>
                    <a:pt x="1013" y="1311"/>
                    <a:pt x="1015" y="1310"/>
                    <a:pt x="1017" y="1310"/>
                  </a:cubicBezTo>
                  <a:cubicBezTo>
                    <a:pt x="851" y="1351"/>
                    <a:pt x="851" y="1350"/>
                    <a:pt x="852" y="1349"/>
                  </a:cubicBezTo>
                  <a:cubicBezTo>
                    <a:pt x="848" y="1349"/>
                    <a:pt x="846" y="1348"/>
                    <a:pt x="844" y="1347"/>
                  </a:cubicBezTo>
                  <a:cubicBezTo>
                    <a:pt x="843" y="1347"/>
                    <a:pt x="841" y="1348"/>
                    <a:pt x="840" y="1348"/>
                  </a:cubicBezTo>
                  <a:cubicBezTo>
                    <a:pt x="841" y="1350"/>
                    <a:pt x="842" y="1352"/>
                    <a:pt x="842" y="1354"/>
                  </a:cubicBezTo>
                  <a:cubicBezTo>
                    <a:pt x="845" y="1354"/>
                    <a:pt x="848" y="1353"/>
                    <a:pt x="850" y="1352"/>
                  </a:cubicBezTo>
                  <a:cubicBezTo>
                    <a:pt x="656" y="112"/>
                    <a:pt x="656" y="112"/>
                    <a:pt x="656" y="112"/>
                  </a:cubicBezTo>
                  <a:cubicBezTo>
                    <a:pt x="657" y="112"/>
                    <a:pt x="657" y="112"/>
                    <a:pt x="657" y="112"/>
                  </a:cubicBezTo>
                  <a:cubicBezTo>
                    <a:pt x="657" y="112"/>
                    <a:pt x="657" y="112"/>
                    <a:pt x="656" y="112"/>
                  </a:cubicBezTo>
                  <a:cubicBezTo>
                    <a:pt x="954" y="1357"/>
                    <a:pt x="953" y="1356"/>
                    <a:pt x="953" y="1355"/>
                  </a:cubicBezTo>
                  <a:cubicBezTo>
                    <a:pt x="931" y="1362"/>
                    <a:pt x="909" y="1369"/>
                    <a:pt x="887" y="1377"/>
                  </a:cubicBezTo>
                  <a:cubicBezTo>
                    <a:pt x="908" y="1377"/>
                    <a:pt x="908" y="1377"/>
                    <a:pt x="908" y="1377"/>
                  </a:cubicBezTo>
                  <a:cubicBezTo>
                    <a:pt x="926" y="1370"/>
                    <a:pt x="945" y="1364"/>
                    <a:pt x="963" y="1359"/>
                  </a:cubicBezTo>
                  <a:cubicBezTo>
                    <a:pt x="963" y="1359"/>
                    <a:pt x="963" y="1359"/>
                    <a:pt x="963" y="1359"/>
                  </a:cubicBezTo>
                  <a:cubicBezTo>
                    <a:pt x="963" y="1357"/>
                    <a:pt x="963" y="1354"/>
                    <a:pt x="965" y="1351"/>
                  </a:cubicBezTo>
                  <a:cubicBezTo>
                    <a:pt x="963" y="1352"/>
                    <a:pt x="961" y="1353"/>
                    <a:pt x="960" y="1353"/>
                  </a:cubicBezTo>
                  <a:cubicBezTo>
                    <a:pt x="959" y="1355"/>
                    <a:pt x="958" y="1356"/>
                    <a:pt x="957" y="1357"/>
                  </a:cubicBezTo>
                  <a:cubicBezTo>
                    <a:pt x="1003" y="1345"/>
                    <a:pt x="999" y="1347"/>
                    <a:pt x="994" y="1348"/>
                  </a:cubicBezTo>
                  <a:cubicBezTo>
                    <a:pt x="994" y="1349"/>
                    <a:pt x="994" y="1350"/>
                    <a:pt x="994" y="1351"/>
                  </a:cubicBezTo>
                  <a:cubicBezTo>
                    <a:pt x="1000" y="1349"/>
                    <a:pt x="1007" y="1348"/>
                    <a:pt x="1013" y="1346"/>
                  </a:cubicBezTo>
                  <a:cubicBezTo>
                    <a:pt x="1013" y="1346"/>
                    <a:pt x="1014" y="1346"/>
                    <a:pt x="1014" y="1345"/>
                  </a:cubicBezTo>
                  <a:cubicBezTo>
                    <a:pt x="1012" y="1344"/>
                    <a:pt x="1008" y="1342"/>
                    <a:pt x="1005" y="1341"/>
                  </a:cubicBezTo>
                  <a:cubicBezTo>
                    <a:pt x="594" y="134"/>
                    <a:pt x="594" y="134"/>
                    <a:pt x="594" y="134"/>
                  </a:cubicBezTo>
                  <a:cubicBezTo>
                    <a:pt x="594" y="134"/>
                    <a:pt x="594" y="134"/>
                    <a:pt x="594" y="134"/>
                  </a:cubicBezTo>
                  <a:cubicBezTo>
                    <a:pt x="594" y="134"/>
                    <a:pt x="594" y="134"/>
                    <a:pt x="594" y="134"/>
                  </a:cubicBezTo>
                  <a:cubicBezTo>
                    <a:pt x="863" y="1283"/>
                    <a:pt x="861" y="1279"/>
                    <a:pt x="859" y="1277"/>
                  </a:cubicBezTo>
                  <a:cubicBezTo>
                    <a:pt x="856" y="1279"/>
                    <a:pt x="853" y="1280"/>
                    <a:pt x="850" y="1281"/>
                  </a:cubicBezTo>
                  <a:cubicBezTo>
                    <a:pt x="851" y="1283"/>
                    <a:pt x="853" y="1285"/>
                    <a:pt x="856" y="1286"/>
                  </a:cubicBezTo>
                  <a:cubicBezTo>
                    <a:pt x="860" y="1284"/>
                    <a:pt x="865" y="1283"/>
                    <a:pt x="869" y="1281"/>
                  </a:cubicBezTo>
                  <a:cubicBezTo>
                    <a:pt x="870" y="1279"/>
                    <a:pt x="871" y="1276"/>
                    <a:pt x="873" y="1274"/>
                  </a:cubicBezTo>
                  <a:cubicBezTo>
                    <a:pt x="871" y="1274"/>
                    <a:pt x="870" y="1274"/>
                    <a:pt x="869" y="1273"/>
                  </a:cubicBezTo>
                  <a:cubicBezTo>
                    <a:pt x="867" y="1274"/>
                    <a:pt x="865" y="1275"/>
                    <a:pt x="863" y="1276"/>
                  </a:cubicBezTo>
                  <a:cubicBezTo>
                    <a:pt x="863" y="1276"/>
                    <a:pt x="863" y="1276"/>
                    <a:pt x="863" y="1276"/>
                  </a:cubicBezTo>
                  <a:cubicBezTo>
                    <a:pt x="865" y="1277"/>
                    <a:pt x="866" y="1277"/>
                    <a:pt x="868" y="1277"/>
                  </a:cubicBezTo>
                  <a:cubicBezTo>
                    <a:pt x="867" y="1280"/>
                    <a:pt x="869" y="1279"/>
                    <a:pt x="867" y="1281"/>
                  </a:cubicBezTo>
                  <a:cubicBezTo>
                    <a:pt x="796" y="1283"/>
                    <a:pt x="797" y="1284"/>
                    <a:pt x="797" y="1284"/>
                  </a:cubicBezTo>
                  <a:cubicBezTo>
                    <a:pt x="799" y="1284"/>
                    <a:pt x="800" y="1284"/>
                    <a:pt x="802" y="1283"/>
                  </a:cubicBezTo>
                  <a:cubicBezTo>
                    <a:pt x="803" y="1282"/>
                    <a:pt x="805" y="1281"/>
                    <a:pt x="808" y="1282"/>
                  </a:cubicBezTo>
                  <a:cubicBezTo>
                    <a:pt x="809" y="1282"/>
                    <a:pt x="810" y="1281"/>
                    <a:pt x="810" y="1281"/>
                  </a:cubicBezTo>
                  <a:cubicBezTo>
                    <a:pt x="810" y="1279"/>
                    <a:pt x="810" y="1277"/>
                    <a:pt x="810" y="1275"/>
                  </a:cubicBezTo>
                  <a:cubicBezTo>
                    <a:pt x="809" y="1275"/>
                    <a:pt x="809" y="1275"/>
                    <a:pt x="808" y="1275"/>
                  </a:cubicBezTo>
                  <a:cubicBezTo>
                    <a:pt x="807" y="1275"/>
                    <a:pt x="806" y="1276"/>
                    <a:pt x="804" y="1276"/>
                  </a:cubicBezTo>
                  <a:cubicBezTo>
                    <a:pt x="801" y="1278"/>
                    <a:pt x="800" y="1282"/>
                    <a:pt x="796" y="1282"/>
                  </a:cubicBezTo>
                  <a:cubicBezTo>
                    <a:pt x="839" y="1285"/>
                    <a:pt x="840" y="1285"/>
                    <a:pt x="841" y="1285"/>
                  </a:cubicBezTo>
                  <a:cubicBezTo>
                    <a:pt x="841" y="1284"/>
                    <a:pt x="841" y="1284"/>
                    <a:pt x="841" y="1284"/>
                  </a:cubicBezTo>
                  <a:cubicBezTo>
                    <a:pt x="840" y="1284"/>
                    <a:pt x="839" y="1285"/>
                    <a:pt x="838" y="1285"/>
                  </a:cubicBezTo>
                  <a:cubicBezTo>
                    <a:pt x="1124" y="1195"/>
                    <a:pt x="1122" y="1196"/>
                    <a:pt x="1121" y="1197"/>
                  </a:cubicBezTo>
                  <a:cubicBezTo>
                    <a:pt x="1120" y="1200"/>
                    <a:pt x="1117" y="1203"/>
                    <a:pt x="1114" y="1202"/>
                  </a:cubicBezTo>
                  <a:cubicBezTo>
                    <a:pt x="1111" y="1204"/>
                    <a:pt x="1108" y="1206"/>
                    <a:pt x="1105" y="1208"/>
                  </a:cubicBezTo>
                  <a:cubicBezTo>
                    <a:pt x="1107" y="1209"/>
                    <a:pt x="1108" y="1211"/>
                    <a:pt x="1109" y="1213"/>
                  </a:cubicBezTo>
                  <a:cubicBezTo>
                    <a:pt x="1110" y="1212"/>
                    <a:pt x="1111" y="1212"/>
                    <a:pt x="1112" y="1211"/>
                  </a:cubicBezTo>
                  <a:cubicBezTo>
                    <a:pt x="1111" y="1208"/>
                    <a:pt x="1109" y="1206"/>
                    <a:pt x="1112" y="1203"/>
                  </a:cubicBezTo>
                  <a:cubicBezTo>
                    <a:pt x="1117" y="1206"/>
                    <a:pt x="1117" y="1200"/>
                    <a:pt x="1123" y="1202"/>
                  </a:cubicBezTo>
                  <a:cubicBezTo>
                    <a:pt x="1123" y="1203"/>
                    <a:pt x="1122" y="1204"/>
                    <a:pt x="1122" y="1204"/>
                  </a:cubicBezTo>
                  <a:cubicBezTo>
                    <a:pt x="1124" y="1203"/>
                    <a:pt x="1125" y="1202"/>
                    <a:pt x="1126" y="1201"/>
                  </a:cubicBezTo>
                  <a:cubicBezTo>
                    <a:pt x="1125" y="1200"/>
                    <a:pt x="1124" y="1199"/>
                    <a:pt x="1124" y="1197"/>
                  </a:cubicBezTo>
                  <a:cubicBezTo>
                    <a:pt x="1131" y="1197"/>
                    <a:pt x="1131" y="1197"/>
                    <a:pt x="1131" y="1197"/>
                  </a:cubicBezTo>
                  <a:cubicBezTo>
                    <a:pt x="1131" y="1194"/>
                    <a:pt x="1128" y="1192"/>
                    <a:pt x="1126" y="1194"/>
                  </a:cubicBezTo>
                  <a:cubicBezTo>
                    <a:pt x="267" y="1288"/>
                    <a:pt x="268" y="1288"/>
                    <a:pt x="269" y="1287"/>
                  </a:cubicBezTo>
                  <a:cubicBezTo>
                    <a:pt x="268" y="1285"/>
                    <a:pt x="269" y="1282"/>
                    <a:pt x="269" y="1280"/>
                  </a:cubicBezTo>
                  <a:cubicBezTo>
                    <a:pt x="269" y="1280"/>
                    <a:pt x="268" y="1280"/>
                    <a:pt x="267" y="1281"/>
                  </a:cubicBezTo>
                  <a:cubicBezTo>
                    <a:pt x="266" y="1283"/>
                    <a:pt x="266" y="1286"/>
                    <a:pt x="266" y="1289"/>
                  </a:cubicBezTo>
                  <a:cubicBezTo>
                    <a:pt x="296" y="1319"/>
                    <a:pt x="298" y="1320"/>
                    <a:pt x="300" y="1320"/>
                  </a:cubicBezTo>
                  <a:cubicBezTo>
                    <a:pt x="301" y="1321"/>
                    <a:pt x="301" y="1322"/>
                    <a:pt x="302" y="1323"/>
                  </a:cubicBezTo>
                  <a:cubicBezTo>
                    <a:pt x="303" y="1322"/>
                    <a:pt x="305" y="1321"/>
                    <a:pt x="306" y="1320"/>
                  </a:cubicBezTo>
                  <a:cubicBezTo>
                    <a:pt x="306" y="1318"/>
                    <a:pt x="307" y="1315"/>
                    <a:pt x="301" y="1316"/>
                  </a:cubicBezTo>
                  <a:cubicBezTo>
                    <a:pt x="301" y="1316"/>
                    <a:pt x="301" y="1315"/>
                    <a:pt x="301" y="1315"/>
                  </a:cubicBezTo>
                  <a:cubicBezTo>
                    <a:pt x="299" y="1316"/>
                    <a:pt x="297" y="1318"/>
                    <a:pt x="294" y="1319"/>
                  </a:cubicBezTo>
                  <a:cubicBezTo>
                    <a:pt x="965" y="1285"/>
                    <a:pt x="965" y="1284"/>
                    <a:pt x="965" y="1284"/>
                  </a:cubicBezTo>
                  <a:cubicBezTo>
                    <a:pt x="948" y="1292"/>
                    <a:pt x="932" y="1299"/>
                    <a:pt x="915" y="1305"/>
                  </a:cubicBezTo>
                  <a:cubicBezTo>
                    <a:pt x="916" y="1305"/>
                    <a:pt x="916" y="1305"/>
                    <a:pt x="916" y="1305"/>
                  </a:cubicBezTo>
                  <a:cubicBezTo>
                    <a:pt x="916" y="1306"/>
                    <a:pt x="915" y="1306"/>
                    <a:pt x="915" y="1306"/>
                  </a:cubicBezTo>
                  <a:cubicBezTo>
                    <a:pt x="914" y="1307"/>
                    <a:pt x="912" y="1308"/>
                    <a:pt x="910" y="1309"/>
                  </a:cubicBezTo>
                  <a:cubicBezTo>
                    <a:pt x="909" y="1309"/>
                    <a:pt x="908" y="1309"/>
                    <a:pt x="907" y="1308"/>
                  </a:cubicBezTo>
                  <a:cubicBezTo>
                    <a:pt x="898" y="1312"/>
                    <a:pt x="889" y="1315"/>
                    <a:pt x="880" y="1318"/>
                  </a:cubicBezTo>
                  <a:cubicBezTo>
                    <a:pt x="882" y="1320"/>
                    <a:pt x="884" y="1322"/>
                    <a:pt x="886" y="1323"/>
                  </a:cubicBezTo>
                  <a:cubicBezTo>
                    <a:pt x="891" y="1322"/>
                    <a:pt x="896" y="1320"/>
                    <a:pt x="901" y="1318"/>
                  </a:cubicBezTo>
                  <a:cubicBezTo>
                    <a:pt x="902" y="1316"/>
                    <a:pt x="904" y="1315"/>
                    <a:pt x="906" y="1316"/>
                  </a:cubicBezTo>
                  <a:cubicBezTo>
                    <a:pt x="907" y="1316"/>
                    <a:pt x="907" y="1316"/>
                    <a:pt x="907" y="1316"/>
                  </a:cubicBezTo>
                  <a:cubicBezTo>
                    <a:pt x="914" y="1313"/>
                    <a:pt x="921" y="1310"/>
                    <a:pt x="928" y="1307"/>
                  </a:cubicBezTo>
                  <a:cubicBezTo>
                    <a:pt x="928" y="1307"/>
                    <a:pt x="928" y="1306"/>
                    <a:pt x="929" y="1305"/>
                  </a:cubicBezTo>
                  <a:cubicBezTo>
                    <a:pt x="933" y="1305"/>
                    <a:pt x="933" y="1305"/>
                    <a:pt x="933" y="1305"/>
                  </a:cubicBezTo>
                  <a:cubicBezTo>
                    <a:pt x="947" y="1300"/>
                    <a:pt x="961" y="1294"/>
                    <a:pt x="974" y="1288"/>
                  </a:cubicBezTo>
                  <a:cubicBezTo>
                    <a:pt x="961" y="1288"/>
                    <a:pt x="961" y="1288"/>
                    <a:pt x="961" y="1288"/>
                  </a:cubicBezTo>
                  <a:cubicBezTo>
                    <a:pt x="962" y="1286"/>
                    <a:pt x="966" y="1288"/>
                    <a:pt x="965" y="1285"/>
                  </a:cubicBezTo>
                  <a:cubicBezTo>
                    <a:pt x="46" y="266"/>
                    <a:pt x="49" y="264"/>
                    <a:pt x="52" y="262"/>
                  </a:cubicBezTo>
                  <a:cubicBezTo>
                    <a:pt x="40" y="262"/>
                    <a:pt x="40" y="262"/>
                    <a:pt x="40" y="262"/>
                  </a:cubicBezTo>
                  <a:cubicBezTo>
                    <a:pt x="39" y="262"/>
                    <a:pt x="39" y="262"/>
                    <a:pt x="38" y="262"/>
                  </a:cubicBezTo>
                  <a:cubicBezTo>
                    <a:pt x="35" y="265"/>
                    <a:pt x="39" y="270"/>
                    <a:pt x="42" y="268"/>
                  </a:cubicBezTo>
                  <a:cubicBezTo>
                    <a:pt x="984" y="1321"/>
                    <a:pt x="985" y="1321"/>
                    <a:pt x="986" y="1319"/>
                  </a:cubicBezTo>
                  <a:cubicBezTo>
                    <a:pt x="986" y="1320"/>
                    <a:pt x="987" y="1320"/>
                    <a:pt x="987" y="1320"/>
                  </a:cubicBezTo>
                  <a:cubicBezTo>
                    <a:pt x="993" y="1319"/>
                    <a:pt x="998" y="1317"/>
                    <a:pt x="1003" y="1315"/>
                  </a:cubicBezTo>
                  <a:cubicBezTo>
                    <a:pt x="1003" y="1314"/>
                    <a:pt x="1003" y="1312"/>
                    <a:pt x="1002" y="1311"/>
                  </a:cubicBezTo>
                  <a:cubicBezTo>
                    <a:pt x="1004" y="1310"/>
                    <a:pt x="1006" y="1308"/>
                    <a:pt x="1007" y="1306"/>
                  </a:cubicBezTo>
                  <a:cubicBezTo>
                    <a:pt x="1002" y="1308"/>
                    <a:pt x="998" y="1310"/>
                    <a:pt x="993" y="1311"/>
                  </a:cubicBezTo>
                  <a:cubicBezTo>
                    <a:pt x="990" y="1315"/>
                    <a:pt x="987" y="1318"/>
                    <a:pt x="983" y="1317"/>
                  </a:cubicBezTo>
                  <a:cubicBezTo>
                    <a:pt x="982" y="1317"/>
                    <a:pt x="982" y="1316"/>
                    <a:pt x="981" y="1316"/>
                  </a:cubicBezTo>
                  <a:cubicBezTo>
                    <a:pt x="976" y="1317"/>
                    <a:pt x="972" y="1319"/>
                    <a:pt x="967" y="1320"/>
                  </a:cubicBezTo>
                  <a:cubicBezTo>
                    <a:pt x="967" y="1321"/>
                    <a:pt x="967" y="1322"/>
                    <a:pt x="967" y="1323"/>
                  </a:cubicBezTo>
                  <a:cubicBezTo>
                    <a:pt x="959" y="1323"/>
                    <a:pt x="959" y="1323"/>
                    <a:pt x="959" y="1323"/>
                  </a:cubicBezTo>
                  <a:cubicBezTo>
                    <a:pt x="941" y="1329"/>
                    <a:pt x="924" y="1335"/>
                    <a:pt x="906" y="1341"/>
                  </a:cubicBezTo>
                  <a:cubicBezTo>
                    <a:pt x="927" y="1341"/>
                    <a:pt x="927" y="1341"/>
                    <a:pt x="927" y="1341"/>
                  </a:cubicBezTo>
                  <a:cubicBezTo>
                    <a:pt x="927" y="1341"/>
                    <a:pt x="927" y="1341"/>
                    <a:pt x="927" y="1341"/>
                  </a:cubicBezTo>
                  <a:cubicBezTo>
                    <a:pt x="946" y="1335"/>
                    <a:pt x="964" y="1329"/>
                    <a:pt x="983" y="1322"/>
                  </a:cubicBezTo>
                  <a:cubicBezTo>
                    <a:pt x="745" y="1312"/>
                    <a:pt x="745" y="1312"/>
                    <a:pt x="744" y="1312"/>
                  </a:cubicBezTo>
                  <a:cubicBezTo>
                    <a:pt x="744" y="1312"/>
                    <a:pt x="744" y="1312"/>
                    <a:pt x="744" y="1312"/>
                  </a:cubicBezTo>
                  <a:cubicBezTo>
                    <a:pt x="742" y="1313"/>
                    <a:pt x="742" y="1314"/>
                    <a:pt x="740" y="1314"/>
                  </a:cubicBezTo>
                  <a:cubicBezTo>
                    <a:pt x="740" y="1316"/>
                    <a:pt x="743" y="1317"/>
                    <a:pt x="742" y="1319"/>
                  </a:cubicBezTo>
                  <a:cubicBezTo>
                    <a:pt x="746" y="1319"/>
                    <a:pt x="743" y="1316"/>
                    <a:pt x="745" y="1312"/>
                  </a:cubicBezTo>
                  <a:cubicBezTo>
                    <a:pt x="669" y="1314"/>
                    <a:pt x="668" y="1316"/>
                    <a:pt x="666" y="1317"/>
                  </a:cubicBezTo>
                  <a:cubicBezTo>
                    <a:pt x="666" y="1318"/>
                    <a:pt x="666" y="1318"/>
                    <a:pt x="667" y="1319"/>
                  </a:cubicBezTo>
                  <a:cubicBezTo>
                    <a:pt x="668" y="1319"/>
                    <a:pt x="670" y="1319"/>
                    <a:pt x="672" y="1319"/>
                  </a:cubicBezTo>
                  <a:cubicBezTo>
                    <a:pt x="670" y="1314"/>
                    <a:pt x="680" y="1311"/>
                    <a:pt x="677" y="1318"/>
                  </a:cubicBezTo>
                  <a:cubicBezTo>
                    <a:pt x="678" y="1318"/>
                    <a:pt x="678" y="1318"/>
                    <a:pt x="678" y="1318"/>
                  </a:cubicBezTo>
                  <a:cubicBezTo>
                    <a:pt x="679" y="1317"/>
                    <a:pt x="679" y="1317"/>
                    <a:pt x="681" y="1317"/>
                  </a:cubicBezTo>
                  <a:cubicBezTo>
                    <a:pt x="680" y="1316"/>
                    <a:pt x="680" y="1313"/>
                    <a:pt x="681" y="1311"/>
                  </a:cubicBezTo>
                  <a:cubicBezTo>
                    <a:pt x="677" y="1311"/>
                    <a:pt x="673" y="1312"/>
                    <a:pt x="669" y="1312"/>
                  </a:cubicBezTo>
                  <a:cubicBezTo>
                    <a:pt x="730" y="1323"/>
                    <a:pt x="732" y="1322"/>
                    <a:pt x="734" y="1322"/>
                  </a:cubicBezTo>
                  <a:cubicBezTo>
                    <a:pt x="733" y="1321"/>
                    <a:pt x="733" y="1321"/>
                    <a:pt x="732" y="1321"/>
                  </a:cubicBezTo>
                  <a:cubicBezTo>
                    <a:pt x="731" y="1322"/>
                    <a:pt x="730" y="1322"/>
                    <a:pt x="729" y="1323"/>
                  </a:cubicBezTo>
                  <a:cubicBezTo>
                    <a:pt x="592" y="1317"/>
                    <a:pt x="592" y="1318"/>
                    <a:pt x="590" y="1319"/>
                  </a:cubicBezTo>
                  <a:cubicBezTo>
                    <a:pt x="592" y="1320"/>
                    <a:pt x="592" y="1321"/>
                    <a:pt x="593" y="1323"/>
                  </a:cubicBezTo>
                  <a:cubicBezTo>
                    <a:pt x="599" y="1323"/>
                    <a:pt x="605" y="1323"/>
                    <a:pt x="611" y="1323"/>
                  </a:cubicBezTo>
                  <a:cubicBezTo>
                    <a:pt x="611" y="1323"/>
                    <a:pt x="611" y="1322"/>
                    <a:pt x="611" y="1322"/>
                  </a:cubicBezTo>
                  <a:cubicBezTo>
                    <a:pt x="605" y="1320"/>
                    <a:pt x="601" y="1324"/>
                    <a:pt x="596" y="1319"/>
                  </a:cubicBezTo>
                  <a:cubicBezTo>
                    <a:pt x="596" y="1318"/>
                    <a:pt x="597" y="1317"/>
                    <a:pt x="597" y="1316"/>
                  </a:cubicBezTo>
                  <a:cubicBezTo>
                    <a:pt x="595" y="1316"/>
                    <a:pt x="594" y="1316"/>
                    <a:pt x="592" y="1316"/>
                  </a:cubicBezTo>
                  <a:cubicBezTo>
                    <a:pt x="509" y="146"/>
                    <a:pt x="509" y="146"/>
                    <a:pt x="509" y="146"/>
                  </a:cubicBezTo>
                  <a:cubicBezTo>
                    <a:pt x="509" y="146"/>
                    <a:pt x="510" y="146"/>
                    <a:pt x="510" y="146"/>
                  </a:cubicBezTo>
                  <a:cubicBezTo>
                    <a:pt x="509" y="146"/>
                    <a:pt x="509" y="146"/>
                    <a:pt x="509" y="146"/>
                  </a:cubicBezTo>
                  <a:cubicBezTo>
                    <a:pt x="256" y="1288"/>
                    <a:pt x="250" y="1291"/>
                    <a:pt x="245" y="1293"/>
                  </a:cubicBezTo>
                  <a:cubicBezTo>
                    <a:pt x="245" y="1294"/>
                    <a:pt x="245" y="1294"/>
                    <a:pt x="244" y="1294"/>
                  </a:cubicBezTo>
                  <a:cubicBezTo>
                    <a:pt x="244" y="1294"/>
                    <a:pt x="244" y="1294"/>
                    <a:pt x="244" y="1294"/>
                  </a:cubicBezTo>
                  <a:cubicBezTo>
                    <a:pt x="241" y="1295"/>
                    <a:pt x="238" y="1297"/>
                    <a:pt x="236" y="1298"/>
                  </a:cubicBezTo>
                  <a:cubicBezTo>
                    <a:pt x="232" y="1300"/>
                    <a:pt x="234" y="1306"/>
                    <a:pt x="238" y="1304"/>
                  </a:cubicBezTo>
                  <a:cubicBezTo>
                    <a:pt x="246" y="1301"/>
                    <a:pt x="253" y="1297"/>
                    <a:pt x="260" y="1293"/>
                  </a:cubicBezTo>
                  <a:cubicBezTo>
                    <a:pt x="259" y="1291"/>
                    <a:pt x="260" y="1288"/>
                    <a:pt x="261" y="1284"/>
                  </a:cubicBezTo>
                  <a:cubicBezTo>
                    <a:pt x="474" y="1316"/>
                    <a:pt x="473" y="1315"/>
                    <a:pt x="473" y="1313"/>
                  </a:cubicBezTo>
                  <a:cubicBezTo>
                    <a:pt x="471" y="1313"/>
                    <a:pt x="470" y="1313"/>
                    <a:pt x="469" y="1313"/>
                  </a:cubicBezTo>
                  <a:cubicBezTo>
                    <a:pt x="471" y="1316"/>
                    <a:pt x="473" y="1318"/>
                    <a:pt x="476" y="1320"/>
                  </a:cubicBezTo>
                  <a:cubicBezTo>
                    <a:pt x="478" y="1320"/>
                    <a:pt x="480" y="1320"/>
                    <a:pt x="483" y="1320"/>
                  </a:cubicBezTo>
                  <a:cubicBezTo>
                    <a:pt x="497" y="1321"/>
                    <a:pt x="511" y="1322"/>
                    <a:pt x="525" y="1322"/>
                  </a:cubicBezTo>
                  <a:cubicBezTo>
                    <a:pt x="522" y="1320"/>
                    <a:pt x="519" y="1318"/>
                    <a:pt x="516" y="1315"/>
                  </a:cubicBezTo>
                  <a:cubicBezTo>
                    <a:pt x="504" y="1315"/>
                    <a:pt x="492" y="1314"/>
                    <a:pt x="479" y="1314"/>
                  </a:cubicBezTo>
                  <a:cubicBezTo>
                    <a:pt x="479" y="1315"/>
                    <a:pt x="477" y="1317"/>
                    <a:pt x="475" y="1318"/>
                  </a:cubicBezTo>
                  <a:cubicBezTo>
                    <a:pt x="257" y="1324"/>
                    <a:pt x="257" y="1324"/>
                    <a:pt x="257" y="1324"/>
                  </a:cubicBezTo>
                  <a:cubicBezTo>
                    <a:pt x="254" y="1323"/>
                    <a:pt x="253" y="1323"/>
                    <a:pt x="251" y="1324"/>
                  </a:cubicBezTo>
                  <a:cubicBezTo>
                    <a:pt x="252" y="1326"/>
                    <a:pt x="255" y="1327"/>
                    <a:pt x="257" y="1325"/>
                  </a:cubicBezTo>
                  <a:cubicBezTo>
                    <a:pt x="398" y="0"/>
                    <a:pt x="397" y="0"/>
                    <a:pt x="397" y="0"/>
                  </a:cubicBezTo>
                  <a:cubicBezTo>
                    <a:pt x="397" y="0"/>
                    <a:pt x="397" y="1"/>
                    <a:pt x="397" y="1"/>
                  </a:cubicBezTo>
                  <a:cubicBezTo>
                    <a:pt x="398" y="1"/>
                    <a:pt x="398" y="0"/>
                    <a:pt x="398" y="0"/>
                  </a:cubicBezTo>
                  <a:cubicBezTo>
                    <a:pt x="385" y="0"/>
                    <a:pt x="385" y="0"/>
                    <a:pt x="385" y="0"/>
                  </a:cubicBezTo>
                  <a:cubicBezTo>
                    <a:pt x="385" y="1"/>
                    <a:pt x="385" y="1"/>
                    <a:pt x="386" y="1"/>
                  </a:cubicBezTo>
                  <a:cubicBezTo>
                    <a:pt x="386" y="1"/>
                    <a:pt x="386" y="1"/>
                    <a:pt x="386" y="0"/>
                  </a:cubicBezTo>
                  <a:cubicBezTo>
                    <a:pt x="327" y="3"/>
                    <a:pt x="327" y="3"/>
                    <a:pt x="326" y="3"/>
                  </a:cubicBezTo>
                  <a:cubicBezTo>
                    <a:pt x="326" y="4"/>
                    <a:pt x="326" y="4"/>
                    <a:pt x="326" y="4"/>
                  </a:cubicBezTo>
                  <a:cubicBezTo>
                    <a:pt x="326" y="4"/>
                    <a:pt x="327" y="4"/>
                    <a:pt x="327" y="3"/>
                  </a:cubicBezTo>
                  <a:cubicBezTo>
                    <a:pt x="404" y="1"/>
                    <a:pt x="406" y="1"/>
                    <a:pt x="406" y="0"/>
                  </a:cubicBezTo>
                  <a:cubicBezTo>
                    <a:pt x="406" y="0"/>
                    <a:pt x="406" y="0"/>
                    <a:pt x="406" y="0"/>
                  </a:cubicBezTo>
                  <a:cubicBezTo>
                    <a:pt x="404" y="0"/>
                    <a:pt x="402" y="0"/>
                    <a:pt x="400" y="0"/>
                  </a:cubicBezTo>
                  <a:cubicBezTo>
                    <a:pt x="401" y="1"/>
                    <a:pt x="402" y="2"/>
                    <a:pt x="404" y="2"/>
                  </a:cubicBezTo>
                  <a:cubicBezTo>
                    <a:pt x="380" y="7"/>
                    <a:pt x="381" y="7"/>
                    <a:pt x="382" y="7"/>
                  </a:cubicBezTo>
                  <a:cubicBezTo>
                    <a:pt x="384" y="6"/>
                    <a:pt x="387" y="5"/>
                    <a:pt x="388" y="3"/>
                  </a:cubicBezTo>
                  <a:cubicBezTo>
                    <a:pt x="385" y="2"/>
                    <a:pt x="381" y="2"/>
                    <a:pt x="379" y="0"/>
                  </a:cubicBezTo>
                  <a:cubicBezTo>
                    <a:pt x="377" y="1"/>
                    <a:pt x="375" y="1"/>
                    <a:pt x="373" y="1"/>
                  </a:cubicBezTo>
                  <a:cubicBezTo>
                    <a:pt x="373" y="1"/>
                    <a:pt x="373" y="2"/>
                    <a:pt x="373" y="2"/>
                  </a:cubicBezTo>
                  <a:cubicBezTo>
                    <a:pt x="376" y="2"/>
                    <a:pt x="376" y="6"/>
                    <a:pt x="378" y="7"/>
                  </a:cubicBezTo>
                  <a:cubicBezTo>
                    <a:pt x="423" y="6"/>
                    <a:pt x="423" y="7"/>
                    <a:pt x="423" y="7"/>
                  </a:cubicBezTo>
                  <a:cubicBezTo>
                    <a:pt x="423" y="7"/>
                    <a:pt x="423" y="7"/>
                    <a:pt x="424" y="7"/>
                  </a:cubicBezTo>
                  <a:cubicBezTo>
                    <a:pt x="424" y="6"/>
                    <a:pt x="423" y="6"/>
                    <a:pt x="423" y="5"/>
                  </a:cubicBezTo>
                  <a:cubicBezTo>
                    <a:pt x="398" y="5"/>
                    <a:pt x="397" y="6"/>
                    <a:pt x="397" y="7"/>
                  </a:cubicBezTo>
                  <a:cubicBezTo>
                    <a:pt x="399" y="7"/>
                    <a:pt x="400" y="7"/>
                    <a:pt x="402" y="7"/>
                  </a:cubicBezTo>
                  <a:cubicBezTo>
                    <a:pt x="400" y="6"/>
                    <a:pt x="399" y="6"/>
                    <a:pt x="399" y="4"/>
                  </a:cubicBezTo>
                  <a:cubicBezTo>
                    <a:pt x="210" y="45"/>
                    <a:pt x="222" y="43"/>
                    <a:pt x="234" y="41"/>
                  </a:cubicBezTo>
                  <a:cubicBezTo>
                    <a:pt x="234" y="41"/>
                    <a:pt x="234" y="41"/>
                    <a:pt x="234" y="41"/>
                  </a:cubicBezTo>
                  <a:cubicBezTo>
                    <a:pt x="227" y="41"/>
                    <a:pt x="219" y="40"/>
                    <a:pt x="213" y="40"/>
                  </a:cubicBezTo>
                  <a:cubicBezTo>
                    <a:pt x="213" y="40"/>
                    <a:pt x="213" y="41"/>
                    <a:pt x="213" y="41"/>
                  </a:cubicBezTo>
                  <a:cubicBezTo>
                    <a:pt x="212" y="41"/>
                    <a:pt x="211" y="41"/>
                    <a:pt x="210" y="42"/>
                  </a:cubicBezTo>
                  <a:cubicBezTo>
                    <a:pt x="209" y="41"/>
                    <a:pt x="209" y="40"/>
                    <a:pt x="209" y="39"/>
                  </a:cubicBezTo>
                  <a:cubicBezTo>
                    <a:pt x="208" y="39"/>
                    <a:pt x="206" y="39"/>
                    <a:pt x="205" y="39"/>
                  </a:cubicBezTo>
                  <a:cubicBezTo>
                    <a:pt x="202" y="40"/>
                    <a:pt x="199" y="40"/>
                    <a:pt x="197" y="40"/>
                  </a:cubicBezTo>
                  <a:cubicBezTo>
                    <a:pt x="193" y="41"/>
                    <a:pt x="193" y="48"/>
                    <a:pt x="197" y="47"/>
                  </a:cubicBezTo>
                  <a:cubicBezTo>
                    <a:pt x="418" y="7"/>
                    <a:pt x="418" y="6"/>
                    <a:pt x="417" y="6"/>
                  </a:cubicBezTo>
                  <a:cubicBezTo>
                    <a:pt x="415" y="5"/>
                    <a:pt x="412" y="5"/>
                    <a:pt x="411" y="2"/>
                  </a:cubicBezTo>
                  <a:cubicBezTo>
                    <a:pt x="410" y="3"/>
                    <a:pt x="409" y="3"/>
                    <a:pt x="408" y="4"/>
                  </a:cubicBezTo>
                  <a:cubicBezTo>
                    <a:pt x="408" y="5"/>
                    <a:pt x="408" y="6"/>
                    <a:pt x="408" y="7"/>
                  </a:cubicBezTo>
                  <a:cubicBezTo>
                    <a:pt x="411" y="7"/>
                    <a:pt x="415" y="7"/>
                    <a:pt x="418" y="7"/>
                  </a:cubicBezTo>
                  <a:cubicBezTo>
                    <a:pt x="679" y="1427"/>
                    <a:pt x="680" y="1426"/>
                    <a:pt x="681" y="1426"/>
                  </a:cubicBezTo>
                  <a:cubicBezTo>
                    <a:pt x="686" y="1425"/>
                    <a:pt x="691" y="1423"/>
                    <a:pt x="696" y="1421"/>
                  </a:cubicBezTo>
                  <a:cubicBezTo>
                    <a:pt x="696" y="1419"/>
                    <a:pt x="696" y="1418"/>
                    <a:pt x="698" y="1416"/>
                  </a:cubicBezTo>
                  <a:cubicBezTo>
                    <a:pt x="701" y="1416"/>
                    <a:pt x="703" y="1417"/>
                    <a:pt x="703" y="1419"/>
                  </a:cubicBezTo>
                  <a:cubicBezTo>
                    <a:pt x="705" y="1418"/>
                    <a:pt x="706" y="1418"/>
                    <a:pt x="707" y="1417"/>
                  </a:cubicBezTo>
                  <a:cubicBezTo>
                    <a:pt x="706" y="1416"/>
                    <a:pt x="706" y="1415"/>
                    <a:pt x="706" y="1414"/>
                  </a:cubicBezTo>
                  <a:cubicBezTo>
                    <a:pt x="716" y="1414"/>
                    <a:pt x="716" y="1414"/>
                    <a:pt x="716" y="1414"/>
                  </a:cubicBezTo>
                  <a:cubicBezTo>
                    <a:pt x="734" y="1408"/>
                    <a:pt x="751" y="1402"/>
                    <a:pt x="769" y="1396"/>
                  </a:cubicBezTo>
                  <a:cubicBezTo>
                    <a:pt x="765" y="1396"/>
                    <a:pt x="765" y="1396"/>
                    <a:pt x="765" y="1396"/>
                  </a:cubicBezTo>
                  <a:cubicBezTo>
                    <a:pt x="766" y="1396"/>
                    <a:pt x="766" y="1396"/>
                    <a:pt x="766" y="1396"/>
                  </a:cubicBezTo>
                  <a:cubicBezTo>
                    <a:pt x="762" y="1396"/>
                    <a:pt x="760" y="1395"/>
                    <a:pt x="758" y="1393"/>
                  </a:cubicBezTo>
                  <a:cubicBezTo>
                    <a:pt x="755" y="1394"/>
                    <a:pt x="752" y="1395"/>
                    <a:pt x="749" y="1396"/>
                  </a:cubicBezTo>
                  <a:cubicBezTo>
                    <a:pt x="749" y="1396"/>
                    <a:pt x="749" y="1396"/>
                    <a:pt x="749" y="1396"/>
                  </a:cubicBezTo>
                  <a:cubicBezTo>
                    <a:pt x="747" y="1396"/>
                    <a:pt x="747" y="1396"/>
                    <a:pt x="747" y="1396"/>
                  </a:cubicBezTo>
                  <a:cubicBezTo>
                    <a:pt x="729" y="1403"/>
                    <a:pt x="711" y="1409"/>
                    <a:pt x="693" y="1415"/>
                  </a:cubicBezTo>
                  <a:cubicBezTo>
                    <a:pt x="693" y="1416"/>
                    <a:pt x="692" y="1417"/>
                    <a:pt x="692" y="1418"/>
                  </a:cubicBezTo>
                  <a:cubicBezTo>
                    <a:pt x="687" y="1416"/>
                    <a:pt x="685" y="1421"/>
                    <a:pt x="681" y="1422"/>
                  </a:cubicBezTo>
                  <a:cubicBezTo>
                    <a:pt x="681" y="1421"/>
                    <a:pt x="681" y="1420"/>
                    <a:pt x="682" y="1419"/>
                  </a:cubicBezTo>
                  <a:cubicBezTo>
                    <a:pt x="628" y="1438"/>
                    <a:pt x="576" y="1457"/>
                    <a:pt x="523" y="1478"/>
                  </a:cubicBezTo>
                  <a:cubicBezTo>
                    <a:pt x="519" y="1480"/>
                    <a:pt x="521" y="1486"/>
                    <a:pt x="526" y="1484"/>
                  </a:cubicBezTo>
                  <a:cubicBezTo>
                    <a:pt x="576" y="1464"/>
                    <a:pt x="627" y="1445"/>
                    <a:pt x="678" y="1427"/>
                  </a:cubicBezTo>
                  <a:cubicBezTo>
                    <a:pt x="678" y="1427"/>
                    <a:pt x="678" y="1427"/>
                    <a:pt x="678" y="1427"/>
                  </a:cubicBezTo>
                  <a:cubicBezTo>
                    <a:pt x="201" y="99"/>
                    <a:pt x="247" y="91"/>
                    <a:pt x="293" y="85"/>
                  </a:cubicBezTo>
                  <a:cubicBezTo>
                    <a:pt x="309" y="83"/>
                    <a:pt x="324" y="82"/>
                    <a:pt x="340" y="80"/>
                  </a:cubicBezTo>
                  <a:cubicBezTo>
                    <a:pt x="342" y="78"/>
                    <a:pt x="343" y="74"/>
                    <a:pt x="348" y="74"/>
                  </a:cubicBezTo>
                  <a:cubicBezTo>
                    <a:pt x="348" y="73"/>
                    <a:pt x="348" y="73"/>
                    <a:pt x="348" y="73"/>
                  </a:cubicBezTo>
                  <a:cubicBezTo>
                    <a:pt x="329" y="74"/>
                    <a:pt x="311" y="76"/>
                    <a:pt x="293" y="79"/>
                  </a:cubicBezTo>
                  <a:cubicBezTo>
                    <a:pt x="242" y="85"/>
                    <a:pt x="191" y="93"/>
                    <a:pt x="140" y="105"/>
                  </a:cubicBezTo>
                  <a:cubicBezTo>
                    <a:pt x="141" y="105"/>
                    <a:pt x="141" y="106"/>
                    <a:pt x="142" y="106"/>
                  </a:cubicBezTo>
                  <a:cubicBezTo>
                    <a:pt x="142" y="107"/>
                    <a:pt x="141" y="108"/>
                    <a:pt x="141" y="109"/>
                  </a:cubicBezTo>
                  <a:cubicBezTo>
                    <a:pt x="146" y="109"/>
                    <a:pt x="150" y="109"/>
                    <a:pt x="155" y="109"/>
                  </a:cubicBezTo>
                  <a:cubicBezTo>
                    <a:pt x="312" y="75"/>
                    <a:pt x="314" y="81"/>
                    <a:pt x="319" y="78"/>
                  </a:cubicBezTo>
                  <a:cubicBezTo>
                    <a:pt x="320" y="79"/>
                    <a:pt x="320" y="80"/>
                    <a:pt x="320" y="81"/>
                  </a:cubicBezTo>
                  <a:cubicBezTo>
                    <a:pt x="306" y="81"/>
                    <a:pt x="306" y="81"/>
                    <a:pt x="306" y="81"/>
                  </a:cubicBezTo>
                  <a:cubicBezTo>
                    <a:pt x="306" y="80"/>
                    <a:pt x="306" y="79"/>
                    <a:pt x="306" y="78"/>
                  </a:cubicBezTo>
                  <a:cubicBezTo>
                    <a:pt x="731" y="1420"/>
                    <a:pt x="724" y="1423"/>
                    <a:pt x="717" y="1426"/>
                  </a:cubicBezTo>
                  <a:cubicBezTo>
                    <a:pt x="717" y="1426"/>
                    <a:pt x="717" y="1426"/>
                    <a:pt x="717" y="1427"/>
                  </a:cubicBezTo>
                  <a:cubicBezTo>
                    <a:pt x="715" y="1427"/>
                    <a:pt x="714" y="1429"/>
                    <a:pt x="712" y="1429"/>
                  </a:cubicBezTo>
                  <a:cubicBezTo>
                    <a:pt x="712" y="1429"/>
                    <a:pt x="712" y="1428"/>
                    <a:pt x="712" y="1428"/>
                  </a:cubicBezTo>
                  <a:cubicBezTo>
                    <a:pt x="672" y="1446"/>
                    <a:pt x="632" y="1464"/>
                    <a:pt x="592" y="1484"/>
                  </a:cubicBezTo>
                  <a:cubicBezTo>
                    <a:pt x="589" y="1486"/>
                    <a:pt x="591" y="1492"/>
                    <a:pt x="595" y="1490"/>
                  </a:cubicBezTo>
                  <a:cubicBezTo>
                    <a:pt x="643" y="1466"/>
                    <a:pt x="692" y="1444"/>
                    <a:pt x="741" y="1423"/>
                  </a:cubicBezTo>
                  <a:cubicBezTo>
                    <a:pt x="740" y="1421"/>
                    <a:pt x="739" y="1419"/>
                    <a:pt x="739" y="1416"/>
                  </a:cubicBezTo>
                  <a:cubicBezTo>
                    <a:pt x="439" y="1460"/>
                    <a:pt x="441" y="1466"/>
                    <a:pt x="445" y="1465"/>
                  </a:cubicBezTo>
                  <a:cubicBezTo>
                    <a:pt x="454" y="1462"/>
                    <a:pt x="463" y="1460"/>
                    <a:pt x="472" y="1458"/>
                  </a:cubicBezTo>
                  <a:cubicBezTo>
                    <a:pt x="471" y="1456"/>
                    <a:pt x="469" y="1454"/>
                    <a:pt x="467" y="1452"/>
                  </a:cubicBezTo>
                  <a:cubicBezTo>
                    <a:pt x="459" y="1454"/>
                    <a:pt x="451" y="1456"/>
                    <a:pt x="443" y="1458"/>
                  </a:cubicBezTo>
                  <a:cubicBezTo>
                    <a:pt x="469" y="1429"/>
                    <a:pt x="465" y="1430"/>
                    <a:pt x="461" y="1431"/>
                  </a:cubicBezTo>
                  <a:cubicBezTo>
                    <a:pt x="461" y="1432"/>
                    <a:pt x="462" y="1432"/>
                    <a:pt x="462" y="1433"/>
                  </a:cubicBezTo>
                  <a:cubicBezTo>
                    <a:pt x="463" y="1433"/>
                    <a:pt x="463" y="1434"/>
                    <a:pt x="463" y="1435"/>
                  </a:cubicBezTo>
                  <a:cubicBezTo>
                    <a:pt x="451" y="1435"/>
                    <a:pt x="451" y="1435"/>
                    <a:pt x="451" y="1435"/>
                  </a:cubicBezTo>
                  <a:cubicBezTo>
                    <a:pt x="451" y="1435"/>
                    <a:pt x="451" y="1434"/>
                    <a:pt x="451" y="1434"/>
                  </a:cubicBezTo>
                  <a:cubicBezTo>
                    <a:pt x="437" y="1438"/>
                    <a:pt x="424" y="1443"/>
                    <a:pt x="410" y="1447"/>
                  </a:cubicBezTo>
                  <a:cubicBezTo>
                    <a:pt x="406" y="1448"/>
                    <a:pt x="409" y="1455"/>
                    <a:pt x="413" y="1453"/>
                  </a:cubicBezTo>
                  <a:cubicBezTo>
                    <a:pt x="437" y="1445"/>
                    <a:pt x="461" y="1438"/>
                    <a:pt x="485" y="1431"/>
                  </a:cubicBezTo>
                  <a:cubicBezTo>
                    <a:pt x="482" y="1430"/>
                    <a:pt x="477" y="1429"/>
                    <a:pt x="474" y="1428"/>
                  </a:cubicBezTo>
                  <a:cubicBezTo>
                    <a:pt x="755" y="1417"/>
                    <a:pt x="757" y="1416"/>
                    <a:pt x="759" y="1415"/>
                  </a:cubicBezTo>
                  <a:cubicBezTo>
                    <a:pt x="756" y="1414"/>
                    <a:pt x="751" y="1413"/>
                    <a:pt x="749" y="1415"/>
                  </a:cubicBezTo>
                  <a:cubicBezTo>
                    <a:pt x="751" y="1416"/>
                    <a:pt x="752" y="1416"/>
                    <a:pt x="753" y="1417"/>
                  </a:cubicBezTo>
                  <a:cubicBezTo>
                    <a:pt x="434" y="4"/>
                    <a:pt x="437" y="4"/>
                    <a:pt x="439" y="2"/>
                  </a:cubicBezTo>
                  <a:cubicBezTo>
                    <a:pt x="440" y="3"/>
                    <a:pt x="440" y="6"/>
                    <a:pt x="439" y="8"/>
                  </a:cubicBezTo>
                  <a:cubicBezTo>
                    <a:pt x="474" y="9"/>
                    <a:pt x="509" y="13"/>
                    <a:pt x="543" y="19"/>
                  </a:cubicBezTo>
                  <a:cubicBezTo>
                    <a:pt x="548" y="19"/>
                    <a:pt x="549" y="13"/>
                    <a:pt x="544" y="12"/>
                  </a:cubicBezTo>
                  <a:cubicBezTo>
                    <a:pt x="535" y="11"/>
                    <a:pt x="526" y="9"/>
                    <a:pt x="517" y="8"/>
                  </a:cubicBezTo>
                  <a:cubicBezTo>
                    <a:pt x="515" y="8"/>
                    <a:pt x="515" y="8"/>
                    <a:pt x="515" y="8"/>
                  </a:cubicBezTo>
                  <a:cubicBezTo>
                    <a:pt x="515" y="8"/>
                    <a:pt x="515" y="8"/>
                    <a:pt x="515" y="8"/>
                  </a:cubicBezTo>
                  <a:cubicBezTo>
                    <a:pt x="514" y="7"/>
                    <a:pt x="512" y="7"/>
                    <a:pt x="510" y="7"/>
                  </a:cubicBezTo>
                  <a:cubicBezTo>
                    <a:pt x="510" y="7"/>
                    <a:pt x="510" y="8"/>
                    <a:pt x="510" y="8"/>
                  </a:cubicBezTo>
                  <a:cubicBezTo>
                    <a:pt x="488" y="8"/>
                    <a:pt x="488" y="8"/>
                    <a:pt x="488" y="8"/>
                  </a:cubicBezTo>
                  <a:cubicBezTo>
                    <a:pt x="488" y="8"/>
                    <a:pt x="488" y="8"/>
                    <a:pt x="488" y="8"/>
                  </a:cubicBezTo>
                  <a:cubicBezTo>
                    <a:pt x="487" y="8"/>
                    <a:pt x="486" y="8"/>
                    <a:pt x="485" y="8"/>
                  </a:cubicBezTo>
                  <a:cubicBezTo>
                    <a:pt x="485" y="6"/>
                    <a:pt x="485" y="5"/>
                    <a:pt x="485" y="4"/>
                  </a:cubicBezTo>
                  <a:cubicBezTo>
                    <a:pt x="482" y="4"/>
                    <a:pt x="478" y="3"/>
                    <a:pt x="475" y="3"/>
                  </a:cubicBezTo>
                  <a:cubicBezTo>
                    <a:pt x="475" y="3"/>
                    <a:pt x="475" y="4"/>
                    <a:pt x="475" y="4"/>
                  </a:cubicBezTo>
                  <a:cubicBezTo>
                    <a:pt x="473" y="5"/>
                    <a:pt x="469" y="5"/>
                    <a:pt x="468" y="3"/>
                  </a:cubicBezTo>
                  <a:cubicBezTo>
                    <a:pt x="468" y="3"/>
                    <a:pt x="468" y="3"/>
                    <a:pt x="468" y="3"/>
                  </a:cubicBezTo>
                  <a:cubicBezTo>
                    <a:pt x="455" y="2"/>
                    <a:pt x="442" y="1"/>
                    <a:pt x="429" y="1"/>
                  </a:cubicBezTo>
                  <a:cubicBezTo>
                    <a:pt x="427" y="2"/>
                    <a:pt x="428" y="5"/>
                    <a:pt x="429" y="7"/>
                  </a:cubicBezTo>
                  <a:cubicBezTo>
                    <a:pt x="431" y="7"/>
                    <a:pt x="432" y="7"/>
                    <a:pt x="434" y="7"/>
                  </a:cubicBezTo>
                  <a:cubicBezTo>
                    <a:pt x="348" y="79"/>
                    <a:pt x="348" y="79"/>
                    <a:pt x="348" y="78"/>
                  </a:cubicBezTo>
                  <a:cubicBezTo>
                    <a:pt x="347" y="79"/>
                    <a:pt x="347" y="79"/>
                    <a:pt x="347" y="79"/>
                  </a:cubicBezTo>
                  <a:cubicBezTo>
                    <a:pt x="347" y="79"/>
                    <a:pt x="347" y="79"/>
                    <a:pt x="348" y="79"/>
                  </a:cubicBezTo>
                  <a:cubicBezTo>
                    <a:pt x="570" y="72"/>
                    <a:pt x="567" y="72"/>
                    <a:pt x="563" y="71"/>
                  </a:cubicBezTo>
                  <a:cubicBezTo>
                    <a:pt x="563" y="73"/>
                    <a:pt x="563" y="74"/>
                    <a:pt x="563" y="76"/>
                  </a:cubicBezTo>
                  <a:cubicBezTo>
                    <a:pt x="560" y="78"/>
                    <a:pt x="555" y="74"/>
                    <a:pt x="555" y="77"/>
                  </a:cubicBezTo>
                  <a:cubicBezTo>
                    <a:pt x="559" y="78"/>
                    <a:pt x="564" y="78"/>
                    <a:pt x="569" y="79"/>
                  </a:cubicBezTo>
                  <a:cubicBezTo>
                    <a:pt x="569" y="78"/>
                    <a:pt x="568" y="77"/>
                    <a:pt x="568" y="76"/>
                  </a:cubicBezTo>
                  <a:cubicBezTo>
                    <a:pt x="570" y="75"/>
                    <a:pt x="572" y="73"/>
                    <a:pt x="574" y="72"/>
                  </a:cubicBezTo>
                  <a:cubicBezTo>
                    <a:pt x="453" y="74"/>
                    <a:pt x="455" y="74"/>
                    <a:pt x="457" y="74"/>
                  </a:cubicBezTo>
                  <a:cubicBezTo>
                    <a:pt x="456" y="73"/>
                    <a:pt x="456" y="72"/>
                    <a:pt x="455" y="72"/>
                  </a:cubicBezTo>
                  <a:cubicBezTo>
                    <a:pt x="454" y="72"/>
                    <a:pt x="453" y="73"/>
                    <a:pt x="452" y="74"/>
                  </a:cubicBezTo>
                  <a:cubicBezTo>
                    <a:pt x="437" y="67"/>
                    <a:pt x="435" y="67"/>
                    <a:pt x="433" y="67"/>
                  </a:cubicBezTo>
                  <a:cubicBezTo>
                    <a:pt x="433" y="68"/>
                    <a:pt x="433" y="68"/>
                    <a:pt x="432" y="68"/>
                  </a:cubicBezTo>
                  <a:cubicBezTo>
                    <a:pt x="433" y="70"/>
                    <a:pt x="436" y="69"/>
                    <a:pt x="435" y="73"/>
                  </a:cubicBezTo>
                  <a:cubicBezTo>
                    <a:pt x="436" y="72"/>
                    <a:pt x="437" y="72"/>
                    <a:pt x="439" y="72"/>
                  </a:cubicBezTo>
                  <a:cubicBezTo>
                    <a:pt x="439" y="69"/>
                    <a:pt x="438" y="68"/>
                    <a:pt x="440" y="67"/>
                  </a:cubicBezTo>
                  <a:cubicBezTo>
                    <a:pt x="989" y="1293"/>
                    <a:pt x="975" y="1299"/>
                    <a:pt x="961" y="1305"/>
                  </a:cubicBezTo>
                  <a:cubicBezTo>
                    <a:pt x="962" y="1305"/>
                    <a:pt x="962" y="1305"/>
                    <a:pt x="962" y="1305"/>
                  </a:cubicBezTo>
                  <a:cubicBezTo>
                    <a:pt x="964" y="1306"/>
                    <a:pt x="965" y="1308"/>
                    <a:pt x="966" y="1310"/>
                  </a:cubicBezTo>
                  <a:cubicBezTo>
                    <a:pt x="969" y="1309"/>
                    <a:pt x="972" y="1308"/>
                    <a:pt x="976" y="1306"/>
                  </a:cubicBezTo>
                  <a:cubicBezTo>
                    <a:pt x="975" y="1306"/>
                    <a:pt x="975" y="1306"/>
                    <a:pt x="975" y="1306"/>
                  </a:cubicBezTo>
                  <a:cubicBezTo>
                    <a:pt x="975" y="1306"/>
                    <a:pt x="975" y="1305"/>
                    <a:pt x="975" y="1305"/>
                  </a:cubicBezTo>
                  <a:cubicBezTo>
                    <a:pt x="979" y="1305"/>
                    <a:pt x="979" y="1305"/>
                    <a:pt x="979" y="1305"/>
                  </a:cubicBezTo>
                  <a:cubicBezTo>
                    <a:pt x="993" y="1299"/>
                    <a:pt x="1006" y="1293"/>
                    <a:pt x="1020" y="1287"/>
                  </a:cubicBezTo>
                  <a:cubicBezTo>
                    <a:pt x="345" y="107"/>
                    <a:pt x="343" y="106"/>
                    <a:pt x="342" y="105"/>
                  </a:cubicBezTo>
                  <a:cubicBezTo>
                    <a:pt x="333" y="106"/>
                    <a:pt x="323" y="107"/>
                    <a:pt x="314" y="108"/>
                  </a:cubicBezTo>
                  <a:cubicBezTo>
                    <a:pt x="314" y="111"/>
                    <a:pt x="315" y="113"/>
                    <a:pt x="315" y="115"/>
                  </a:cubicBezTo>
                  <a:cubicBezTo>
                    <a:pt x="314" y="114"/>
                    <a:pt x="298" y="114"/>
                    <a:pt x="274" y="113"/>
                  </a:cubicBezTo>
                  <a:cubicBezTo>
                    <a:pt x="233" y="119"/>
                    <a:pt x="192" y="126"/>
                    <a:pt x="152" y="135"/>
                  </a:cubicBezTo>
                  <a:cubicBezTo>
                    <a:pt x="186" y="135"/>
                    <a:pt x="186" y="135"/>
                    <a:pt x="186" y="135"/>
                  </a:cubicBezTo>
                  <a:cubicBezTo>
                    <a:pt x="220" y="128"/>
                    <a:pt x="254" y="123"/>
                    <a:pt x="288" y="118"/>
                  </a:cubicBezTo>
                  <a:cubicBezTo>
                    <a:pt x="300" y="117"/>
                    <a:pt x="311" y="115"/>
                    <a:pt x="323" y="114"/>
                  </a:cubicBezTo>
                  <a:cubicBezTo>
                    <a:pt x="323" y="113"/>
                    <a:pt x="323" y="113"/>
                    <a:pt x="323" y="112"/>
                  </a:cubicBezTo>
                  <a:cubicBezTo>
                    <a:pt x="326" y="111"/>
                    <a:pt x="326" y="112"/>
                    <a:pt x="330" y="112"/>
                  </a:cubicBezTo>
                  <a:cubicBezTo>
                    <a:pt x="330" y="112"/>
                    <a:pt x="330" y="113"/>
                    <a:pt x="330" y="113"/>
                  </a:cubicBezTo>
                  <a:cubicBezTo>
                    <a:pt x="336" y="112"/>
                    <a:pt x="342" y="112"/>
                    <a:pt x="348" y="111"/>
                  </a:cubicBezTo>
                  <a:cubicBezTo>
                    <a:pt x="347" y="111"/>
                    <a:pt x="347" y="110"/>
                    <a:pt x="346" y="110"/>
                  </a:cubicBezTo>
                  <a:cubicBezTo>
                    <a:pt x="346" y="108"/>
                    <a:pt x="348" y="108"/>
                    <a:pt x="347" y="106"/>
                  </a:cubicBezTo>
                  <a:cubicBezTo>
                    <a:pt x="1024" y="1285"/>
                    <a:pt x="1026" y="1285"/>
                    <a:pt x="1027" y="1284"/>
                  </a:cubicBezTo>
                  <a:cubicBezTo>
                    <a:pt x="1024" y="1283"/>
                    <a:pt x="1024" y="1280"/>
                    <a:pt x="1021" y="1279"/>
                  </a:cubicBezTo>
                  <a:cubicBezTo>
                    <a:pt x="1020" y="1281"/>
                    <a:pt x="1017" y="1280"/>
                    <a:pt x="1017" y="1283"/>
                  </a:cubicBezTo>
                  <a:cubicBezTo>
                    <a:pt x="1021" y="1282"/>
                    <a:pt x="1022" y="1284"/>
                    <a:pt x="1023" y="1286"/>
                  </a:cubicBezTo>
                  <a:cubicBezTo>
                    <a:pt x="1028" y="1276"/>
                    <a:pt x="1028" y="1276"/>
                    <a:pt x="1028" y="1277"/>
                  </a:cubicBezTo>
                  <a:cubicBezTo>
                    <a:pt x="1030" y="1277"/>
                    <a:pt x="1031" y="1277"/>
                    <a:pt x="1032" y="1278"/>
                  </a:cubicBezTo>
                  <a:cubicBezTo>
                    <a:pt x="1031" y="1280"/>
                    <a:pt x="1031" y="1281"/>
                    <a:pt x="1030" y="1282"/>
                  </a:cubicBezTo>
                  <a:cubicBezTo>
                    <a:pt x="1032" y="1282"/>
                    <a:pt x="1033" y="1281"/>
                    <a:pt x="1035" y="1280"/>
                  </a:cubicBezTo>
                  <a:cubicBezTo>
                    <a:pt x="1034" y="1280"/>
                    <a:pt x="1034" y="1279"/>
                    <a:pt x="1033" y="1278"/>
                  </a:cubicBezTo>
                  <a:cubicBezTo>
                    <a:pt x="1033" y="1277"/>
                    <a:pt x="1033" y="1275"/>
                    <a:pt x="1034" y="1273"/>
                  </a:cubicBezTo>
                  <a:cubicBezTo>
                    <a:pt x="1032" y="1274"/>
                    <a:pt x="1030" y="1275"/>
                    <a:pt x="1028" y="1276"/>
                  </a:cubicBezTo>
                  <a:cubicBezTo>
                    <a:pt x="1083" y="1250"/>
                    <a:pt x="1064" y="1259"/>
                    <a:pt x="1044" y="1269"/>
                  </a:cubicBezTo>
                  <a:cubicBezTo>
                    <a:pt x="1055" y="1268"/>
                    <a:pt x="1055" y="1268"/>
                    <a:pt x="1055" y="1268"/>
                  </a:cubicBezTo>
                  <a:cubicBezTo>
                    <a:pt x="1055" y="1269"/>
                    <a:pt x="1055" y="1270"/>
                    <a:pt x="1056" y="1271"/>
                  </a:cubicBezTo>
                  <a:cubicBezTo>
                    <a:pt x="1057" y="1270"/>
                    <a:pt x="1058" y="1269"/>
                    <a:pt x="1059" y="1269"/>
                  </a:cubicBezTo>
                  <a:cubicBezTo>
                    <a:pt x="1058" y="1269"/>
                    <a:pt x="1057" y="1269"/>
                    <a:pt x="1056" y="1268"/>
                  </a:cubicBezTo>
                  <a:cubicBezTo>
                    <a:pt x="1060" y="1268"/>
                    <a:pt x="1060" y="1268"/>
                    <a:pt x="1060" y="1268"/>
                  </a:cubicBezTo>
                  <a:cubicBezTo>
                    <a:pt x="1075" y="1261"/>
                    <a:pt x="1090" y="1254"/>
                    <a:pt x="1104" y="1247"/>
                  </a:cubicBezTo>
                  <a:cubicBezTo>
                    <a:pt x="1108" y="1245"/>
                    <a:pt x="1106" y="1238"/>
                    <a:pt x="1102" y="1240"/>
                  </a:cubicBezTo>
                  <a:cubicBezTo>
                    <a:pt x="1097" y="1245"/>
                    <a:pt x="1100" y="1245"/>
                    <a:pt x="1102" y="1245"/>
                  </a:cubicBezTo>
                  <a:cubicBezTo>
                    <a:pt x="1103" y="1248"/>
                    <a:pt x="1100" y="1249"/>
                    <a:pt x="1097" y="1248"/>
                  </a:cubicBezTo>
                  <a:cubicBezTo>
                    <a:pt x="550" y="30"/>
                    <a:pt x="550" y="31"/>
                    <a:pt x="551" y="32"/>
                  </a:cubicBezTo>
                  <a:cubicBezTo>
                    <a:pt x="551" y="31"/>
                    <a:pt x="551" y="30"/>
                    <a:pt x="551" y="29"/>
                  </a:cubicBezTo>
                  <a:cubicBezTo>
                    <a:pt x="549" y="28"/>
                    <a:pt x="547" y="28"/>
                    <a:pt x="545" y="28"/>
                  </a:cubicBezTo>
                  <a:cubicBezTo>
                    <a:pt x="545" y="31"/>
                    <a:pt x="543" y="33"/>
                    <a:pt x="536" y="32"/>
                  </a:cubicBezTo>
                  <a:cubicBezTo>
                    <a:pt x="535" y="31"/>
                    <a:pt x="535" y="29"/>
                    <a:pt x="533" y="27"/>
                  </a:cubicBezTo>
                  <a:cubicBezTo>
                    <a:pt x="524" y="28"/>
                    <a:pt x="521" y="25"/>
                    <a:pt x="514" y="28"/>
                  </a:cubicBezTo>
                  <a:cubicBezTo>
                    <a:pt x="519" y="27"/>
                    <a:pt x="519" y="29"/>
                    <a:pt x="518" y="32"/>
                  </a:cubicBezTo>
                  <a:cubicBezTo>
                    <a:pt x="519" y="32"/>
                    <a:pt x="519" y="32"/>
                    <a:pt x="519" y="32"/>
                  </a:cubicBezTo>
                  <a:cubicBezTo>
                    <a:pt x="519" y="30"/>
                    <a:pt x="520" y="27"/>
                    <a:pt x="523" y="28"/>
                  </a:cubicBezTo>
                  <a:cubicBezTo>
                    <a:pt x="525" y="28"/>
                    <a:pt x="525" y="31"/>
                    <a:pt x="525" y="33"/>
                  </a:cubicBezTo>
                  <a:cubicBezTo>
                    <a:pt x="533" y="33"/>
                    <a:pt x="542" y="34"/>
                    <a:pt x="550" y="35"/>
                  </a:cubicBezTo>
                  <a:cubicBezTo>
                    <a:pt x="550" y="34"/>
                    <a:pt x="548" y="34"/>
                    <a:pt x="547" y="34"/>
                  </a:cubicBezTo>
                  <a:cubicBezTo>
                    <a:pt x="547" y="32"/>
                    <a:pt x="546" y="29"/>
                    <a:pt x="549" y="29"/>
                  </a:cubicBezTo>
                  <a:cubicBezTo>
                    <a:pt x="427" y="28"/>
                    <a:pt x="427" y="27"/>
                    <a:pt x="427" y="27"/>
                  </a:cubicBezTo>
                  <a:cubicBezTo>
                    <a:pt x="427" y="27"/>
                    <a:pt x="427" y="27"/>
                    <a:pt x="427" y="28"/>
                  </a:cubicBezTo>
                  <a:cubicBezTo>
                    <a:pt x="427" y="28"/>
                    <a:pt x="427" y="28"/>
                    <a:pt x="427" y="28"/>
                  </a:cubicBezTo>
                  <a:cubicBezTo>
                    <a:pt x="1067" y="1285"/>
                    <a:pt x="1067" y="1285"/>
                    <a:pt x="1067" y="1285"/>
                  </a:cubicBezTo>
                  <a:cubicBezTo>
                    <a:pt x="1068" y="1285"/>
                    <a:pt x="1068" y="1286"/>
                    <a:pt x="1068" y="1287"/>
                  </a:cubicBezTo>
                  <a:cubicBezTo>
                    <a:pt x="1062" y="1287"/>
                    <a:pt x="1062" y="1287"/>
                    <a:pt x="1062" y="1287"/>
                  </a:cubicBezTo>
                  <a:cubicBezTo>
                    <a:pt x="1045" y="1293"/>
                    <a:pt x="1029" y="1299"/>
                    <a:pt x="1012" y="1305"/>
                  </a:cubicBezTo>
                  <a:cubicBezTo>
                    <a:pt x="1033" y="1304"/>
                    <a:pt x="1033" y="1304"/>
                    <a:pt x="1033" y="1304"/>
                  </a:cubicBezTo>
                  <a:cubicBezTo>
                    <a:pt x="1045" y="1300"/>
                    <a:pt x="1057" y="1295"/>
                    <a:pt x="1070" y="1291"/>
                  </a:cubicBezTo>
                  <a:cubicBezTo>
                    <a:pt x="1074" y="1290"/>
                    <a:pt x="1072" y="1283"/>
                    <a:pt x="1067" y="1285"/>
                  </a:cubicBezTo>
                  <a:cubicBezTo>
                    <a:pt x="431" y="41"/>
                    <a:pt x="431" y="41"/>
                    <a:pt x="431" y="41"/>
                  </a:cubicBezTo>
                  <a:cubicBezTo>
                    <a:pt x="431" y="42"/>
                    <a:pt x="431" y="42"/>
                    <a:pt x="431" y="42"/>
                  </a:cubicBezTo>
                  <a:cubicBezTo>
                    <a:pt x="431" y="42"/>
                    <a:pt x="431" y="42"/>
                    <a:pt x="431" y="41"/>
                  </a:cubicBezTo>
                  <a:cubicBezTo>
                    <a:pt x="807" y="1395"/>
                    <a:pt x="807" y="1395"/>
                    <a:pt x="807" y="1395"/>
                  </a:cubicBezTo>
                  <a:cubicBezTo>
                    <a:pt x="808" y="1395"/>
                    <a:pt x="809" y="1394"/>
                    <a:pt x="809" y="1394"/>
                  </a:cubicBezTo>
                  <a:cubicBezTo>
                    <a:pt x="808" y="1394"/>
                    <a:pt x="807" y="1393"/>
                    <a:pt x="807" y="1395"/>
                  </a:cubicBezTo>
                  <a:cubicBezTo>
                    <a:pt x="715" y="1380"/>
                    <a:pt x="715" y="1380"/>
                    <a:pt x="715" y="1380"/>
                  </a:cubicBezTo>
                  <a:cubicBezTo>
                    <a:pt x="714" y="1380"/>
                    <a:pt x="714" y="1380"/>
                    <a:pt x="713" y="1380"/>
                  </a:cubicBezTo>
                  <a:cubicBezTo>
                    <a:pt x="714" y="1380"/>
                    <a:pt x="714" y="1380"/>
                    <a:pt x="715" y="1380"/>
                  </a:cubicBezTo>
                  <a:cubicBezTo>
                    <a:pt x="920" y="1390"/>
                    <a:pt x="919" y="1390"/>
                    <a:pt x="917" y="1391"/>
                  </a:cubicBezTo>
                  <a:cubicBezTo>
                    <a:pt x="917" y="1392"/>
                    <a:pt x="916" y="1394"/>
                    <a:pt x="915" y="1395"/>
                  </a:cubicBezTo>
                  <a:cubicBezTo>
                    <a:pt x="904" y="1395"/>
                    <a:pt x="904" y="1395"/>
                    <a:pt x="904" y="1395"/>
                  </a:cubicBezTo>
                  <a:cubicBezTo>
                    <a:pt x="889" y="1401"/>
                    <a:pt x="874" y="1406"/>
                    <a:pt x="859" y="1413"/>
                  </a:cubicBezTo>
                  <a:cubicBezTo>
                    <a:pt x="864" y="1413"/>
                    <a:pt x="864" y="1413"/>
                    <a:pt x="864" y="1413"/>
                  </a:cubicBezTo>
                  <a:cubicBezTo>
                    <a:pt x="863" y="1415"/>
                    <a:pt x="863" y="1417"/>
                    <a:pt x="862" y="1419"/>
                  </a:cubicBezTo>
                  <a:cubicBezTo>
                    <a:pt x="865" y="1418"/>
                    <a:pt x="868" y="1417"/>
                    <a:pt x="870" y="1415"/>
                  </a:cubicBezTo>
                  <a:cubicBezTo>
                    <a:pt x="869" y="1415"/>
                    <a:pt x="867" y="1414"/>
                    <a:pt x="865" y="1413"/>
                  </a:cubicBezTo>
                  <a:cubicBezTo>
                    <a:pt x="877" y="1413"/>
                    <a:pt x="877" y="1413"/>
                    <a:pt x="877" y="1413"/>
                  </a:cubicBezTo>
                  <a:cubicBezTo>
                    <a:pt x="893" y="1406"/>
                    <a:pt x="909" y="1400"/>
                    <a:pt x="926" y="1395"/>
                  </a:cubicBezTo>
                  <a:cubicBezTo>
                    <a:pt x="925" y="1395"/>
                    <a:pt x="925" y="1395"/>
                    <a:pt x="925" y="1395"/>
                  </a:cubicBezTo>
                  <a:cubicBezTo>
                    <a:pt x="922" y="1394"/>
                    <a:pt x="921" y="1392"/>
                    <a:pt x="921" y="1389"/>
                  </a:cubicBezTo>
                  <a:cubicBezTo>
                    <a:pt x="816" y="1383"/>
                    <a:pt x="815" y="1387"/>
                    <a:pt x="810" y="1386"/>
                  </a:cubicBezTo>
                  <a:cubicBezTo>
                    <a:pt x="810" y="1387"/>
                    <a:pt x="809" y="1387"/>
                    <a:pt x="808" y="1388"/>
                  </a:cubicBezTo>
                  <a:cubicBezTo>
                    <a:pt x="808" y="1390"/>
                    <a:pt x="812" y="1390"/>
                    <a:pt x="811" y="1393"/>
                  </a:cubicBezTo>
                  <a:cubicBezTo>
                    <a:pt x="811" y="1393"/>
                    <a:pt x="811" y="1393"/>
                    <a:pt x="811" y="1394"/>
                  </a:cubicBezTo>
                  <a:cubicBezTo>
                    <a:pt x="814" y="1392"/>
                    <a:pt x="817" y="1391"/>
                    <a:pt x="821" y="1390"/>
                  </a:cubicBezTo>
                  <a:cubicBezTo>
                    <a:pt x="820" y="1388"/>
                    <a:pt x="819" y="1387"/>
                    <a:pt x="821" y="1384"/>
                  </a:cubicBezTo>
                  <a:cubicBezTo>
                    <a:pt x="637" y="109"/>
                    <a:pt x="632" y="108"/>
                    <a:pt x="628" y="107"/>
                  </a:cubicBezTo>
                  <a:cubicBezTo>
                    <a:pt x="627" y="110"/>
                    <a:pt x="626" y="112"/>
                    <a:pt x="624" y="114"/>
                  </a:cubicBezTo>
                  <a:cubicBezTo>
                    <a:pt x="642" y="116"/>
                    <a:pt x="660" y="119"/>
                    <a:pt x="678" y="123"/>
                  </a:cubicBezTo>
                  <a:cubicBezTo>
                    <a:pt x="682" y="124"/>
                    <a:pt x="683" y="117"/>
                    <a:pt x="679" y="117"/>
                  </a:cubicBezTo>
                  <a:cubicBezTo>
                    <a:pt x="672" y="115"/>
                    <a:pt x="666" y="114"/>
                    <a:pt x="659" y="113"/>
                  </a:cubicBezTo>
                  <a:cubicBezTo>
                    <a:pt x="659" y="113"/>
                    <a:pt x="659" y="113"/>
                    <a:pt x="659" y="114"/>
                  </a:cubicBezTo>
                  <a:cubicBezTo>
                    <a:pt x="641" y="114"/>
                    <a:pt x="641" y="114"/>
                    <a:pt x="641" y="114"/>
                  </a:cubicBezTo>
                  <a:cubicBezTo>
                    <a:pt x="641" y="112"/>
                    <a:pt x="641" y="111"/>
                    <a:pt x="642" y="110"/>
                  </a:cubicBezTo>
                  <a:cubicBezTo>
                    <a:pt x="631" y="114"/>
                    <a:pt x="631" y="114"/>
                    <a:pt x="631" y="114"/>
                  </a:cubicBezTo>
                  <a:cubicBezTo>
                    <a:pt x="631" y="113"/>
                    <a:pt x="631" y="113"/>
                    <a:pt x="632" y="112"/>
                  </a:cubicBezTo>
                  <a:cubicBezTo>
                    <a:pt x="634" y="112"/>
                    <a:pt x="636" y="112"/>
                    <a:pt x="638" y="113"/>
                  </a:cubicBezTo>
                  <a:cubicBezTo>
                    <a:pt x="638" y="113"/>
                    <a:pt x="638" y="113"/>
                    <a:pt x="638" y="114"/>
                  </a:cubicBezTo>
                  <a:cubicBezTo>
                    <a:pt x="939" y="1209"/>
                    <a:pt x="938" y="1209"/>
                    <a:pt x="938" y="1210"/>
                  </a:cubicBezTo>
                  <a:cubicBezTo>
                    <a:pt x="938" y="1210"/>
                    <a:pt x="938" y="1210"/>
                    <a:pt x="938" y="1210"/>
                  </a:cubicBezTo>
                  <a:cubicBezTo>
                    <a:pt x="938" y="1210"/>
                    <a:pt x="939" y="1210"/>
                    <a:pt x="939" y="1209"/>
                  </a:cubicBezTo>
                  <a:cubicBezTo>
                    <a:pt x="946" y="1206"/>
                    <a:pt x="946" y="1206"/>
                    <a:pt x="946" y="1206"/>
                  </a:cubicBezTo>
                  <a:cubicBezTo>
                    <a:pt x="946" y="1206"/>
                    <a:pt x="946" y="1206"/>
                    <a:pt x="946" y="1206"/>
                  </a:cubicBezTo>
                  <a:cubicBezTo>
                    <a:pt x="946" y="1206"/>
                    <a:pt x="946" y="1206"/>
                    <a:pt x="946" y="1206"/>
                  </a:cubicBezTo>
                  <a:cubicBezTo>
                    <a:pt x="932" y="1205"/>
                    <a:pt x="932" y="1206"/>
                    <a:pt x="931" y="1206"/>
                  </a:cubicBezTo>
                  <a:cubicBezTo>
                    <a:pt x="932" y="1206"/>
                    <a:pt x="932" y="1206"/>
                    <a:pt x="932" y="1206"/>
                  </a:cubicBezTo>
                  <a:cubicBezTo>
                    <a:pt x="932" y="1206"/>
                    <a:pt x="932" y="1205"/>
                    <a:pt x="933" y="1205"/>
                  </a:cubicBezTo>
                  <a:cubicBezTo>
                    <a:pt x="1007" y="1164"/>
                    <a:pt x="1003" y="1167"/>
                    <a:pt x="999" y="1169"/>
                  </a:cubicBezTo>
                  <a:cubicBezTo>
                    <a:pt x="995" y="1173"/>
                    <a:pt x="991" y="1178"/>
                    <a:pt x="984" y="1179"/>
                  </a:cubicBezTo>
                  <a:cubicBezTo>
                    <a:pt x="984" y="1178"/>
                    <a:pt x="984" y="1178"/>
                    <a:pt x="984" y="1178"/>
                  </a:cubicBezTo>
                  <a:cubicBezTo>
                    <a:pt x="982" y="1179"/>
                    <a:pt x="981" y="1179"/>
                    <a:pt x="980" y="1180"/>
                  </a:cubicBezTo>
                  <a:cubicBezTo>
                    <a:pt x="980" y="1180"/>
                    <a:pt x="980" y="1180"/>
                    <a:pt x="980" y="1181"/>
                  </a:cubicBezTo>
                  <a:cubicBezTo>
                    <a:pt x="979" y="1181"/>
                    <a:pt x="979" y="1181"/>
                    <a:pt x="979" y="1181"/>
                  </a:cubicBezTo>
                  <a:cubicBezTo>
                    <a:pt x="968" y="1187"/>
                    <a:pt x="958" y="1192"/>
                    <a:pt x="947" y="1198"/>
                  </a:cubicBezTo>
                  <a:cubicBezTo>
                    <a:pt x="958" y="1198"/>
                    <a:pt x="958" y="1198"/>
                    <a:pt x="958" y="1198"/>
                  </a:cubicBezTo>
                  <a:cubicBezTo>
                    <a:pt x="959" y="1199"/>
                    <a:pt x="958" y="1199"/>
                    <a:pt x="958" y="1200"/>
                  </a:cubicBezTo>
                  <a:cubicBezTo>
                    <a:pt x="978" y="1189"/>
                    <a:pt x="998" y="1178"/>
                    <a:pt x="1017" y="1166"/>
                  </a:cubicBezTo>
                  <a:cubicBezTo>
                    <a:pt x="1014" y="1166"/>
                    <a:pt x="1013" y="1163"/>
                    <a:pt x="1010" y="1162"/>
                  </a:cubicBezTo>
                  <a:cubicBezTo>
                    <a:pt x="276" y="973"/>
                    <a:pt x="276" y="973"/>
                    <a:pt x="276" y="973"/>
                  </a:cubicBezTo>
                  <a:cubicBezTo>
                    <a:pt x="280" y="1003"/>
                    <a:pt x="285" y="1032"/>
                    <a:pt x="292" y="1061"/>
                  </a:cubicBezTo>
                  <a:cubicBezTo>
                    <a:pt x="296" y="1061"/>
                    <a:pt x="296" y="1061"/>
                    <a:pt x="296" y="1061"/>
                  </a:cubicBezTo>
                  <a:cubicBezTo>
                    <a:pt x="300" y="1063"/>
                    <a:pt x="301" y="1068"/>
                    <a:pt x="301" y="1074"/>
                  </a:cubicBezTo>
                  <a:cubicBezTo>
                    <a:pt x="299" y="1075"/>
                    <a:pt x="297" y="1075"/>
                    <a:pt x="296" y="1075"/>
                  </a:cubicBezTo>
                  <a:cubicBezTo>
                    <a:pt x="297" y="1078"/>
                    <a:pt x="297" y="1080"/>
                    <a:pt x="298" y="1083"/>
                  </a:cubicBezTo>
                  <a:cubicBezTo>
                    <a:pt x="299" y="1088"/>
                    <a:pt x="301" y="1092"/>
                    <a:pt x="302" y="1097"/>
                  </a:cubicBezTo>
                  <a:cubicBezTo>
                    <a:pt x="309" y="1097"/>
                    <a:pt x="309" y="1097"/>
                    <a:pt x="309" y="1097"/>
                  </a:cubicBezTo>
                  <a:cubicBezTo>
                    <a:pt x="307" y="1089"/>
                    <a:pt x="305" y="1082"/>
                    <a:pt x="303" y="1075"/>
                  </a:cubicBezTo>
                  <a:cubicBezTo>
                    <a:pt x="302" y="1074"/>
                    <a:pt x="301" y="1073"/>
                    <a:pt x="302" y="1072"/>
                  </a:cubicBezTo>
                  <a:cubicBezTo>
                    <a:pt x="299" y="1061"/>
                    <a:pt x="297" y="1050"/>
                    <a:pt x="294" y="1039"/>
                  </a:cubicBezTo>
                  <a:cubicBezTo>
                    <a:pt x="288" y="1037"/>
                    <a:pt x="290" y="1031"/>
                    <a:pt x="287" y="1027"/>
                  </a:cubicBezTo>
                  <a:cubicBezTo>
                    <a:pt x="288" y="1027"/>
                    <a:pt x="290" y="1026"/>
                    <a:pt x="291" y="1026"/>
                  </a:cubicBezTo>
                  <a:cubicBezTo>
                    <a:pt x="291" y="1026"/>
                    <a:pt x="291" y="1026"/>
                    <a:pt x="291" y="1026"/>
                  </a:cubicBezTo>
                  <a:cubicBezTo>
                    <a:pt x="290" y="1020"/>
                    <a:pt x="289" y="1014"/>
                    <a:pt x="288" y="1008"/>
                  </a:cubicBezTo>
                  <a:cubicBezTo>
                    <a:pt x="285" y="1008"/>
                    <a:pt x="285" y="1008"/>
                    <a:pt x="285" y="1008"/>
                  </a:cubicBezTo>
                  <a:cubicBezTo>
                    <a:pt x="285" y="1007"/>
                    <a:pt x="284" y="1006"/>
                    <a:pt x="284" y="1005"/>
                  </a:cubicBezTo>
                  <a:cubicBezTo>
                    <a:pt x="286" y="1005"/>
                    <a:pt x="286" y="1005"/>
                    <a:pt x="288" y="1005"/>
                  </a:cubicBezTo>
                  <a:cubicBezTo>
                    <a:pt x="286" y="993"/>
                    <a:pt x="284" y="981"/>
                    <a:pt x="283" y="970"/>
                  </a:cubicBezTo>
                  <a:cubicBezTo>
                    <a:pt x="281" y="970"/>
                    <a:pt x="281" y="971"/>
                    <a:pt x="281" y="973"/>
                  </a:cubicBezTo>
                  <a:cubicBezTo>
                    <a:pt x="377" y="1191"/>
                    <a:pt x="373" y="1189"/>
                    <a:pt x="369" y="1186"/>
                  </a:cubicBezTo>
                  <a:cubicBezTo>
                    <a:pt x="359" y="1186"/>
                    <a:pt x="359" y="1186"/>
                    <a:pt x="359" y="1186"/>
                  </a:cubicBezTo>
                  <a:cubicBezTo>
                    <a:pt x="365" y="1191"/>
                    <a:pt x="372" y="1196"/>
                    <a:pt x="378" y="1200"/>
                  </a:cubicBezTo>
                  <a:cubicBezTo>
                    <a:pt x="380" y="1201"/>
                    <a:pt x="381" y="1202"/>
                    <a:pt x="382" y="1203"/>
                  </a:cubicBezTo>
                  <a:cubicBezTo>
                    <a:pt x="388" y="1203"/>
                    <a:pt x="388" y="1203"/>
                    <a:pt x="388" y="1203"/>
                  </a:cubicBezTo>
                  <a:cubicBezTo>
                    <a:pt x="389" y="1204"/>
                    <a:pt x="389" y="1205"/>
                    <a:pt x="388" y="1206"/>
                  </a:cubicBezTo>
                  <a:cubicBezTo>
                    <a:pt x="391" y="1208"/>
                    <a:pt x="392" y="1205"/>
                    <a:pt x="394" y="1205"/>
                  </a:cubicBezTo>
                  <a:cubicBezTo>
                    <a:pt x="393" y="1204"/>
                    <a:pt x="392" y="1203"/>
                    <a:pt x="392" y="1203"/>
                  </a:cubicBezTo>
                  <a:cubicBezTo>
                    <a:pt x="395" y="1203"/>
                    <a:pt x="395" y="1203"/>
                    <a:pt x="395" y="1203"/>
                  </a:cubicBezTo>
                  <a:cubicBezTo>
                    <a:pt x="390" y="1200"/>
                    <a:pt x="385" y="1197"/>
                    <a:pt x="380" y="1194"/>
                  </a:cubicBezTo>
                  <a:cubicBezTo>
                    <a:pt x="1121" y="1090"/>
                    <a:pt x="1121" y="1090"/>
                    <a:pt x="1121" y="1090"/>
                  </a:cubicBezTo>
                  <a:cubicBezTo>
                    <a:pt x="1127" y="1084"/>
                    <a:pt x="1133" y="1078"/>
                    <a:pt x="1139" y="1072"/>
                  </a:cubicBezTo>
                  <a:cubicBezTo>
                    <a:pt x="1129" y="1072"/>
                    <a:pt x="1129" y="1072"/>
                    <a:pt x="1129" y="1072"/>
                  </a:cubicBezTo>
                  <a:cubicBezTo>
                    <a:pt x="1124" y="1078"/>
                    <a:pt x="1117" y="1084"/>
                    <a:pt x="1111" y="1090"/>
                  </a:cubicBezTo>
                  <a:cubicBezTo>
                    <a:pt x="279" y="1069"/>
                    <a:pt x="279" y="1069"/>
                    <a:pt x="279" y="1069"/>
                  </a:cubicBezTo>
                  <a:cubicBezTo>
                    <a:pt x="276" y="1068"/>
                    <a:pt x="273" y="1066"/>
                    <a:pt x="272" y="1064"/>
                  </a:cubicBezTo>
                  <a:cubicBezTo>
                    <a:pt x="274" y="1075"/>
                    <a:pt x="277" y="1086"/>
                    <a:pt x="280" y="1097"/>
                  </a:cubicBezTo>
                  <a:cubicBezTo>
                    <a:pt x="286" y="1097"/>
                    <a:pt x="286" y="1097"/>
                    <a:pt x="286" y="1097"/>
                  </a:cubicBezTo>
                  <a:cubicBezTo>
                    <a:pt x="284" y="1087"/>
                    <a:pt x="281" y="1078"/>
                    <a:pt x="279" y="1069"/>
                  </a:cubicBezTo>
                  <a:cubicBezTo>
                    <a:pt x="354" y="172"/>
                    <a:pt x="354" y="174"/>
                    <a:pt x="354" y="176"/>
                  </a:cubicBezTo>
                  <a:cubicBezTo>
                    <a:pt x="357" y="173"/>
                    <a:pt x="360" y="175"/>
                    <a:pt x="361" y="177"/>
                  </a:cubicBezTo>
                  <a:cubicBezTo>
                    <a:pt x="362" y="177"/>
                    <a:pt x="363" y="177"/>
                    <a:pt x="365" y="177"/>
                  </a:cubicBezTo>
                  <a:cubicBezTo>
                    <a:pt x="367" y="176"/>
                    <a:pt x="369" y="175"/>
                    <a:pt x="370" y="173"/>
                  </a:cubicBezTo>
                  <a:cubicBezTo>
                    <a:pt x="369" y="172"/>
                    <a:pt x="367" y="171"/>
                    <a:pt x="366" y="170"/>
                  </a:cubicBezTo>
                  <a:cubicBezTo>
                    <a:pt x="362" y="170"/>
                    <a:pt x="358" y="171"/>
                    <a:pt x="354" y="171"/>
                  </a:cubicBezTo>
                  <a:cubicBezTo>
                    <a:pt x="212" y="1241"/>
                    <a:pt x="212" y="1241"/>
                    <a:pt x="211" y="1241"/>
                  </a:cubicBezTo>
                  <a:cubicBezTo>
                    <a:pt x="211" y="1241"/>
                    <a:pt x="211" y="1241"/>
                    <a:pt x="211" y="1242"/>
                  </a:cubicBezTo>
                  <a:cubicBezTo>
                    <a:pt x="211" y="1241"/>
                    <a:pt x="212" y="1241"/>
                    <a:pt x="212" y="1241"/>
                  </a:cubicBezTo>
                  <a:cubicBezTo>
                    <a:pt x="345" y="1123"/>
                    <a:pt x="338" y="1113"/>
                    <a:pt x="332" y="1103"/>
                  </a:cubicBezTo>
                  <a:cubicBezTo>
                    <a:pt x="331" y="1103"/>
                    <a:pt x="329" y="1103"/>
                    <a:pt x="328" y="1103"/>
                  </a:cubicBezTo>
                  <a:cubicBezTo>
                    <a:pt x="327" y="1102"/>
                    <a:pt x="327" y="1098"/>
                    <a:pt x="328" y="1097"/>
                  </a:cubicBezTo>
                  <a:cubicBezTo>
                    <a:pt x="323" y="1088"/>
                    <a:pt x="319" y="1079"/>
                    <a:pt x="316" y="1071"/>
                  </a:cubicBezTo>
                  <a:cubicBezTo>
                    <a:pt x="316" y="1074"/>
                    <a:pt x="315" y="1076"/>
                    <a:pt x="314" y="1078"/>
                  </a:cubicBezTo>
                  <a:cubicBezTo>
                    <a:pt x="311" y="1078"/>
                    <a:pt x="310" y="1076"/>
                    <a:pt x="309" y="1076"/>
                  </a:cubicBezTo>
                  <a:cubicBezTo>
                    <a:pt x="311" y="1085"/>
                    <a:pt x="314" y="1093"/>
                    <a:pt x="317" y="1102"/>
                  </a:cubicBezTo>
                  <a:cubicBezTo>
                    <a:pt x="322" y="1117"/>
                    <a:pt x="327" y="1133"/>
                    <a:pt x="333" y="1148"/>
                  </a:cubicBezTo>
                  <a:cubicBezTo>
                    <a:pt x="334" y="1147"/>
                    <a:pt x="336" y="1147"/>
                    <a:pt x="336" y="1146"/>
                  </a:cubicBezTo>
                  <a:cubicBezTo>
                    <a:pt x="335" y="1148"/>
                    <a:pt x="336" y="1149"/>
                    <a:pt x="336" y="1150"/>
                  </a:cubicBezTo>
                  <a:cubicBezTo>
                    <a:pt x="334" y="1150"/>
                    <a:pt x="334" y="1150"/>
                    <a:pt x="334" y="1150"/>
                  </a:cubicBezTo>
                  <a:cubicBezTo>
                    <a:pt x="334" y="1151"/>
                    <a:pt x="334" y="1152"/>
                    <a:pt x="335" y="1153"/>
                  </a:cubicBezTo>
                  <a:cubicBezTo>
                    <a:pt x="340" y="1166"/>
                    <a:pt x="347" y="1179"/>
                    <a:pt x="349" y="1194"/>
                  </a:cubicBezTo>
                  <a:cubicBezTo>
                    <a:pt x="349" y="1197"/>
                    <a:pt x="349" y="1200"/>
                    <a:pt x="348" y="1203"/>
                  </a:cubicBezTo>
                  <a:cubicBezTo>
                    <a:pt x="355" y="1203"/>
                    <a:pt x="355" y="1203"/>
                    <a:pt x="355" y="1203"/>
                  </a:cubicBezTo>
                  <a:cubicBezTo>
                    <a:pt x="355" y="1202"/>
                    <a:pt x="355" y="1201"/>
                    <a:pt x="355" y="1200"/>
                  </a:cubicBezTo>
                  <a:cubicBezTo>
                    <a:pt x="356" y="1195"/>
                    <a:pt x="355" y="1190"/>
                    <a:pt x="354" y="1186"/>
                  </a:cubicBezTo>
                  <a:cubicBezTo>
                    <a:pt x="348" y="1186"/>
                    <a:pt x="348" y="1186"/>
                    <a:pt x="348" y="1186"/>
                  </a:cubicBezTo>
                  <a:cubicBezTo>
                    <a:pt x="350" y="1185"/>
                    <a:pt x="353" y="1185"/>
                    <a:pt x="354" y="1183"/>
                  </a:cubicBezTo>
                  <a:cubicBezTo>
                    <a:pt x="354" y="1183"/>
                    <a:pt x="354" y="1182"/>
                    <a:pt x="353" y="1182"/>
                  </a:cubicBezTo>
                  <a:cubicBezTo>
                    <a:pt x="351" y="1182"/>
                    <a:pt x="354" y="1178"/>
                    <a:pt x="354" y="1176"/>
                  </a:cubicBezTo>
                  <a:cubicBezTo>
                    <a:pt x="359" y="1176"/>
                    <a:pt x="355" y="1180"/>
                    <a:pt x="361" y="1180"/>
                  </a:cubicBezTo>
                  <a:cubicBezTo>
                    <a:pt x="361" y="1180"/>
                    <a:pt x="361" y="1179"/>
                    <a:pt x="361" y="1179"/>
                  </a:cubicBezTo>
                  <a:cubicBezTo>
                    <a:pt x="356" y="1175"/>
                    <a:pt x="351" y="1169"/>
                    <a:pt x="347" y="1164"/>
                  </a:cubicBezTo>
                  <a:cubicBezTo>
                    <a:pt x="347" y="1163"/>
                    <a:pt x="347" y="1163"/>
                    <a:pt x="346" y="1163"/>
                  </a:cubicBezTo>
                  <a:cubicBezTo>
                    <a:pt x="340" y="1147"/>
                    <a:pt x="334" y="1131"/>
                    <a:pt x="328" y="1115"/>
                  </a:cubicBezTo>
                  <a:cubicBezTo>
                    <a:pt x="324" y="1115"/>
                    <a:pt x="324" y="1115"/>
                    <a:pt x="324" y="1115"/>
                  </a:cubicBezTo>
                  <a:cubicBezTo>
                    <a:pt x="325" y="1114"/>
                    <a:pt x="326" y="1113"/>
                    <a:pt x="327" y="1112"/>
                  </a:cubicBezTo>
                  <a:cubicBezTo>
                    <a:pt x="327" y="1112"/>
                    <a:pt x="327" y="1112"/>
                    <a:pt x="327" y="1112"/>
                  </a:cubicBezTo>
                  <a:cubicBezTo>
                    <a:pt x="327" y="1112"/>
                    <a:pt x="327" y="1112"/>
                    <a:pt x="327" y="1112"/>
                  </a:cubicBezTo>
                  <a:cubicBezTo>
                    <a:pt x="327" y="1111"/>
                    <a:pt x="326" y="1110"/>
                    <a:pt x="326" y="1109"/>
                  </a:cubicBezTo>
                  <a:cubicBezTo>
                    <a:pt x="327" y="1110"/>
                    <a:pt x="327" y="1111"/>
                    <a:pt x="328" y="1112"/>
                  </a:cubicBezTo>
                  <a:cubicBezTo>
                    <a:pt x="329" y="1111"/>
                    <a:pt x="330" y="1111"/>
                    <a:pt x="331" y="1110"/>
                  </a:cubicBezTo>
                  <a:cubicBezTo>
                    <a:pt x="333" y="1111"/>
                    <a:pt x="334" y="1113"/>
                    <a:pt x="335" y="1115"/>
                  </a:cubicBezTo>
                  <a:cubicBezTo>
                    <a:pt x="330" y="1115"/>
                    <a:pt x="330" y="1115"/>
                    <a:pt x="330" y="1115"/>
                  </a:cubicBezTo>
                  <a:cubicBezTo>
                    <a:pt x="343" y="1135"/>
                    <a:pt x="359" y="1153"/>
                    <a:pt x="377" y="1169"/>
                  </a:cubicBezTo>
                  <a:cubicBezTo>
                    <a:pt x="378" y="1168"/>
                    <a:pt x="378" y="1168"/>
                    <a:pt x="379" y="1167"/>
                  </a:cubicBezTo>
                  <a:cubicBezTo>
                    <a:pt x="385" y="1167"/>
                    <a:pt x="385" y="1167"/>
                    <a:pt x="385" y="1167"/>
                  </a:cubicBezTo>
                  <a:cubicBezTo>
                    <a:pt x="373" y="1157"/>
                    <a:pt x="362" y="1145"/>
                    <a:pt x="351" y="1132"/>
                  </a:cubicBezTo>
                  <a:cubicBezTo>
                    <a:pt x="267" y="1132"/>
                    <a:pt x="267" y="1132"/>
                    <a:pt x="267" y="1133"/>
                  </a:cubicBezTo>
                  <a:cubicBezTo>
                    <a:pt x="274" y="1133"/>
                    <a:pt x="274" y="1133"/>
                    <a:pt x="274" y="1133"/>
                  </a:cubicBezTo>
                  <a:cubicBezTo>
                    <a:pt x="271" y="1114"/>
                    <a:pt x="265" y="1097"/>
                    <a:pt x="262" y="1079"/>
                  </a:cubicBezTo>
                  <a:cubicBezTo>
                    <a:pt x="261" y="1079"/>
                    <a:pt x="260" y="1079"/>
                    <a:pt x="260" y="1079"/>
                  </a:cubicBezTo>
                  <a:cubicBezTo>
                    <a:pt x="259" y="1079"/>
                    <a:pt x="259" y="1079"/>
                    <a:pt x="259" y="1079"/>
                  </a:cubicBezTo>
                  <a:cubicBezTo>
                    <a:pt x="259" y="1080"/>
                    <a:pt x="258" y="1080"/>
                    <a:pt x="257" y="1080"/>
                  </a:cubicBezTo>
                  <a:cubicBezTo>
                    <a:pt x="256" y="1080"/>
                    <a:pt x="256" y="1080"/>
                    <a:pt x="256" y="1080"/>
                  </a:cubicBezTo>
                  <a:cubicBezTo>
                    <a:pt x="259" y="1091"/>
                    <a:pt x="261" y="1103"/>
                    <a:pt x="263" y="1114"/>
                  </a:cubicBezTo>
                  <a:cubicBezTo>
                    <a:pt x="264" y="1115"/>
                    <a:pt x="264" y="1115"/>
                    <a:pt x="264" y="1115"/>
                  </a:cubicBezTo>
                  <a:cubicBezTo>
                    <a:pt x="264" y="1115"/>
                    <a:pt x="264" y="1115"/>
                    <a:pt x="264" y="1115"/>
                  </a:cubicBezTo>
                  <a:cubicBezTo>
                    <a:pt x="265" y="1121"/>
                    <a:pt x="266" y="1126"/>
                    <a:pt x="267" y="1132"/>
                  </a:cubicBezTo>
                  <a:cubicBezTo>
                    <a:pt x="333" y="1169"/>
                    <a:pt x="333" y="1167"/>
                    <a:pt x="332" y="1166"/>
                  </a:cubicBezTo>
                  <a:cubicBezTo>
                    <a:pt x="325" y="1144"/>
                    <a:pt x="317" y="1121"/>
                    <a:pt x="310" y="1099"/>
                  </a:cubicBezTo>
                  <a:cubicBezTo>
                    <a:pt x="310" y="1099"/>
                    <a:pt x="310" y="1099"/>
                    <a:pt x="310" y="1100"/>
                  </a:cubicBezTo>
                  <a:cubicBezTo>
                    <a:pt x="309" y="1100"/>
                    <a:pt x="309" y="1100"/>
                    <a:pt x="308" y="1100"/>
                  </a:cubicBezTo>
                  <a:cubicBezTo>
                    <a:pt x="308" y="1100"/>
                    <a:pt x="308" y="1101"/>
                    <a:pt x="308" y="1101"/>
                  </a:cubicBezTo>
                  <a:cubicBezTo>
                    <a:pt x="306" y="1102"/>
                    <a:pt x="305" y="1103"/>
                    <a:pt x="304" y="1104"/>
                  </a:cubicBezTo>
                  <a:cubicBezTo>
                    <a:pt x="309" y="1121"/>
                    <a:pt x="315" y="1137"/>
                    <a:pt x="320" y="1154"/>
                  </a:cubicBezTo>
                  <a:cubicBezTo>
                    <a:pt x="324" y="1163"/>
                    <a:pt x="327" y="1172"/>
                    <a:pt x="329" y="1181"/>
                  </a:cubicBezTo>
                  <a:cubicBezTo>
                    <a:pt x="329" y="1181"/>
                    <a:pt x="329" y="1180"/>
                    <a:pt x="330" y="1180"/>
                  </a:cubicBezTo>
                  <a:cubicBezTo>
                    <a:pt x="333" y="1180"/>
                    <a:pt x="334" y="1182"/>
                    <a:pt x="336" y="1181"/>
                  </a:cubicBezTo>
                  <a:cubicBezTo>
                    <a:pt x="336" y="1180"/>
                    <a:pt x="335" y="1178"/>
                    <a:pt x="335" y="1176"/>
                  </a:cubicBezTo>
                  <a:cubicBezTo>
                    <a:pt x="334" y="1177"/>
                    <a:pt x="333" y="1178"/>
                    <a:pt x="330" y="1177"/>
                  </a:cubicBezTo>
                  <a:cubicBezTo>
                    <a:pt x="331" y="1175"/>
                    <a:pt x="332" y="1172"/>
                    <a:pt x="333" y="1170"/>
                  </a:cubicBezTo>
                  <a:cubicBezTo>
                    <a:pt x="174" y="1169"/>
                    <a:pt x="174" y="1169"/>
                    <a:pt x="174" y="1169"/>
                  </a:cubicBezTo>
                  <a:cubicBezTo>
                    <a:pt x="181" y="1169"/>
                    <a:pt x="181" y="1169"/>
                    <a:pt x="181" y="1169"/>
                  </a:cubicBezTo>
                  <a:cubicBezTo>
                    <a:pt x="194" y="1148"/>
                    <a:pt x="204" y="1125"/>
                    <a:pt x="211" y="1100"/>
                  </a:cubicBezTo>
                  <a:cubicBezTo>
                    <a:pt x="208" y="1100"/>
                    <a:pt x="206" y="1101"/>
                    <a:pt x="204" y="1100"/>
                  </a:cubicBezTo>
                  <a:cubicBezTo>
                    <a:pt x="204" y="1101"/>
                    <a:pt x="203" y="1102"/>
                    <a:pt x="203" y="1103"/>
                  </a:cubicBezTo>
                  <a:cubicBezTo>
                    <a:pt x="203" y="1103"/>
                    <a:pt x="204" y="1103"/>
                    <a:pt x="204" y="1104"/>
                  </a:cubicBezTo>
                  <a:cubicBezTo>
                    <a:pt x="204" y="1104"/>
                    <a:pt x="203" y="1105"/>
                    <a:pt x="203" y="1105"/>
                  </a:cubicBezTo>
                  <a:cubicBezTo>
                    <a:pt x="205" y="1105"/>
                    <a:pt x="208" y="1106"/>
                    <a:pt x="207" y="1108"/>
                  </a:cubicBezTo>
                  <a:cubicBezTo>
                    <a:pt x="205" y="1109"/>
                    <a:pt x="205" y="1111"/>
                    <a:pt x="201" y="1110"/>
                  </a:cubicBezTo>
                  <a:cubicBezTo>
                    <a:pt x="201" y="1110"/>
                    <a:pt x="201" y="1110"/>
                    <a:pt x="201" y="1110"/>
                  </a:cubicBezTo>
                  <a:cubicBezTo>
                    <a:pt x="196" y="1123"/>
                    <a:pt x="191" y="1136"/>
                    <a:pt x="185" y="1148"/>
                  </a:cubicBezTo>
                  <a:cubicBezTo>
                    <a:pt x="186" y="1149"/>
                    <a:pt x="187" y="1150"/>
                    <a:pt x="187" y="1152"/>
                  </a:cubicBezTo>
                  <a:cubicBezTo>
                    <a:pt x="183" y="1152"/>
                    <a:pt x="183" y="1152"/>
                    <a:pt x="183" y="1152"/>
                  </a:cubicBezTo>
                  <a:cubicBezTo>
                    <a:pt x="178" y="1161"/>
                    <a:pt x="173" y="1169"/>
                    <a:pt x="167" y="1178"/>
                  </a:cubicBezTo>
                  <a:cubicBezTo>
                    <a:pt x="165" y="1181"/>
                    <a:pt x="170" y="1186"/>
                    <a:pt x="172" y="1182"/>
                  </a:cubicBezTo>
                  <a:cubicBezTo>
                    <a:pt x="175" y="1179"/>
                    <a:pt x="177" y="1175"/>
                    <a:pt x="179" y="1172"/>
                  </a:cubicBezTo>
                  <a:cubicBezTo>
                    <a:pt x="177" y="1171"/>
                    <a:pt x="175" y="1171"/>
                    <a:pt x="174" y="1170"/>
                  </a:cubicBezTo>
                  <a:cubicBezTo>
                    <a:pt x="412" y="206"/>
                    <a:pt x="412" y="206"/>
                    <a:pt x="412" y="206"/>
                  </a:cubicBezTo>
                  <a:cubicBezTo>
                    <a:pt x="412" y="206"/>
                    <a:pt x="412" y="206"/>
                    <a:pt x="412" y="206"/>
                  </a:cubicBezTo>
                  <a:cubicBezTo>
                    <a:pt x="412" y="206"/>
                    <a:pt x="412" y="206"/>
                    <a:pt x="412" y="206"/>
                  </a:cubicBezTo>
                  <a:cubicBezTo>
                    <a:pt x="143" y="288"/>
                    <a:pt x="143" y="288"/>
                    <a:pt x="143" y="288"/>
                  </a:cubicBezTo>
                  <a:cubicBezTo>
                    <a:pt x="143" y="288"/>
                    <a:pt x="143" y="288"/>
                    <a:pt x="143" y="288"/>
                  </a:cubicBezTo>
                  <a:cubicBezTo>
                    <a:pt x="143" y="288"/>
                    <a:pt x="143" y="288"/>
                    <a:pt x="143" y="288"/>
                  </a:cubicBezTo>
                  <a:cubicBezTo>
                    <a:pt x="88" y="296"/>
                    <a:pt x="88" y="296"/>
                    <a:pt x="88" y="297"/>
                  </a:cubicBezTo>
                  <a:cubicBezTo>
                    <a:pt x="83" y="297"/>
                    <a:pt x="83" y="297"/>
                    <a:pt x="83" y="297"/>
                  </a:cubicBezTo>
                  <a:cubicBezTo>
                    <a:pt x="76" y="303"/>
                    <a:pt x="68" y="309"/>
                    <a:pt x="61" y="314"/>
                  </a:cubicBezTo>
                  <a:cubicBezTo>
                    <a:pt x="72" y="314"/>
                    <a:pt x="72" y="314"/>
                    <a:pt x="72" y="314"/>
                  </a:cubicBezTo>
                  <a:cubicBezTo>
                    <a:pt x="79" y="308"/>
                    <a:pt x="87" y="303"/>
                    <a:pt x="95" y="297"/>
                  </a:cubicBezTo>
                  <a:cubicBezTo>
                    <a:pt x="93" y="297"/>
                    <a:pt x="93" y="297"/>
                    <a:pt x="93" y="297"/>
                  </a:cubicBezTo>
                  <a:cubicBezTo>
                    <a:pt x="91" y="296"/>
                    <a:pt x="90" y="296"/>
                    <a:pt x="88" y="295"/>
                  </a:cubicBezTo>
                  <a:cubicBezTo>
                    <a:pt x="293" y="1123"/>
                    <a:pt x="290" y="1112"/>
                    <a:pt x="287" y="1101"/>
                  </a:cubicBezTo>
                  <a:cubicBezTo>
                    <a:pt x="286" y="1102"/>
                    <a:pt x="285" y="1103"/>
                    <a:pt x="283" y="1104"/>
                  </a:cubicBezTo>
                  <a:cubicBezTo>
                    <a:pt x="283" y="1104"/>
                    <a:pt x="283" y="1105"/>
                    <a:pt x="283" y="1106"/>
                  </a:cubicBezTo>
                  <a:cubicBezTo>
                    <a:pt x="283" y="1106"/>
                    <a:pt x="282" y="1106"/>
                    <a:pt x="282" y="1106"/>
                  </a:cubicBezTo>
                  <a:cubicBezTo>
                    <a:pt x="282" y="1108"/>
                    <a:pt x="283" y="1110"/>
                    <a:pt x="283" y="1112"/>
                  </a:cubicBezTo>
                  <a:cubicBezTo>
                    <a:pt x="284" y="1112"/>
                    <a:pt x="285" y="1112"/>
                    <a:pt x="286" y="1112"/>
                  </a:cubicBezTo>
                  <a:cubicBezTo>
                    <a:pt x="286" y="1113"/>
                    <a:pt x="286" y="1114"/>
                    <a:pt x="286" y="1115"/>
                  </a:cubicBezTo>
                  <a:cubicBezTo>
                    <a:pt x="284" y="1115"/>
                    <a:pt x="284" y="1115"/>
                    <a:pt x="284" y="1115"/>
                  </a:cubicBezTo>
                  <a:cubicBezTo>
                    <a:pt x="285" y="1121"/>
                    <a:pt x="286" y="1127"/>
                    <a:pt x="288" y="1133"/>
                  </a:cubicBezTo>
                  <a:cubicBezTo>
                    <a:pt x="292" y="1132"/>
                    <a:pt x="292" y="1132"/>
                    <a:pt x="292" y="1132"/>
                  </a:cubicBezTo>
                  <a:cubicBezTo>
                    <a:pt x="293" y="1134"/>
                    <a:pt x="293" y="1136"/>
                    <a:pt x="291" y="1138"/>
                  </a:cubicBezTo>
                  <a:cubicBezTo>
                    <a:pt x="290" y="1138"/>
                    <a:pt x="289" y="1138"/>
                    <a:pt x="289" y="1138"/>
                  </a:cubicBezTo>
                  <a:cubicBezTo>
                    <a:pt x="290" y="1146"/>
                    <a:pt x="292" y="1153"/>
                    <a:pt x="293" y="1161"/>
                  </a:cubicBezTo>
                  <a:cubicBezTo>
                    <a:pt x="293" y="1163"/>
                    <a:pt x="294" y="1166"/>
                    <a:pt x="294" y="1168"/>
                  </a:cubicBezTo>
                  <a:cubicBezTo>
                    <a:pt x="294" y="1168"/>
                    <a:pt x="294" y="1168"/>
                    <a:pt x="294" y="1168"/>
                  </a:cubicBezTo>
                  <a:cubicBezTo>
                    <a:pt x="294" y="1168"/>
                    <a:pt x="294" y="1168"/>
                    <a:pt x="294" y="1168"/>
                  </a:cubicBezTo>
                  <a:cubicBezTo>
                    <a:pt x="294" y="1170"/>
                    <a:pt x="294" y="1171"/>
                    <a:pt x="294" y="1172"/>
                  </a:cubicBezTo>
                  <a:cubicBezTo>
                    <a:pt x="296" y="1172"/>
                    <a:pt x="299" y="1172"/>
                    <a:pt x="302" y="1173"/>
                  </a:cubicBezTo>
                  <a:cubicBezTo>
                    <a:pt x="301" y="1161"/>
                    <a:pt x="299" y="1150"/>
                    <a:pt x="297" y="1139"/>
                  </a:cubicBezTo>
                  <a:cubicBezTo>
                    <a:pt x="296" y="1139"/>
                    <a:pt x="295" y="1139"/>
                    <a:pt x="294" y="1139"/>
                  </a:cubicBezTo>
                  <a:cubicBezTo>
                    <a:pt x="295" y="1137"/>
                    <a:pt x="293" y="1136"/>
                    <a:pt x="294" y="1135"/>
                  </a:cubicBezTo>
                  <a:cubicBezTo>
                    <a:pt x="294" y="1135"/>
                    <a:pt x="295" y="1135"/>
                    <a:pt x="296" y="1134"/>
                  </a:cubicBezTo>
                  <a:cubicBezTo>
                    <a:pt x="705" y="243"/>
                    <a:pt x="707" y="244"/>
                    <a:pt x="708" y="247"/>
                  </a:cubicBezTo>
                  <a:cubicBezTo>
                    <a:pt x="709" y="247"/>
                    <a:pt x="710" y="247"/>
                    <a:pt x="710" y="247"/>
                  </a:cubicBezTo>
                  <a:cubicBezTo>
                    <a:pt x="711" y="246"/>
                    <a:pt x="711" y="245"/>
                    <a:pt x="712" y="245"/>
                  </a:cubicBezTo>
                  <a:cubicBezTo>
                    <a:pt x="711" y="243"/>
                    <a:pt x="710" y="242"/>
                    <a:pt x="708" y="241"/>
                  </a:cubicBezTo>
                  <a:cubicBezTo>
                    <a:pt x="707" y="241"/>
                    <a:pt x="706" y="241"/>
                    <a:pt x="705" y="241"/>
                  </a:cubicBezTo>
                  <a:cubicBezTo>
                    <a:pt x="661" y="292"/>
                    <a:pt x="661" y="292"/>
                    <a:pt x="661" y="292"/>
                  </a:cubicBezTo>
                  <a:cubicBezTo>
                    <a:pt x="661" y="291"/>
                    <a:pt x="661" y="291"/>
                    <a:pt x="661" y="290"/>
                  </a:cubicBezTo>
                  <a:cubicBezTo>
                    <a:pt x="660" y="290"/>
                    <a:pt x="660" y="290"/>
                    <a:pt x="660" y="290"/>
                  </a:cubicBezTo>
                  <a:cubicBezTo>
                    <a:pt x="660" y="291"/>
                    <a:pt x="660" y="291"/>
                    <a:pt x="660" y="292"/>
                  </a:cubicBezTo>
                  <a:cubicBezTo>
                    <a:pt x="657" y="292"/>
                    <a:pt x="657" y="292"/>
                    <a:pt x="657" y="292"/>
                  </a:cubicBezTo>
                  <a:cubicBezTo>
                    <a:pt x="657" y="291"/>
                    <a:pt x="657" y="290"/>
                    <a:pt x="656" y="290"/>
                  </a:cubicBezTo>
                  <a:cubicBezTo>
                    <a:pt x="655" y="289"/>
                    <a:pt x="654" y="289"/>
                    <a:pt x="653" y="289"/>
                  </a:cubicBezTo>
                  <a:cubicBezTo>
                    <a:pt x="652" y="290"/>
                    <a:pt x="652" y="290"/>
                    <a:pt x="652" y="292"/>
                  </a:cubicBezTo>
                  <a:cubicBezTo>
                    <a:pt x="644" y="293"/>
                    <a:pt x="638" y="285"/>
                    <a:pt x="631" y="290"/>
                  </a:cubicBezTo>
                  <a:cubicBezTo>
                    <a:pt x="631" y="289"/>
                    <a:pt x="632" y="287"/>
                    <a:pt x="632" y="286"/>
                  </a:cubicBezTo>
                  <a:cubicBezTo>
                    <a:pt x="632" y="286"/>
                    <a:pt x="631" y="286"/>
                    <a:pt x="631" y="286"/>
                  </a:cubicBezTo>
                  <a:cubicBezTo>
                    <a:pt x="630" y="288"/>
                    <a:pt x="629" y="290"/>
                    <a:pt x="627" y="292"/>
                  </a:cubicBezTo>
                  <a:cubicBezTo>
                    <a:pt x="649" y="295"/>
                    <a:pt x="671" y="298"/>
                    <a:pt x="694" y="300"/>
                  </a:cubicBezTo>
                  <a:cubicBezTo>
                    <a:pt x="736" y="303"/>
                    <a:pt x="780" y="303"/>
                    <a:pt x="820" y="291"/>
                  </a:cubicBezTo>
                  <a:cubicBezTo>
                    <a:pt x="792" y="291"/>
                    <a:pt x="792" y="291"/>
                    <a:pt x="792" y="291"/>
                  </a:cubicBezTo>
                  <a:cubicBezTo>
                    <a:pt x="754" y="298"/>
                    <a:pt x="713" y="297"/>
                    <a:pt x="674" y="292"/>
                  </a:cubicBezTo>
                  <a:cubicBezTo>
                    <a:pt x="1126" y="1061"/>
                    <a:pt x="1126" y="1061"/>
                    <a:pt x="1126" y="1060"/>
                  </a:cubicBezTo>
                  <a:cubicBezTo>
                    <a:pt x="1126" y="1059"/>
                    <a:pt x="1126" y="1058"/>
                    <a:pt x="1125" y="1057"/>
                  </a:cubicBezTo>
                  <a:cubicBezTo>
                    <a:pt x="1125" y="1058"/>
                    <a:pt x="1125" y="1058"/>
                    <a:pt x="1125" y="1059"/>
                  </a:cubicBezTo>
                  <a:cubicBezTo>
                    <a:pt x="1123" y="1060"/>
                    <a:pt x="1122" y="1060"/>
                    <a:pt x="1121" y="1059"/>
                  </a:cubicBezTo>
                  <a:cubicBezTo>
                    <a:pt x="1120" y="1059"/>
                    <a:pt x="1120" y="1058"/>
                    <a:pt x="1119" y="1058"/>
                  </a:cubicBezTo>
                  <a:cubicBezTo>
                    <a:pt x="1119" y="1058"/>
                    <a:pt x="1118" y="1059"/>
                    <a:pt x="1118" y="1059"/>
                  </a:cubicBezTo>
                  <a:cubicBezTo>
                    <a:pt x="1118" y="1060"/>
                    <a:pt x="1119" y="1061"/>
                    <a:pt x="1119" y="1062"/>
                  </a:cubicBezTo>
                  <a:cubicBezTo>
                    <a:pt x="1122" y="1062"/>
                    <a:pt x="1122" y="1060"/>
                    <a:pt x="1126" y="1061"/>
                  </a:cubicBezTo>
                  <a:cubicBezTo>
                    <a:pt x="662" y="292"/>
                    <a:pt x="662" y="291"/>
                    <a:pt x="662" y="290"/>
                  </a:cubicBezTo>
                  <a:cubicBezTo>
                    <a:pt x="662" y="290"/>
                    <a:pt x="662" y="290"/>
                    <a:pt x="662" y="290"/>
                  </a:cubicBezTo>
                  <a:cubicBezTo>
                    <a:pt x="1036" y="1135"/>
                    <a:pt x="1036" y="1135"/>
                    <a:pt x="1037" y="1134"/>
                  </a:cubicBezTo>
                  <a:cubicBezTo>
                    <a:pt x="1036" y="1134"/>
                    <a:pt x="1036" y="1134"/>
                    <a:pt x="1035" y="1134"/>
                  </a:cubicBezTo>
                  <a:cubicBezTo>
                    <a:pt x="1035" y="1134"/>
                    <a:pt x="1035" y="1135"/>
                    <a:pt x="1035" y="1135"/>
                  </a:cubicBezTo>
                  <a:cubicBezTo>
                    <a:pt x="260" y="1073"/>
                    <a:pt x="260" y="1072"/>
                    <a:pt x="260" y="1071"/>
                  </a:cubicBezTo>
                  <a:cubicBezTo>
                    <a:pt x="256" y="1070"/>
                    <a:pt x="253" y="1067"/>
                    <a:pt x="255" y="1064"/>
                  </a:cubicBezTo>
                  <a:cubicBezTo>
                    <a:pt x="256" y="1065"/>
                    <a:pt x="258" y="1065"/>
                    <a:pt x="259" y="1064"/>
                  </a:cubicBezTo>
                  <a:cubicBezTo>
                    <a:pt x="257" y="1054"/>
                    <a:pt x="255" y="1043"/>
                    <a:pt x="253" y="1032"/>
                  </a:cubicBezTo>
                  <a:cubicBezTo>
                    <a:pt x="251" y="1032"/>
                    <a:pt x="249" y="1032"/>
                    <a:pt x="247" y="1032"/>
                  </a:cubicBezTo>
                  <a:cubicBezTo>
                    <a:pt x="247" y="1030"/>
                    <a:pt x="247" y="1028"/>
                    <a:pt x="248" y="1027"/>
                  </a:cubicBezTo>
                  <a:cubicBezTo>
                    <a:pt x="250" y="1027"/>
                    <a:pt x="251" y="1027"/>
                    <a:pt x="252" y="1027"/>
                  </a:cubicBezTo>
                  <a:cubicBezTo>
                    <a:pt x="251" y="1021"/>
                    <a:pt x="250" y="1014"/>
                    <a:pt x="249" y="1008"/>
                  </a:cubicBezTo>
                  <a:cubicBezTo>
                    <a:pt x="249" y="1005"/>
                    <a:pt x="246" y="1004"/>
                    <a:pt x="244" y="1005"/>
                  </a:cubicBezTo>
                  <a:cubicBezTo>
                    <a:pt x="244" y="1007"/>
                    <a:pt x="244" y="1008"/>
                    <a:pt x="243" y="1009"/>
                  </a:cubicBezTo>
                  <a:cubicBezTo>
                    <a:pt x="243" y="1009"/>
                    <a:pt x="243" y="1009"/>
                    <a:pt x="243" y="1009"/>
                  </a:cubicBezTo>
                  <a:cubicBezTo>
                    <a:pt x="246" y="1031"/>
                    <a:pt x="250" y="1052"/>
                    <a:pt x="255" y="1074"/>
                  </a:cubicBezTo>
                  <a:cubicBezTo>
                    <a:pt x="257" y="1074"/>
                    <a:pt x="259" y="1074"/>
                    <a:pt x="261" y="1074"/>
                  </a:cubicBezTo>
                  <a:cubicBezTo>
                    <a:pt x="1023" y="1143"/>
                    <a:pt x="1023" y="1143"/>
                    <a:pt x="1023" y="1143"/>
                  </a:cubicBezTo>
                  <a:cubicBezTo>
                    <a:pt x="1023" y="1143"/>
                    <a:pt x="1023" y="1143"/>
                    <a:pt x="1023" y="1143"/>
                  </a:cubicBezTo>
                  <a:cubicBezTo>
                    <a:pt x="1023" y="1143"/>
                    <a:pt x="1023" y="1143"/>
                    <a:pt x="1023" y="1144"/>
                  </a:cubicBezTo>
                  <a:cubicBezTo>
                    <a:pt x="409" y="242"/>
                    <a:pt x="407" y="241"/>
                    <a:pt x="406" y="241"/>
                  </a:cubicBezTo>
                  <a:cubicBezTo>
                    <a:pt x="408" y="242"/>
                    <a:pt x="411" y="242"/>
                    <a:pt x="410" y="244"/>
                  </a:cubicBezTo>
                  <a:cubicBezTo>
                    <a:pt x="410" y="243"/>
                    <a:pt x="411" y="242"/>
                    <a:pt x="411" y="242"/>
                  </a:cubicBezTo>
                  <a:cubicBezTo>
                    <a:pt x="985" y="1162"/>
                    <a:pt x="985" y="1162"/>
                    <a:pt x="985" y="1162"/>
                  </a:cubicBezTo>
                  <a:cubicBezTo>
                    <a:pt x="986" y="1163"/>
                    <a:pt x="987" y="1164"/>
                    <a:pt x="987" y="1165"/>
                  </a:cubicBezTo>
                  <a:cubicBezTo>
                    <a:pt x="999" y="1158"/>
                    <a:pt x="1010" y="1152"/>
                    <a:pt x="1021" y="1144"/>
                  </a:cubicBezTo>
                  <a:cubicBezTo>
                    <a:pt x="1018" y="1145"/>
                    <a:pt x="1018" y="1145"/>
                    <a:pt x="1018" y="1145"/>
                  </a:cubicBezTo>
                  <a:cubicBezTo>
                    <a:pt x="1018" y="1143"/>
                    <a:pt x="1021" y="1144"/>
                    <a:pt x="1022" y="1143"/>
                  </a:cubicBezTo>
                  <a:cubicBezTo>
                    <a:pt x="1019" y="1143"/>
                    <a:pt x="1015" y="1143"/>
                    <a:pt x="1012" y="1143"/>
                  </a:cubicBezTo>
                  <a:cubicBezTo>
                    <a:pt x="1001" y="1150"/>
                    <a:pt x="990" y="1156"/>
                    <a:pt x="979" y="1162"/>
                  </a:cubicBezTo>
                  <a:cubicBezTo>
                    <a:pt x="187" y="1009"/>
                    <a:pt x="187" y="1009"/>
                    <a:pt x="187" y="1009"/>
                  </a:cubicBezTo>
                  <a:cubicBezTo>
                    <a:pt x="183" y="1029"/>
                    <a:pt x="178" y="1048"/>
                    <a:pt x="172" y="1067"/>
                  </a:cubicBezTo>
                  <a:cubicBezTo>
                    <a:pt x="175" y="1068"/>
                    <a:pt x="177" y="1071"/>
                    <a:pt x="177" y="1074"/>
                  </a:cubicBezTo>
                  <a:cubicBezTo>
                    <a:pt x="183" y="1053"/>
                    <a:pt x="188" y="1031"/>
                    <a:pt x="193" y="1009"/>
                  </a:cubicBezTo>
                  <a:cubicBezTo>
                    <a:pt x="164" y="1112"/>
                    <a:pt x="164" y="1112"/>
                    <a:pt x="164" y="1112"/>
                  </a:cubicBezTo>
                  <a:cubicBezTo>
                    <a:pt x="168" y="1102"/>
                    <a:pt x="172" y="1091"/>
                    <a:pt x="175" y="1081"/>
                  </a:cubicBezTo>
                  <a:cubicBezTo>
                    <a:pt x="168" y="1081"/>
                    <a:pt x="168" y="1081"/>
                    <a:pt x="168" y="1081"/>
                  </a:cubicBezTo>
                  <a:cubicBezTo>
                    <a:pt x="165" y="1089"/>
                    <a:pt x="163" y="1097"/>
                    <a:pt x="160" y="1106"/>
                  </a:cubicBezTo>
                  <a:cubicBezTo>
                    <a:pt x="161" y="1108"/>
                    <a:pt x="162" y="1110"/>
                    <a:pt x="163" y="1112"/>
                  </a:cubicBezTo>
                  <a:cubicBezTo>
                    <a:pt x="164" y="1112"/>
                    <a:pt x="164" y="1112"/>
                    <a:pt x="164" y="1112"/>
                  </a:cubicBezTo>
                  <a:cubicBezTo>
                    <a:pt x="214" y="1090"/>
                    <a:pt x="216" y="1081"/>
                    <a:pt x="218" y="1073"/>
                  </a:cubicBezTo>
                  <a:cubicBezTo>
                    <a:pt x="217" y="1072"/>
                    <a:pt x="215" y="1071"/>
                    <a:pt x="217" y="1068"/>
                  </a:cubicBezTo>
                  <a:cubicBezTo>
                    <a:pt x="218" y="1067"/>
                    <a:pt x="219" y="1066"/>
                    <a:pt x="220" y="1066"/>
                  </a:cubicBezTo>
                  <a:cubicBezTo>
                    <a:pt x="223" y="1054"/>
                    <a:pt x="225" y="1043"/>
                    <a:pt x="226" y="1031"/>
                  </a:cubicBezTo>
                  <a:cubicBezTo>
                    <a:pt x="226" y="1030"/>
                    <a:pt x="226" y="1030"/>
                    <a:pt x="225" y="1029"/>
                  </a:cubicBezTo>
                  <a:cubicBezTo>
                    <a:pt x="226" y="1029"/>
                    <a:pt x="226" y="1029"/>
                    <a:pt x="227" y="1028"/>
                  </a:cubicBezTo>
                  <a:cubicBezTo>
                    <a:pt x="227" y="1022"/>
                    <a:pt x="228" y="1015"/>
                    <a:pt x="229" y="1009"/>
                  </a:cubicBezTo>
                  <a:cubicBezTo>
                    <a:pt x="222" y="1009"/>
                    <a:pt x="222" y="1009"/>
                    <a:pt x="222" y="1009"/>
                  </a:cubicBezTo>
                  <a:cubicBezTo>
                    <a:pt x="221" y="1018"/>
                    <a:pt x="220" y="1027"/>
                    <a:pt x="218" y="1037"/>
                  </a:cubicBezTo>
                  <a:cubicBezTo>
                    <a:pt x="219" y="1037"/>
                    <a:pt x="220" y="1037"/>
                    <a:pt x="221" y="1038"/>
                  </a:cubicBezTo>
                  <a:cubicBezTo>
                    <a:pt x="220" y="1039"/>
                    <a:pt x="220" y="1040"/>
                    <a:pt x="219" y="1040"/>
                  </a:cubicBezTo>
                  <a:cubicBezTo>
                    <a:pt x="219" y="1042"/>
                    <a:pt x="220" y="1043"/>
                    <a:pt x="221" y="1044"/>
                  </a:cubicBezTo>
                  <a:cubicBezTo>
                    <a:pt x="217" y="1045"/>
                    <a:pt x="217" y="1045"/>
                    <a:pt x="217" y="1045"/>
                  </a:cubicBezTo>
                  <a:cubicBezTo>
                    <a:pt x="214" y="1063"/>
                    <a:pt x="210" y="1082"/>
                    <a:pt x="204" y="1100"/>
                  </a:cubicBezTo>
                  <a:cubicBezTo>
                    <a:pt x="205" y="1099"/>
                    <a:pt x="205" y="1098"/>
                    <a:pt x="206" y="1098"/>
                  </a:cubicBezTo>
                  <a:cubicBezTo>
                    <a:pt x="68" y="350"/>
                    <a:pt x="68" y="350"/>
                    <a:pt x="68" y="350"/>
                  </a:cubicBezTo>
                  <a:cubicBezTo>
                    <a:pt x="68" y="350"/>
                    <a:pt x="68" y="350"/>
                    <a:pt x="68" y="350"/>
                  </a:cubicBezTo>
                  <a:cubicBezTo>
                    <a:pt x="71" y="350"/>
                    <a:pt x="71" y="350"/>
                    <a:pt x="71" y="350"/>
                  </a:cubicBezTo>
                  <a:cubicBezTo>
                    <a:pt x="78" y="344"/>
                    <a:pt x="85" y="338"/>
                    <a:pt x="92" y="332"/>
                  </a:cubicBezTo>
                  <a:cubicBezTo>
                    <a:pt x="83" y="333"/>
                    <a:pt x="83" y="333"/>
                    <a:pt x="83" y="333"/>
                  </a:cubicBezTo>
                  <a:cubicBezTo>
                    <a:pt x="76" y="338"/>
                    <a:pt x="69" y="344"/>
                    <a:pt x="62" y="350"/>
                  </a:cubicBezTo>
                  <a:cubicBezTo>
                    <a:pt x="384" y="240"/>
                    <a:pt x="381" y="240"/>
                    <a:pt x="377" y="240"/>
                  </a:cubicBezTo>
                  <a:cubicBezTo>
                    <a:pt x="378" y="242"/>
                    <a:pt x="378" y="244"/>
                    <a:pt x="379" y="244"/>
                  </a:cubicBezTo>
                  <a:cubicBezTo>
                    <a:pt x="383" y="244"/>
                    <a:pt x="385" y="244"/>
                    <a:pt x="387" y="241"/>
                  </a:cubicBezTo>
                  <a:cubicBezTo>
                    <a:pt x="365" y="247"/>
                    <a:pt x="365" y="247"/>
                    <a:pt x="364" y="247"/>
                  </a:cubicBezTo>
                  <a:cubicBezTo>
                    <a:pt x="368" y="247"/>
                    <a:pt x="372" y="247"/>
                    <a:pt x="376" y="247"/>
                  </a:cubicBezTo>
                  <a:cubicBezTo>
                    <a:pt x="376" y="245"/>
                    <a:pt x="375" y="244"/>
                    <a:pt x="372" y="243"/>
                  </a:cubicBezTo>
                  <a:cubicBezTo>
                    <a:pt x="372" y="242"/>
                    <a:pt x="372" y="241"/>
                    <a:pt x="373" y="241"/>
                  </a:cubicBezTo>
                  <a:cubicBezTo>
                    <a:pt x="371" y="241"/>
                    <a:pt x="368" y="241"/>
                    <a:pt x="365" y="241"/>
                  </a:cubicBezTo>
                  <a:cubicBezTo>
                    <a:pt x="367" y="242"/>
                    <a:pt x="368" y="243"/>
                    <a:pt x="366" y="247"/>
                  </a:cubicBezTo>
                  <a:cubicBezTo>
                    <a:pt x="350" y="242"/>
                    <a:pt x="350" y="242"/>
                    <a:pt x="350" y="243"/>
                  </a:cubicBezTo>
                  <a:cubicBezTo>
                    <a:pt x="351" y="242"/>
                    <a:pt x="351" y="242"/>
                    <a:pt x="351" y="242"/>
                  </a:cubicBezTo>
                  <a:cubicBezTo>
                    <a:pt x="351" y="242"/>
                    <a:pt x="350" y="242"/>
                    <a:pt x="350" y="242"/>
                  </a:cubicBezTo>
                  <a:cubicBezTo>
                    <a:pt x="419" y="1178"/>
                    <a:pt x="421" y="1177"/>
                    <a:pt x="424" y="1179"/>
                  </a:cubicBezTo>
                  <a:cubicBezTo>
                    <a:pt x="424" y="1178"/>
                    <a:pt x="424" y="1178"/>
                    <a:pt x="424" y="1178"/>
                  </a:cubicBezTo>
                  <a:cubicBezTo>
                    <a:pt x="423" y="1177"/>
                    <a:pt x="421" y="1176"/>
                    <a:pt x="419" y="1175"/>
                  </a:cubicBezTo>
                  <a:cubicBezTo>
                    <a:pt x="419" y="1175"/>
                    <a:pt x="419" y="1175"/>
                    <a:pt x="419" y="1175"/>
                  </a:cubicBezTo>
                  <a:cubicBezTo>
                    <a:pt x="416" y="1173"/>
                    <a:pt x="413" y="1171"/>
                    <a:pt x="410" y="1169"/>
                  </a:cubicBezTo>
                  <a:cubicBezTo>
                    <a:pt x="408" y="1170"/>
                    <a:pt x="405" y="1171"/>
                    <a:pt x="402" y="1170"/>
                  </a:cubicBezTo>
                  <a:cubicBezTo>
                    <a:pt x="402" y="1169"/>
                    <a:pt x="402" y="1168"/>
                    <a:pt x="402" y="1167"/>
                  </a:cubicBezTo>
                  <a:cubicBezTo>
                    <a:pt x="407" y="1167"/>
                    <a:pt x="407" y="1167"/>
                    <a:pt x="407" y="1167"/>
                  </a:cubicBezTo>
                  <a:cubicBezTo>
                    <a:pt x="406" y="1166"/>
                    <a:pt x="405" y="1165"/>
                    <a:pt x="403" y="1165"/>
                  </a:cubicBezTo>
                  <a:cubicBezTo>
                    <a:pt x="384" y="1150"/>
                    <a:pt x="369" y="1130"/>
                    <a:pt x="356" y="1110"/>
                  </a:cubicBezTo>
                  <a:cubicBezTo>
                    <a:pt x="354" y="1107"/>
                    <a:pt x="353" y="1105"/>
                    <a:pt x="351" y="1102"/>
                  </a:cubicBezTo>
                  <a:cubicBezTo>
                    <a:pt x="351" y="1104"/>
                    <a:pt x="351" y="1106"/>
                    <a:pt x="349" y="1108"/>
                  </a:cubicBezTo>
                  <a:cubicBezTo>
                    <a:pt x="349" y="1109"/>
                    <a:pt x="348" y="1109"/>
                    <a:pt x="348" y="1109"/>
                  </a:cubicBezTo>
                  <a:cubicBezTo>
                    <a:pt x="348" y="1109"/>
                    <a:pt x="348" y="1110"/>
                    <a:pt x="348" y="1110"/>
                  </a:cubicBezTo>
                  <a:cubicBezTo>
                    <a:pt x="351" y="1110"/>
                    <a:pt x="351" y="1111"/>
                    <a:pt x="351" y="1114"/>
                  </a:cubicBezTo>
                  <a:cubicBezTo>
                    <a:pt x="351" y="1114"/>
                    <a:pt x="351" y="1114"/>
                    <a:pt x="350" y="1114"/>
                  </a:cubicBezTo>
                  <a:cubicBezTo>
                    <a:pt x="352" y="1116"/>
                    <a:pt x="354" y="1119"/>
                    <a:pt x="356" y="1122"/>
                  </a:cubicBezTo>
                  <a:cubicBezTo>
                    <a:pt x="370" y="1143"/>
                    <a:pt x="386" y="1159"/>
                    <a:pt x="405" y="1173"/>
                  </a:cubicBezTo>
                  <a:cubicBezTo>
                    <a:pt x="409" y="1171"/>
                    <a:pt x="412" y="1174"/>
                    <a:pt x="413" y="1178"/>
                  </a:cubicBezTo>
                  <a:cubicBezTo>
                    <a:pt x="414" y="1179"/>
                    <a:pt x="415" y="1180"/>
                    <a:pt x="417" y="1180"/>
                  </a:cubicBezTo>
                  <a:cubicBezTo>
                    <a:pt x="300" y="1204"/>
                    <a:pt x="300" y="1204"/>
                    <a:pt x="300" y="1204"/>
                  </a:cubicBezTo>
                  <a:cubicBezTo>
                    <a:pt x="301" y="1201"/>
                    <a:pt x="301" y="1199"/>
                    <a:pt x="301" y="1197"/>
                  </a:cubicBezTo>
                  <a:cubicBezTo>
                    <a:pt x="302" y="1193"/>
                    <a:pt x="302" y="1190"/>
                    <a:pt x="302" y="1186"/>
                  </a:cubicBezTo>
                  <a:cubicBezTo>
                    <a:pt x="295" y="1186"/>
                    <a:pt x="295" y="1186"/>
                    <a:pt x="295" y="1186"/>
                  </a:cubicBezTo>
                  <a:cubicBezTo>
                    <a:pt x="295" y="1193"/>
                    <a:pt x="294" y="1200"/>
                    <a:pt x="293" y="1207"/>
                  </a:cubicBezTo>
                  <a:cubicBezTo>
                    <a:pt x="294" y="1206"/>
                    <a:pt x="294" y="1205"/>
                    <a:pt x="295" y="1204"/>
                  </a:cubicBezTo>
                  <a:cubicBezTo>
                    <a:pt x="160" y="246"/>
                    <a:pt x="157" y="247"/>
                    <a:pt x="155" y="249"/>
                  </a:cubicBezTo>
                  <a:cubicBezTo>
                    <a:pt x="157" y="249"/>
                    <a:pt x="159" y="249"/>
                    <a:pt x="160" y="250"/>
                  </a:cubicBezTo>
                  <a:cubicBezTo>
                    <a:pt x="159" y="252"/>
                    <a:pt x="159" y="253"/>
                    <a:pt x="158" y="255"/>
                  </a:cubicBezTo>
                  <a:cubicBezTo>
                    <a:pt x="162" y="253"/>
                    <a:pt x="166" y="250"/>
                    <a:pt x="170" y="248"/>
                  </a:cubicBezTo>
                  <a:cubicBezTo>
                    <a:pt x="169" y="248"/>
                    <a:pt x="166" y="249"/>
                    <a:pt x="164" y="248"/>
                  </a:cubicBezTo>
                  <a:cubicBezTo>
                    <a:pt x="164" y="246"/>
                    <a:pt x="164" y="245"/>
                    <a:pt x="163" y="244"/>
                  </a:cubicBezTo>
                  <a:cubicBezTo>
                    <a:pt x="70" y="287"/>
                    <a:pt x="65" y="283"/>
                    <a:pt x="67" y="280"/>
                  </a:cubicBezTo>
                  <a:cubicBezTo>
                    <a:pt x="66" y="280"/>
                    <a:pt x="66" y="280"/>
                    <a:pt x="66" y="280"/>
                  </a:cubicBezTo>
                  <a:cubicBezTo>
                    <a:pt x="64" y="282"/>
                    <a:pt x="63" y="283"/>
                    <a:pt x="61" y="284"/>
                  </a:cubicBezTo>
                  <a:cubicBezTo>
                    <a:pt x="63" y="284"/>
                    <a:pt x="65" y="284"/>
                    <a:pt x="65" y="287"/>
                  </a:cubicBezTo>
                  <a:cubicBezTo>
                    <a:pt x="277" y="1284"/>
                    <a:pt x="277" y="1285"/>
                    <a:pt x="277" y="1285"/>
                  </a:cubicBezTo>
                  <a:cubicBezTo>
                    <a:pt x="277" y="1285"/>
                    <a:pt x="277" y="1285"/>
                    <a:pt x="277" y="1285"/>
                  </a:cubicBezTo>
                  <a:cubicBezTo>
                    <a:pt x="277" y="1285"/>
                    <a:pt x="278" y="1285"/>
                    <a:pt x="278" y="1284"/>
                  </a:cubicBezTo>
                  <a:cubicBezTo>
                    <a:pt x="230" y="399"/>
                    <a:pt x="230" y="398"/>
                    <a:pt x="231" y="397"/>
                  </a:cubicBezTo>
                  <a:cubicBezTo>
                    <a:pt x="228" y="397"/>
                    <a:pt x="225" y="396"/>
                    <a:pt x="224" y="394"/>
                  </a:cubicBezTo>
                  <a:cubicBezTo>
                    <a:pt x="223" y="395"/>
                    <a:pt x="223" y="395"/>
                    <a:pt x="222" y="396"/>
                  </a:cubicBezTo>
                  <a:cubicBezTo>
                    <a:pt x="222" y="399"/>
                    <a:pt x="221" y="402"/>
                    <a:pt x="224" y="402"/>
                  </a:cubicBezTo>
                  <a:cubicBezTo>
                    <a:pt x="225" y="402"/>
                    <a:pt x="226" y="401"/>
                    <a:pt x="227" y="400"/>
                  </a:cubicBezTo>
                  <a:cubicBezTo>
                    <a:pt x="227" y="400"/>
                    <a:pt x="227" y="400"/>
                    <a:pt x="227" y="399"/>
                  </a:cubicBezTo>
                  <a:cubicBezTo>
                    <a:pt x="228" y="399"/>
                    <a:pt x="228" y="399"/>
                    <a:pt x="229" y="399"/>
                  </a:cubicBezTo>
                  <a:cubicBezTo>
                    <a:pt x="383" y="176"/>
                    <a:pt x="384" y="176"/>
                    <a:pt x="385" y="177"/>
                  </a:cubicBezTo>
                  <a:cubicBezTo>
                    <a:pt x="387" y="176"/>
                    <a:pt x="388" y="176"/>
                    <a:pt x="390" y="176"/>
                  </a:cubicBezTo>
                  <a:cubicBezTo>
                    <a:pt x="391" y="176"/>
                    <a:pt x="392" y="175"/>
                    <a:pt x="393" y="175"/>
                  </a:cubicBezTo>
                  <a:cubicBezTo>
                    <a:pt x="393" y="172"/>
                    <a:pt x="390" y="171"/>
                    <a:pt x="386" y="170"/>
                  </a:cubicBezTo>
                  <a:cubicBezTo>
                    <a:pt x="389" y="173"/>
                    <a:pt x="386" y="174"/>
                    <a:pt x="384" y="175"/>
                  </a:cubicBezTo>
                  <a:cubicBezTo>
                    <a:pt x="371" y="177"/>
                    <a:pt x="374" y="177"/>
                    <a:pt x="376" y="177"/>
                  </a:cubicBezTo>
                  <a:cubicBezTo>
                    <a:pt x="375" y="176"/>
                    <a:pt x="375" y="175"/>
                    <a:pt x="374" y="174"/>
                  </a:cubicBezTo>
                  <a:cubicBezTo>
                    <a:pt x="373" y="174"/>
                    <a:pt x="372" y="174"/>
                    <a:pt x="370" y="174"/>
                  </a:cubicBezTo>
                  <a:cubicBezTo>
                    <a:pt x="370" y="175"/>
                    <a:pt x="369" y="176"/>
                    <a:pt x="369" y="177"/>
                  </a:cubicBezTo>
                  <a:cubicBezTo>
                    <a:pt x="396" y="170"/>
                    <a:pt x="394" y="170"/>
                    <a:pt x="393" y="170"/>
                  </a:cubicBezTo>
                  <a:cubicBezTo>
                    <a:pt x="393" y="170"/>
                    <a:pt x="394" y="170"/>
                    <a:pt x="394" y="171"/>
                  </a:cubicBezTo>
                  <a:cubicBezTo>
                    <a:pt x="394" y="171"/>
                    <a:pt x="394" y="172"/>
                    <a:pt x="394" y="173"/>
                  </a:cubicBezTo>
                  <a:cubicBezTo>
                    <a:pt x="397" y="174"/>
                    <a:pt x="396" y="171"/>
                    <a:pt x="397" y="170"/>
                  </a:cubicBezTo>
                  <a:cubicBezTo>
                    <a:pt x="716" y="176"/>
                    <a:pt x="718" y="176"/>
                    <a:pt x="719" y="176"/>
                  </a:cubicBezTo>
                  <a:cubicBezTo>
                    <a:pt x="719" y="176"/>
                    <a:pt x="719" y="175"/>
                    <a:pt x="719" y="175"/>
                  </a:cubicBezTo>
                  <a:cubicBezTo>
                    <a:pt x="724" y="177"/>
                    <a:pt x="726" y="172"/>
                    <a:pt x="729" y="170"/>
                  </a:cubicBezTo>
                  <a:cubicBezTo>
                    <a:pt x="725" y="170"/>
                    <a:pt x="720" y="169"/>
                    <a:pt x="716" y="169"/>
                  </a:cubicBezTo>
                  <a:cubicBezTo>
                    <a:pt x="716" y="171"/>
                    <a:pt x="715" y="173"/>
                    <a:pt x="714" y="176"/>
                  </a:cubicBezTo>
                  <a:cubicBezTo>
                    <a:pt x="699" y="167"/>
                    <a:pt x="698" y="167"/>
                    <a:pt x="696" y="167"/>
                  </a:cubicBezTo>
                  <a:cubicBezTo>
                    <a:pt x="698" y="168"/>
                    <a:pt x="699" y="170"/>
                    <a:pt x="703" y="169"/>
                  </a:cubicBezTo>
                  <a:cubicBezTo>
                    <a:pt x="703" y="168"/>
                    <a:pt x="702" y="168"/>
                    <a:pt x="701" y="168"/>
                  </a:cubicBezTo>
                  <a:cubicBezTo>
                    <a:pt x="714" y="169"/>
                    <a:pt x="713" y="169"/>
                    <a:pt x="712" y="169"/>
                  </a:cubicBezTo>
                  <a:cubicBezTo>
                    <a:pt x="710" y="168"/>
                    <a:pt x="708" y="168"/>
                    <a:pt x="705" y="168"/>
                  </a:cubicBezTo>
                  <a:cubicBezTo>
                    <a:pt x="705" y="169"/>
                    <a:pt x="705" y="170"/>
                    <a:pt x="706" y="171"/>
                  </a:cubicBezTo>
                  <a:cubicBezTo>
                    <a:pt x="710" y="172"/>
                    <a:pt x="711" y="170"/>
                    <a:pt x="714" y="170"/>
                  </a:cubicBezTo>
                  <a:cubicBezTo>
                    <a:pt x="695" y="173"/>
                    <a:pt x="695" y="173"/>
                    <a:pt x="695" y="174"/>
                  </a:cubicBezTo>
                  <a:cubicBezTo>
                    <a:pt x="696" y="174"/>
                    <a:pt x="697" y="174"/>
                    <a:pt x="698" y="174"/>
                  </a:cubicBezTo>
                  <a:cubicBezTo>
                    <a:pt x="698" y="173"/>
                    <a:pt x="697" y="172"/>
                    <a:pt x="695" y="173"/>
                  </a:cubicBezTo>
                  <a:cubicBezTo>
                    <a:pt x="976" y="1233"/>
                    <a:pt x="993" y="1225"/>
                    <a:pt x="1009" y="1216"/>
                  </a:cubicBezTo>
                  <a:cubicBezTo>
                    <a:pt x="993" y="1216"/>
                    <a:pt x="993" y="1216"/>
                    <a:pt x="993" y="1216"/>
                  </a:cubicBezTo>
                  <a:cubicBezTo>
                    <a:pt x="981" y="1222"/>
                    <a:pt x="970" y="1228"/>
                    <a:pt x="958" y="1234"/>
                  </a:cubicBezTo>
                  <a:cubicBezTo>
                    <a:pt x="973" y="1234"/>
                    <a:pt x="973" y="1234"/>
                    <a:pt x="973" y="1234"/>
                  </a:cubicBezTo>
                  <a:cubicBezTo>
                    <a:pt x="968" y="1235"/>
                    <a:pt x="963" y="1238"/>
                    <a:pt x="959" y="1242"/>
                  </a:cubicBezTo>
                  <a:cubicBezTo>
                    <a:pt x="511" y="212"/>
                    <a:pt x="510" y="212"/>
                    <a:pt x="511" y="214"/>
                  </a:cubicBezTo>
                  <a:cubicBezTo>
                    <a:pt x="513" y="213"/>
                    <a:pt x="515" y="212"/>
                    <a:pt x="518" y="213"/>
                  </a:cubicBezTo>
                  <a:cubicBezTo>
                    <a:pt x="518" y="213"/>
                    <a:pt x="518" y="213"/>
                    <a:pt x="518" y="213"/>
                  </a:cubicBezTo>
                  <a:cubicBezTo>
                    <a:pt x="516" y="212"/>
                    <a:pt x="514" y="212"/>
                    <a:pt x="511" y="211"/>
                  </a:cubicBezTo>
                  <a:cubicBezTo>
                    <a:pt x="1052" y="1183"/>
                    <a:pt x="1030" y="1196"/>
                    <a:pt x="1007" y="1209"/>
                  </a:cubicBezTo>
                  <a:cubicBezTo>
                    <a:pt x="1009" y="1211"/>
                    <a:pt x="1010" y="1213"/>
                    <a:pt x="1010" y="1215"/>
                  </a:cubicBezTo>
                  <a:cubicBezTo>
                    <a:pt x="1031" y="1204"/>
                    <a:pt x="1052" y="1191"/>
                    <a:pt x="1072" y="1179"/>
                  </a:cubicBezTo>
                  <a:cubicBezTo>
                    <a:pt x="1071" y="1176"/>
                    <a:pt x="1072" y="1173"/>
                    <a:pt x="1074" y="1170"/>
                  </a:cubicBezTo>
                  <a:cubicBezTo>
                    <a:pt x="1120" y="1142"/>
                    <a:pt x="1121" y="1140"/>
                    <a:pt x="1121" y="1138"/>
                  </a:cubicBezTo>
                  <a:cubicBezTo>
                    <a:pt x="1120" y="1138"/>
                    <a:pt x="1120" y="1139"/>
                    <a:pt x="1119" y="1139"/>
                  </a:cubicBezTo>
                  <a:cubicBezTo>
                    <a:pt x="1119" y="1140"/>
                    <a:pt x="1119" y="1141"/>
                    <a:pt x="1118" y="1142"/>
                  </a:cubicBezTo>
                  <a:cubicBezTo>
                    <a:pt x="1117" y="1142"/>
                    <a:pt x="1117" y="1142"/>
                    <a:pt x="1116" y="1142"/>
                  </a:cubicBezTo>
                  <a:cubicBezTo>
                    <a:pt x="1109" y="1146"/>
                    <a:pt x="1103" y="1150"/>
                    <a:pt x="1097" y="1155"/>
                  </a:cubicBezTo>
                  <a:cubicBezTo>
                    <a:pt x="1093" y="1157"/>
                    <a:pt x="1090" y="1160"/>
                    <a:pt x="1086" y="1162"/>
                  </a:cubicBezTo>
                  <a:cubicBezTo>
                    <a:pt x="1088" y="1163"/>
                    <a:pt x="1088" y="1166"/>
                    <a:pt x="1088" y="1169"/>
                  </a:cubicBezTo>
                  <a:cubicBezTo>
                    <a:pt x="1089" y="1168"/>
                    <a:pt x="1089" y="1168"/>
                    <a:pt x="1090" y="1168"/>
                  </a:cubicBezTo>
                  <a:cubicBezTo>
                    <a:pt x="1091" y="1166"/>
                    <a:pt x="1093" y="1165"/>
                    <a:pt x="1094" y="1164"/>
                  </a:cubicBezTo>
                  <a:cubicBezTo>
                    <a:pt x="1094" y="1164"/>
                    <a:pt x="1094" y="1162"/>
                    <a:pt x="1094" y="1161"/>
                  </a:cubicBezTo>
                  <a:cubicBezTo>
                    <a:pt x="1099" y="1161"/>
                    <a:pt x="1099" y="1161"/>
                    <a:pt x="1099" y="1161"/>
                  </a:cubicBezTo>
                  <a:cubicBezTo>
                    <a:pt x="1099" y="1161"/>
                    <a:pt x="1099" y="1161"/>
                    <a:pt x="1099" y="1161"/>
                  </a:cubicBezTo>
                  <a:cubicBezTo>
                    <a:pt x="1108" y="1156"/>
                    <a:pt x="1116" y="1150"/>
                    <a:pt x="1125" y="1144"/>
                  </a:cubicBezTo>
                  <a:cubicBezTo>
                    <a:pt x="941" y="1250"/>
                    <a:pt x="942" y="1250"/>
                    <a:pt x="944" y="1249"/>
                  </a:cubicBezTo>
                  <a:cubicBezTo>
                    <a:pt x="943" y="1247"/>
                    <a:pt x="943" y="1244"/>
                    <a:pt x="944" y="1240"/>
                  </a:cubicBezTo>
                  <a:cubicBezTo>
                    <a:pt x="940" y="1242"/>
                    <a:pt x="936" y="1244"/>
                    <a:pt x="932" y="1246"/>
                  </a:cubicBezTo>
                  <a:cubicBezTo>
                    <a:pt x="933" y="1246"/>
                    <a:pt x="933" y="1247"/>
                    <a:pt x="933" y="1247"/>
                  </a:cubicBezTo>
                  <a:cubicBezTo>
                    <a:pt x="936" y="1248"/>
                    <a:pt x="938" y="1250"/>
                    <a:pt x="940" y="1251"/>
                  </a:cubicBezTo>
                  <a:cubicBezTo>
                    <a:pt x="663" y="238"/>
                    <a:pt x="663" y="238"/>
                    <a:pt x="663" y="238"/>
                  </a:cubicBezTo>
                  <a:cubicBezTo>
                    <a:pt x="677" y="238"/>
                    <a:pt x="677" y="238"/>
                    <a:pt x="677" y="238"/>
                  </a:cubicBezTo>
                  <a:cubicBezTo>
                    <a:pt x="652" y="235"/>
                    <a:pt x="627" y="231"/>
                    <a:pt x="603" y="227"/>
                  </a:cubicBezTo>
                  <a:cubicBezTo>
                    <a:pt x="591" y="225"/>
                    <a:pt x="578" y="223"/>
                    <a:pt x="566" y="221"/>
                  </a:cubicBezTo>
                  <a:cubicBezTo>
                    <a:pt x="566" y="221"/>
                    <a:pt x="566" y="221"/>
                    <a:pt x="566" y="221"/>
                  </a:cubicBezTo>
                  <a:cubicBezTo>
                    <a:pt x="553" y="222"/>
                    <a:pt x="553" y="222"/>
                    <a:pt x="553" y="222"/>
                  </a:cubicBezTo>
                  <a:cubicBezTo>
                    <a:pt x="552" y="220"/>
                    <a:pt x="551" y="219"/>
                    <a:pt x="549" y="218"/>
                  </a:cubicBezTo>
                  <a:cubicBezTo>
                    <a:pt x="549" y="219"/>
                    <a:pt x="549" y="220"/>
                    <a:pt x="549" y="222"/>
                  </a:cubicBezTo>
                  <a:cubicBezTo>
                    <a:pt x="534" y="222"/>
                    <a:pt x="534" y="222"/>
                    <a:pt x="534" y="222"/>
                  </a:cubicBezTo>
                  <a:cubicBezTo>
                    <a:pt x="568" y="227"/>
                    <a:pt x="601" y="233"/>
                    <a:pt x="634" y="238"/>
                  </a:cubicBezTo>
                  <a:cubicBezTo>
                    <a:pt x="640" y="238"/>
                    <a:pt x="640" y="238"/>
                    <a:pt x="640" y="238"/>
                  </a:cubicBezTo>
                  <a:cubicBezTo>
                    <a:pt x="639" y="238"/>
                    <a:pt x="639" y="239"/>
                    <a:pt x="639" y="239"/>
                  </a:cubicBezTo>
                  <a:cubicBezTo>
                    <a:pt x="639" y="239"/>
                    <a:pt x="638" y="239"/>
                    <a:pt x="638" y="239"/>
                  </a:cubicBezTo>
                  <a:cubicBezTo>
                    <a:pt x="638" y="239"/>
                    <a:pt x="639" y="239"/>
                    <a:pt x="640" y="239"/>
                  </a:cubicBezTo>
                  <a:cubicBezTo>
                    <a:pt x="640" y="239"/>
                    <a:pt x="640" y="238"/>
                    <a:pt x="641" y="238"/>
                  </a:cubicBezTo>
                  <a:cubicBezTo>
                    <a:pt x="646" y="238"/>
                    <a:pt x="646" y="238"/>
                    <a:pt x="646" y="238"/>
                  </a:cubicBezTo>
                  <a:cubicBezTo>
                    <a:pt x="645" y="239"/>
                    <a:pt x="645" y="239"/>
                    <a:pt x="645" y="240"/>
                  </a:cubicBezTo>
                  <a:cubicBezTo>
                    <a:pt x="647" y="240"/>
                    <a:pt x="649" y="240"/>
                    <a:pt x="650" y="240"/>
                  </a:cubicBezTo>
                  <a:cubicBezTo>
                    <a:pt x="649" y="239"/>
                    <a:pt x="647" y="239"/>
                    <a:pt x="646" y="238"/>
                  </a:cubicBezTo>
                  <a:cubicBezTo>
                    <a:pt x="662" y="238"/>
                    <a:pt x="662" y="238"/>
                    <a:pt x="662" y="238"/>
                  </a:cubicBezTo>
                  <a:cubicBezTo>
                    <a:pt x="662" y="238"/>
                    <a:pt x="662" y="238"/>
                    <a:pt x="663" y="239"/>
                  </a:cubicBezTo>
                  <a:cubicBezTo>
                    <a:pt x="477" y="1243"/>
                    <a:pt x="477" y="1242"/>
                    <a:pt x="475" y="1242"/>
                  </a:cubicBezTo>
                  <a:cubicBezTo>
                    <a:pt x="476" y="1243"/>
                    <a:pt x="477" y="1243"/>
                    <a:pt x="478" y="1243"/>
                  </a:cubicBezTo>
                  <a:cubicBezTo>
                    <a:pt x="516" y="1245"/>
                    <a:pt x="515" y="1245"/>
                    <a:pt x="514" y="1245"/>
                  </a:cubicBezTo>
                  <a:cubicBezTo>
                    <a:pt x="511" y="1246"/>
                    <a:pt x="508" y="1245"/>
                    <a:pt x="505" y="1244"/>
                  </a:cubicBezTo>
                  <a:cubicBezTo>
                    <a:pt x="505" y="1243"/>
                    <a:pt x="506" y="1243"/>
                    <a:pt x="506" y="1243"/>
                  </a:cubicBezTo>
                  <a:cubicBezTo>
                    <a:pt x="503" y="1242"/>
                    <a:pt x="501" y="1242"/>
                    <a:pt x="499" y="1242"/>
                  </a:cubicBezTo>
                  <a:cubicBezTo>
                    <a:pt x="500" y="1243"/>
                    <a:pt x="502" y="1243"/>
                    <a:pt x="504" y="1243"/>
                  </a:cubicBezTo>
                  <a:cubicBezTo>
                    <a:pt x="503" y="1248"/>
                    <a:pt x="499" y="1247"/>
                    <a:pt x="496" y="1248"/>
                  </a:cubicBezTo>
                  <a:cubicBezTo>
                    <a:pt x="495" y="1246"/>
                    <a:pt x="497" y="1242"/>
                    <a:pt x="491" y="1242"/>
                  </a:cubicBezTo>
                  <a:cubicBezTo>
                    <a:pt x="491" y="1241"/>
                    <a:pt x="491" y="1240"/>
                    <a:pt x="490" y="1239"/>
                  </a:cubicBezTo>
                  <a:cubicBezTo>
                    <a:pt x="489" y="1239"/>
                    <a:pt x="488" y="1239"/>
                    <a:pt x="486" y="1238"/>
                  </a:cubicBezTo>
                  <a:cubicBezTo>
                    <a:pt x="486" y="1240"/>
                    <a:pt x="485" y="1243"/>
                    <a:pt x="484" y="1245"/>
                  </a:cubicBezTo>
                  <a:cubicBezTo>
                    <a:pt x="495" y="1247"/>
                    <a:pt x="506" y="1250"/>
                    <a:pt x="517" y="1252"/>
                  </a:cubicBezTo>
                  <a:cubicBezTo>
                    <a:pt x="521" y="1253"/>
                    <a:pt x="522" y="1246"/>
                    <a:pt x="518" y="1246"/>
                  </a:cubicBezTo>
                  <a:cubicBezTo>
                    <a:pt x="548" y="1245"/>
                    <a:pt x="548" y="1242"/>
                    <a:pt x="547" y="1239"/>
                  </a:cubicBezTo>
                  <a:cubicBezTo>
                    <a:pt x="546" y="1239"/>
                    <a:pt x="545" y="1239"/>
                    <a:pt x="544" y="1239"/>
                  </a:cubicBezTo>
                  <a:cubicBezTo>
                    <a:pt x="544" y="1242"/>
                    <a:pt x="545" y="1244"/>
                    <a:pt x="545" y="1247"/>
                  </a:cubicBezTo>
                  <a:cubicBezTo>
                    <a:pt x="546" y="1247"/>
                    <a:pt x="547" y="1247"/>
                    <a:pt x="549" y="1247"/>
                  </a:cubicBezTo>
                  <a:cubicBezTo>
                    <a:pt x="517" y="1233"/>
                    <a:pt x="497" y="1227"/>
                    <a:pt x="479" y="1221"/>
                  </a:cubicBezTo>
                  <a:cubicBezTo>
                    <a:pt x="475" y="1221"/>
                    <a:pt x="475" y="1221"/>
                    <a:pt x="475" y="1221"/>
                  </a:cubicBezTo>
                  <a:cubicBezTo>
                    <a:pt x="475" y="1220"/>
                    <a:pt x="474" y="1220"/>
                    <a:pt x="474" y="1219"/>
                  </a:cubicBezTo>
                  <a:cubicBezTo>
                    <a:pt x="474" y="1219"/>
                    <a:pt x="474" y="1219"/>
                    <a:pt x="474" y="1219"/>
                  </a:cubicBezTo>
                  <a:cubicBezTo>
                    <a:pt x="471" y="1218"/>
                    <a:pt x="468" y="1217"/>
                    <a:pt x="466" y="1215"/>
                  </a:cubicBezTo>
                  <a:cubicBezTo>
                    <a:pt x="467" y="1217"/>
                    <a:pt x="467" y="1220"/>
                    <a:pt x="471" y="1221"/>
                  </a:cubicBezTo>
                  <a:cubicBezTo>
                    <a:pt x="463" y="1221"/>
                    <a:pt x="463" y="1221"/>
                    <a:pt x="463" y="1221"/>
                  </a:cubicBezTo>
                  <a:cubicBezTo>
                    <a:pt x="463" y="1220"/>
                    <a:pt x="463" y="1220"/>
                    <a:pt x="463" y="1220"/>
                  </a:cubicBezTo>
                  <a:cubicBezTo>
                    <a:pt x="458" y="1218"/>
                    <a:pt x="457" y="1214"/>
                    <a:pt x="453" y="1211"/>
                  </a:cubicBezTo>
                  <a:cubicBezTo>
                    <a:pt x="456" y="1209"/>
                    <a:pt x="458" y="1216"/>
                    <a:pt x="462" y="1214"/>
                  </a:cubicBezTo>
                  <a:cubicBezTo>
                    <a:pt x="455" y="1211"/>
                    <a:pt x="448" y="1208"/>
                    <a:pt x="441" y="1204"/>
                  </a:cubicBezTo>
                  <a:cubicBezTo>
                    <a:pt x="440" y="1207"/>
                    <a:pt x="440" y="1210"/>
                    <a:pt x="438" y="1211"/>
                  </a:cubicBezTo>
                  <a:cubicBezTo>
                    <a:pt x="438" y="1211"/>
                    <a:pt x="438" y="1211"/>
                    <a:pt x="438" y="1211"/>
                  </a:cubicBezTo>
                  <a:cubicBezTo>
                    <a:pt x="454" y="1219"/>
                    <a:pt x="470" y="1226"/>
                    <a:pt x="486" y="1231"/>
                  </a:cubicBezTo>
                  <a:cubicBezTo>
                    <a:pt x="494" y="1233"/>
                    <a:pt x="501" y="1236"/>
                    <a:pt x="509" y="1238"/>
                  </a:cubicBezTo>
                  <a:cubicBezTo>
                    <a:pt x="509" y="1238"/>
                    <a:pt x="509" y="1238"/>
                    <a:pt x="510" y="1238"/>
                  </a:cubicBezTo>
                  <a:cubicBezTo>
                    <a:pt x="526" y="1237"/>
                    <a:pt x="526" y="1237"/>
                    <a:pt x="526" y="1237"/>
                  </a:cubicBezTo>
                  <a:cubicBezTo>
                    <a:pt x="525" y="1239"/>
                    <a:pt x="524" y="1240"/>
                    <a:pt x="522" y="1241"/>
                  </a:cubicBezTo>
                  <a:cubicBezTo>
                    <a:pt x="521" y="1241"/>
                    <a:pt x="520" y="1241"/>
                    <a:pt x="520" y="1241"/>
                  </a:cubicBezTo>
                  <a:cubicBezTo>
                    <a:pt x="523" y="1242"/>
                    <a:pt x="527" y="1243"/>
                    <a:pt x="531" y="1243"/>
                  </a:cubicBezTo>
                  <a:cubicBezTo>
                    <a:pt x="530" y="1242"/>
                    <a:pt x="529" y="1239"/>
                    <a:pt x="528" y="1237"/>
                  </a:cubicBezTo>
                  <a:cubicBezTo>
                    <a:pt x="373" y="1247"/>
                    <a:pt x="372" y="1249"/>
                    <a:pt x="371" y="1251"/>
                  </a:cubicBezTo>
                  <a:cubicBezTo>
                    <a:pt x="372" y="1251"/>
                    <a:pt x="373" y="1251"/>
                    <a:pt x="374" y="1251"/>
                  </a:cubicBezTo>
                  <a:cubicBezTo>
                    <a:pt x="373" y="1250"/>
                    <a:pt x="374" y="1248"/>
                    <a:pt x="374" y="1246"/>
                  </a:cubicBezTo>
                  <a:cubicBezTo>
                    <a:pt x="321" y="1262"/>
                    <a:pt x="311" y="1268"/>
                    <a:pt x="301" y="1275"/>
                  </a:cubicBezTo>
                  <a:cubicBezTo>
                    <a:pt x="313" y="1275"/>
                    <a:pt x="313" y="1275"/>
                    <a:pt x="313" y="1275"/>
                  </a:cubicBezTo>
                  <a:cubicBezTo>
                    <a:pt x="325" y="1268"/>
                    <a:pt x="337" y="1262"/>
                    <a:pt x="349" y="1257"/>
                  </a:cubicBezTo>
                  <a:cubicBezTo>
                    <a:pt x="359" y="1251"/>
                    <a:pt x="365" y="1251"/>
                    <a:pt x="363" y="1248"/>
                  </a:cubicBezTo>
                  <a:cubicBezTo>
                    <a:pt x="362" y="1250"/>
                    <a:pt x="359" y="1249"/>
                    <a:pt x="356" y="1250"/>
                  </a:cubicBezTo>
                  <a:cubicBezTo>
                    <a:pt x="358" y="1251"/>
                    <a:pt x="358" y="1253"/>
                    <a:pt x="357" y="1255"/>
                  </a:cubicBezTo>
                  <a:cubicBezTo>
                    <a:pt x="357" y="1255"/>
                    <a:pt x="358" y="1255"/>
                    <a:pt x="358" y="1254"/>
                  </a:cubicBezTo>
                  <a:cubicBezTo>
                    <a:pt x="428" y="1221"/>
                    <a:pt x="428" y="1221"/>
                    <a:pt x="428" y="1221"/>
                  </a:cubicBezTo>
                  <a:cubicBezTo>
                    <a:pt x="429" y="1221"/>
                    <a:pt x="429" y="1220"/>
                    <a:pt x="429" y="1220"/>
                  </a:cubicBezTo>
                  <a:cubicBezTo>
                    <a:pt x="429" y="1219"/>
                    <a:pt x="428" y="1219"/>
                    <a:pt x="427" y="1219"/>
                  </a:cubicBezTo>
                  <a:cubicBezTo>
                    <a:pt x="427" y="1220"/>
                    <a:pt x="427" y="1220"/>
                    <a:pt x="426" y="1221"/>
                  </a:cubicBezTo>
                  <a:cubicBezTo>
                    <a:pt x="415" y="1221"/>
                    <a:pt x="415" y="1221"/>
                    <a:pt x="415" y="1221"/>
                  </a:cubicBezTo>
                  <a:cubicBezTo>
                    <a:pt x="432" y="1229"/>
                    <a:pt x="450" y="1235"/>
                    <a:pt x="468" y="1240"/>
                  </a:cubicBezTo>
                  <a:cubicBezTo>
                    <a:pt x="469" y="1240"/>
                    <a:pt x="470" y="1239"/>
                    <a:pt x="470" y="1238"/>
                  </a:cubicBezTo>
                  <a:cubicBezTo>
                    <a:pt x="484" y="1238"/>
                    <a:pt x="484" y="1238"/>
                    <a:pt x="484" y="1238"/>
                  </a:cubicBezTo>
                  <a:cubicBezTo>
                    <a:pt x="467" y="1233"/>
                    <a:pt x="449" y="1228"/>
                    <a:pt x="432" y="1221"/>
                  </a:cubicBezTo>
                  <a:cubicBezTo>
                    <a:pt x="741" y="210"/>
                    <a:pt x="742" y="210"/>
                    <a:pt x="743" y="210"/>
                  </a:cubicBezTo>
                  <a:cubicBezTo>
                    <a:pt x="743" y="210"/>
                    <a:pt x="743" y="210"/>
                    <a:pt x="743" y="210"/>
                  </a:cubicBezTo>
                  <a:cubicBezTo>
                    <a:pt x="742" y="210"/>
                    <a:pt x="743" y="209"/>
                    <a:pt x="742" y="209"/>
                  </a:cubicBezTo>
                  <a:cubicBezTo>
                    <a:pt x="742" y="209"/>
                    <a:pt x="741" y="209"/>
                    <a:pt x="740" y="209"/>
                  </a:cubicBezTo>
                  <a:cubicBezTo>
                    <a:pt x="734" y="171"/>
                    <a:pt x="734" y="171"/>
                    <a:pt x="733" y="171"/>
                  </a:cubicBezTo>
                  <a:cubicBezTo>
                    <a:pt x="734" y="171"/>
                    <a:pt x="735" y="171"/>
                    <a:pt x="735" y="172"/>
                  </a:cubicBezTo>
                  <a:cubicBezTo>
                    <a:pt x="735" y="174"/>
                    <a:pt x="735" y="176"/>
                    <a:pt x="734" y="177"/>
                  </a:cubicBezTo>
                  <a:cubicBezTo>
                    <a:pt x="738" y="176"/>
                    <a:pt x="738" y="171"/>
                    <a:pt x="734" y="171"/>
                  </a:cubicBezTo>
                  <a:cubicBezTo>
                    <a:pt x="633" y="206"/>
                    <a:pt x="632" y="206"/>
                    <a:pt x="632" y="207"/>
                  </a:cubicBezTo>
                  <a:cubicBezTo>
                    <a:pt x="632" y="207"/>
                    <a:pt x="632" y="207"/>
                    <a:pt x="632" y="207"/>
                  </a:cubicBezTo>
                  <a:cubicBezTo>
                    <a:pt x="633" y="206"/>
                    <a:pt x="633" y="206"/>
                    <a:pt x="633" y="206"/>
                  </a:cubicBezTo>
                  <a:cubicBezTo>
                    <a:pt x="566" y="1251"/>
                    <a:pt x="573" y="1252"/>
                    <a:pt x="580" y="1253"/>
                  </a:cubicBezTo>
                  <a:cubicBezTo>
                    <a:pt x="581" y="1250"/>
                    <a:pt x="582" y="1247"/>
                    <a:pt x="583" y="1246"/>
                  </a:cubicBezTo>
                  <a:cubicBezTo>
                    <a:pt x="582" y="1246"/>
                    <a:pt x="582" y="1245"/>
                    <a:pt x="581" y="1245"/>
                  </a:cubicBezTo>
                  <a:cubicBezTo>
                    <a:pt x="581" y="1247"/>
                    <a:pt x="580" y="1248"/>
                    <a:pt x="578" y="1247"/>
                  </a:cubicBezTo>
                  <a:cubicBezTo>
                    <a:pt x="577" y="1247"/>
                    <a:pt x="576" y="1246"/>
                    <a:pt x="576" y="1245"/>
                  </a:cubicBezTo>
                  <a:cubicBezTo>
                    <a:pt x="576" y="1244"/>
                    <a:pt x="575" y="1244"/>
                    <a:pt x="575" y="1244"/>
                  </a:cubicBezTo>
                  <a:cubicBezTo>
                    <a:pt x="575" y="1245"/>
                    <a:pt x="575" y="1245"/>
                    <a:pt x="575" y="1245"/>
                  </a:cubicBezTo>
                  <a:cubicBezTo>
                    <a:pt x="571" y="1247"/>
                    <a:pt x="569" y="1250"/>
                    <a:pt x="563" y="1249"/>
                  </a:cubicBezTo>
                  <a:cubicBezTo>
                    <a:pt x="563" y="1247"/>
                    <a:pt x="563" y="1245"/>
                    <a:pt x="564" y="1243"/>
                  </a:cubicBezTo>
                  <a:cubicBezTo>
                    <a:pt x="562" y="1242"/>
                    <a:pt x="559" y="1242"/>
                    <a:pt x="557" y="1241"/>
                  </a:cubicBezTo>
                  <a:cubicBezTo>
                    <a:pt x="556" y="1242"/>
                    <a:pt x="554" y="1243"/>
                    <a:pt x="553" y="1243"/>
                  </a:cubicBezTo>
                  <a:cubicBezTo>
                    <a:pt x="554" y="1245"/>
                    <a:pt x="556" y="1246"/>
                    <a:pt x="555" y="1248"/>
                  </a:cubicBezTo>
                  <a:cubicBezTo>
                    <a:pt x="557" y="1248"/>
                    <a:pt x="557" y="1246"/>
                    <a:pt x="560" y="1247"/>
                  </a:cubicBezTo>
                  <a:cubicBezTo>
                    <a:pt x="561" y="1248"/>
                    <a:pt x="560" y="1249"/>
                    <a:pt x="559" y="1249"/>
                  </a:cubicBezTo>
                  <a:cubicBezTo>
                    <a:pt x="854" y="1217"/>
                    <a:pt x="854" y="1217"/>
                    <a:pt x="854" y="1217"/>
                  </a:cubicBezTo>
                  <a:cubicBezTo>
                    <a:pt x="853" y="1217"/>
                    <a:pt x="853" y="1217"/>
                    <a:pt x="853" y="1217"/>
                  </a:cubicBezTo>
                  <a:cubicBezTo>
                    <a:pt x="832" y="1224"/>
                    <a:pt x="812" y="1230"/>
                    <a:pt x="792" y="1235"/>
                  </a:cubicBezTo>
                  <a:cubicBezTo>
                    <a:pt x="820" y="1235"/>
                    <a:pt x="820" y="1235"/>
                    <a:pt x="820" y="1235"/>
                  </a:cubicBezTo>
                  <a:cubicBezTo>
                    <a:pt x="838" y="1230"/>
                    <a:pt x="856" y="1224"/>
                    <a:pt x="874" y="1217"/>
                  </a:cubicBezTo>
                  <a:cubicBezTo>
                    <a:pt x="869" y="1217"/>
                    <a:pt x="869" y="1217"/>
                    <a:pt x="869" y="1217"/>
                  </a:cubicBezTo>
                  <a:cubicBezTo>
                    <a:pt x="869" y="1215"/>
                    <a:pt x="866" y="1215"/>
                    <a:pt x="864" y="1214"/>
                  </a:cubicBezTo>
                  <a:cubicBezTo>
                    <a:pt x="864" y="1214"/>
                    <a:pt x="864" y="1214"/>
                    <a:pt x="864" y="1213"/>
                  </a:cubicBezTo>
                  <a:cubicBezTo>
                    <a:pt x="861" y="1215"/>
                    <a:pt x="857" y="1216"/>
                    <a:pt x="854" y="1217"/>
                  </a:cubicBezTo>
                  <a:cubicBezTo>
                    <a:pt x="1143" y="1119"/>
                    <a:pt x="1140" y="1122"/>
                    <a:pt x="1136" y="1125"/>
                  </a:cubicBezTo>
                  <a:cubicBezTo>
                    <a:pt x="1141" y="1125"/>
                    <a:pt x="1141" y="1125"/>
                    <a:pt x="1141" y="1125"/>
                  </a:cubicBezTo>
                  <a:cubicBezTo>
                    <a:pt x="1142" y="1125"/>
                    <a:pt x="1142" y="1125"/>
                    <a:pt x="1142" y="1125"/>
                  </a:cubicBezTo>
                  <a:cubicBezTo>
                    <a:pt x="1143" y="1125"/>
                    <a:pt x="1143" y="1125"/>
                    <a:pt x="1143" y="1125"/>
                  </a:cubicBezTo>
                  <a:cubicBezTo>
                    <a:pt x="1146" y="1125"/>
                    <a:pt x="1146" y="1125"/>
                    <a:pt x="1146" y="1125"/>
                  </a:cubicBezTo>
                  <a:cubicBezTo>
                    <a:pt x="1148" y="1124"/>
                    <a:pt x="1149" y="1122"/>
                    <a:pt x="1151" y="1120"/>
                  </a:cubicBezTo>
                  <a:cubicBezTo>
                    <a:pt x="1154" y="1117"/>
                    <a:pt x="1149" y="1113"/>
                    <a:pt x="1146" y="1116"/>
                  </a:cubicBezTo>
                  <a:cubicBezTo>
                    <a:pt x="1089" y="1140"/>
                    <a:pt x="1089" y="1138"/>
                    <a:pt x="1090" y="1137"/>
                  </a:cubicBezTo>
                  <a:cubicBezTo>
                    <a:pt x="1088" y="1137"/>
                    <a:pt x="1087" y="1136"/>
                    <a:pt x="1086" y="1136"/>
                  </a:cubicBezTo>
                  <a:cubicBezTo>
                    <a:pt x="1085" y="1137"/>
                    <a:pt x="1085" y="1137"/>
                    <a:pt x="1084" y="1138"/>
                  </a:cubicBezTo>
                  <a:cubicBezTo>
                    <a:pt x="1085" y="1139"/>
                    <a:pt x="1087" y="1140"/>
                    <a:pt x="1089" y="1141"/>
                  </a:cubicBezTo>
                  <a:cubicBezTo>
                    <a:pt x="1089" y="1141"/>
                    <a:pt x="1090" y="1141"/>
                    <a:pt x="1090" y="1141"/>
                  </a:cubicBezTo>
                  <a:cubicBezTo>
                    <a:pt x="1092" y="1140"/>
                    <a:pt x="1093" y="1139"/>
                    <a:pt x="1095" y="1138"/>
                  </a:cubicBezTo>
                  <a:cubicBezTo>
                    <a:pt x="1094" y="1138"/>
                    <a:pt x="1094" y="1138"/>
                    <a:pt x="1094" y="1139"/>
                  </a:cubicBezTo>
                  <a:cubicBezTo>
                    <a:pt x="1093" y="1138"/>
                    <a:pt x="1093" y="1137"/>
                    <a:pt x="1093" y="1137"/>
                  </a:cubicBezTo>
                  <a:cubicBezTo>
                    <a:pt x="1093" y="1138"/>
                    <a:pt x="1092" y="1140"/>
                    <a:pt x="1090" y="1140"/>
                  </a:cubicBezTo>
                  <a:cubicBezTo>
                    <a:pt x="117" y="415"/>
                    <a:pt x="123" y="409"/>
                    <a:pt x="130" y="403"/>
                  </a:cubicBezTo>
                  <a:cubicBezTo>
                    <a:pt x="119" y="404"/>
                    <a:pt x="119" y="404"/>
                    <a:pt x="119" y="404"/>
                  </a:cubicBezTo>
                  <a:cubicBezTo>
                    <a:pt x="113" y="409"/>
                    <a:pt x="107" y="415"/>
                    <a:pt x="101" y="421"/>
                  </a:cubicBezTo>
                  <a:cubicBezTo>
                    <a:pt x="518" y="849"/>
                    <a:pt x="518" y="849"/>
                    <a:pt x="518" y="849"/>
                  </a:cubicBezTo>
                  <a:cubicBezTo>
                    <a:pt x="518" y="849"/>
                    <a:pt x="518" y="849"/>
                    <a:pt x="518" y="849"/>
                  </a:cubicBezTo>
                  <a:cubicBezTo>
                    <a:pt x="518" y="849"/>
                    <a:pt x="518" y="849"/>
                    <a:pt x="518" y="849"/>
                  </a:cubicBezTo>
                  <a:cubicBezTo>
                    <a:pt x="544" y="882"/>
                    <a:pt x="547" y="881"/>
                    <a:pt x="548" y="881"/>
                  </a:cubicBezTo>
                  <a:cubicBezTo>
                    <a:pt x="550" y="881"/>
                    <a:pt x="550" y="881"/>
                    <a:pt x="550" y="881"/>
                  </a:cubicBezTo>
                  <a:cubicBezTo>
                    <a:pt x="547" y="875"/>
                    <a:pt x="543" y="869"/>
                    <a:pt x="541" y="863"/>
                  </a:cubicBezTo>
                  <a:cubicBezTo>
                    <a:pt x="540" y="863"/>
                    <a:pt x="540" y="863"/>
                    <a:pt x="540" y="863"/>
                  </a:cubicBezTo>
                  <a:cubicBezTo>
                    <a:pt x="539" y="862"/>
                    <a:pt x="539" y="860"/>
                    <a:pt x="538" y="859"/>
                  </a:cubicBezTo>
                  <a:cubicBezTo>
                    <a:pt x="537" y="856"/>
                    <a:pt x="536" y="853"/>
                    <a:pt x="535" y="850"/>
                  </a:cubicBezTo>
                  <a:cubicBezTo>
                    <a:pt x="532" y="849"/>
                    <a:pt x="532" y="847"/>
                    <a:pt x="530" y="847"/>
                  </a:cubicBezTo>
                  <a:cubicBezTo>
                    <a:pt x="530" y="846"/>
                    <a:pt x="530" y="846"/>
                    <a:pt x="530" y="845"/>
                  </a:cubicBezTo>
                  <a:cubicBezTo>
                    <a:pt x="533" y="845"/>
                    <a:pt x="533" y="845"/>
                    <a:pt x="533" y="845"/>
                  </a:cubicBezTo>
                  <a:cubicBezTo>
                    <a:pt x="531" y="839"/>
                    <a:pt x="529" y="834"/>
                    <a:pt x="528" y="828"/>
                  </a:cubicBezTo>
                  <a:cubicBezTo>
                    <a:pt x="524" y="828"/>
                    <a:pt x="524" y="828"/>
                    <a:pt x="524" y="828"/>
                  </a:cubicBezTo>
                  <a:cubicBezTo>
                    <a:pt x="524" y="824"/>
                    <a:pt x="522" y="822"/>
                    <a:pt x="520" y="820"/>
                  </a:cubicBezTo>
                  <a:cubicBezTo>
                    <a:pt x="521" y="829"/>
                    <a:pt x="523" y="837"/>
                    <a:pt x="526" y="845"/>
                  </a:cubicBezTo>
                  <a:cubicBezTo>
                    <a:pt x="526" y="845"/>
                    <a:pt x="526" y="845"/>
                    <a:pt x="526" y="845"/>
                  </a:cubicBezTo>
                  <a:cubicBezTo>
                    <a:pt x="526" y="846"/>
                    <a:pt x="526" y="846"/>
                    <a:pt x="526" y="846"/>
                  </a:cubicBezTo>
                  <a:cubicBezTo>
                    <a:pt x="531" y="859"/>
                    <a:pt x="536" y="871"/>
                    <a:pt x="543" y="882"/>
                  </a:cubicBezTo>
                  <a:cubicBezTo>
                    <a:pt x="604" y="956"/>
                    <a:pt x="604" y="956"/>
                    <a:pt x="604" y="957"/>
                  </a:cubicBezTo>
                  <a:cubicBezTo>
                    <a:pt x="604" y="956"/>
                    <a:pt x="604" y="956"/>
                    <a:pt x="604" y="956"/>
                  </a:cubicBezTo>
                  <a:cubicBezTo>
                    <a:pt x="604" y="956"/>
                    <a:pt x="604" y="956"/>
                    <a:pt x="604" y="956"/>
                  </a:cubicBezTo>
                  <a:cubicBezTo>
                    <a:pt x="523" y="884"/>
                    <a:pt x="524" y="883"/>
                    <a:pt x="524" y="882"/>
                  </a:cubicBezTo>
                  <a:cubicBezTo>
                    <a:pt x="524" y="881"/>
                    <a:pt x="523" y="880"/>
                    <a:pt x="523" y="880"/>
                  </a:cubicBezTo>
                  <a:cubicBezTo>
                    <a:pt x="522" y="874"/>
                    <a:pt x="520" y="868"/>
                    <a:pt x="519" y="862"/>
                  </a:cubicBezTo>
                  <a:cubicBezTo>
                    <a:pt x="519" y="862"/>
                    <a:pt x="519" y="862"/>
                    <a:pt x="519" y="862"/>
                  </a:cubicBezTo>
                  <a:cubicBezTo>
                    <a:pt x="516" y="862"/>
                    <a:pt x="516" y="860"/>
                    <a:pt x="515" y="859"/>
                  </a:cubicBezTo>
                  <a:cubicBezTo>
                    <a:pt x="515" y="859"/>
                    <a:pt x="514" y="859"/>
                    <a:pt x="514" y="859"/>
                  </a:cubicBezTo>
                  <a:cubicBezTo>
                    <a:pt x="514" y="862"/>
                    <a:pt x="514" y="863"/>
                    <a:pt x="513" y="863"/>
                  </a:cubicBezTo>
                  <a:cubicBezTo>
                    <a:pt x="516" y="882"/>
                    <a:pt x="522" y="900"/>
                    <a:pt x="530" y="917"/>
                  </a:cubicBezTo>
                  <a:cubicBezTo>
                    <a:pt x="533" y="922"/>
                    <a:pt x="536" y="927"/>
                    <a:pt x="539" y="932"/>
                  </a:cubicBezTo>
                  <a:cubicBezTo>
                    <a:pt x="540" y="931"/>
                    <a:pt x="541" y="931"/>
                    <a:pt x="542" y="932"/>
                  </a:cubicBezTo>
                  <a:cubicBezTo>
                    <a:pt x="543" y="932"/>
                    <a:pt x="543" y="934"/>
                    <a:pt x="542" y="935"/>
                  </a:cubicBezTo>
                  <a:cubicBezTo>
                    <a:pt x="541" y="935"/>
                    <a:pt x="541" y="935"/>
                    <a:pt x="541" y="935"/>
                  </a:cubicBezTo>
                  <a:cubicBezTo>
                    <a:pt x="549" y="947"/>
                    <a:pt x="559" y="959"/>
                    <a:pt x="570" y="970"/>
                  </a:cubicBezTo>
                  <a:cubicBezTo>
                    <a:pt x="570" y="968"/>
                    <a:pt x="570" y="967"/>
                    <a:pt x="570" y="965"/>
                  </a:cubicBezTo>
                  <a:cubicBezTo>
                    <a:pt x="574" y="964"/>
                    <a:pt x="573" y="968"/>
                    <a:pt x="573" y="970"/>
                  </a:cubicBezTo>
                  <a:cubicBezTo>
                    <a:pt x="571" y="970"/>
                    <a:pt x="571" y="970"/>
                    <a:pt x="571" y="970"/>
                  </a:cubicBezTo>
                  <a:cubicBezTo>
                    <a:pt x="577" y="976"/>
                    <a:pt x="584" y="982"/>
                    <a:pt x="591" y="987"/>
                  </a:cubicBezTo>
                  <a:cubicBezTo>
                    <a:pt x="603" y="987"/>
                    <a:pt x="603" y="987"/>
                    <a:pt x="603" y="987"/>
                  </a:cubicBezTo>
                  <a:cubicBezTo>
                    <a:pt x="598" y="984"/>
                    <a:pt x="593" y="980"/>
                    <a:pt x="589" y="976"/>
                  </a:cubicBezTo>
                  <a:cubicBezTo>
                    <a:pt x="584" y="972"/>
                    <a:pt x="579" y="968"/>
                    <a:pt x="575" y="963"/>
                  </a:cubicBezTo>
                  <a:cubicBezTo>
                    <a:pt x="575" y="963"/>
                    <a:pt x="575" y="963"/>
                    <a:pt x="575" y="963"/>
                  </a:cubicBezTo>
                  <a:cubicBezTo>
                    <a:pt x="571" y="966"/>
                    <a:pt x="566" y="963"/>
                    <a:pt x="567" y="958"/>
                  </a:cubicBezTo>
                  <a:cubicBezTo>
                    <a:pt x="566" y="958"/>
                    <a:pt x="565" y="958"/>
                    <a:pt x="563" y="958"/>
                  </a:cubicBezTo>
                  <a:cubicBezTo>
                    <a:pt x="564" y="956"/>
                    <a:pt x="564" y="955"/>
                    <a:pt x="565" y="953"/>
                  </a:cubicBezTo>
                  <a:cubicBezTo>
                    <a:pt x="555" y="943"/>
                    <a:pt x="547" y="932"/>
                    <a:pt x="540" y="920"/>
                  </a:cubicBezTo>
                  <a:cubicBezTo>
                    <a:pt x="540" y="920"/>
                    <a:pt x="540" y="920"/>
                    <a:pt x="540" y="920"/>
                  </a:cubicBezTo>
                  <a:cubicBezTo>
                    <a:pt x="540" y="922"/>
                    <a:pt x="542" y="923"/>
                    <a:pt x="541" y="926"/>
                  </a:cubicBezTo>
                  <a:cubicBezTo>
                    <a:pt x="538" y="926"/>
                    <a:pt x="534" y="923"/>
                    <a:pt x="536" y="918"/>
                  </a:cubicBezTo>
                  <a:cubicBezTo>
                    <a:pt x="536" y="919"/>
                    <a:pt x="537" y="918"/>
                    <a:pt x="537" y="918"/>
                  </a:cubicBezTo>
                  <a:cubicBezTo>
                    <a:pt x="537" y="918"/>
                    <a:pt x="538" y="917"/>
                    <a:pt x="538" y="917"/>
                  </a:cubicBezTo>
                  <a:cubicBezTo>
                    <a:pt x="535" y="910"/>
                    <a:pt x="532" y="903"/>
                    <a:pt x="529" y="896"/>
                  </a:cubicBezTo>
                  <a:cubicBezTo>
                    <a:pt x="529" y="896"/>
                    <a:pt x="529" y="896"/>
                    <a:pt x="529" y="896"/>
                  </a:cubicBezTo>
                  <a:cubicBezTo>
                    <a:pt x="528" y="896"/>
                    <a:pt x="528" y="896"/>
                    <a:pt x="528" y="895"/>
                  </a:cubicBezTo>
                  <a:cubicBezTo>
                    <a:pt x="528" y="894"/>
                    <a:pt x="527" y="893"/>
                    <a:pt x="527" y="892"/>
                  </a:cubicBezTo>
                  <a:cubicBezTo>
                    <a:pt x="526" y="891"/>
                    <a:pt x="526" y="891"/>
                    <a:pt x="526" y="891"/>
                  </a:cubicBezTo>
                  <a:cubicBezTo>
                    <a:pt x="526" y="890"/>
                    <a:pt x="526" y="890"/>
                    <a:pt x="526" y="889"/>
                  </a:cubicBezTo>
                  <a:cubicBezTo>
                    <a:pt x="526" y="889"/>
                    <a:pt x="526" y="888"/>
                    <a:pt x="526" y="888"/>
                  </a:cubicBezTo>
                  <a:cubicBezTo>
                    <a:pt x="525" y="888"/>
                    <a:pt x="525" y="888"/>
                    <a:pt x="525" y="888"/>
                  </a:cubicBezTo>
                  <a:cubicBezTo>
                    <a:pt x="525" y="888"/>
                    <a:pt x="525" y="889"/>
                    <a:pt x="525" y="889"/>
                  </a:cubicBezTo>
                  <a:cubicBezTo>
                    <a:pt x="522" y="889"/>
                    <a:pt x="521" y="889"/>
                    <a:pt x="519" y="888"/>
                  </a:cubicBezTo>
                  <a:cubicBezTo>
                    <a:pt x="519" y="885"/>
                    <a:pt x="521" y="885"/>
                    <a:pt x="523" y="885"/>
                  </a:cubicBezTo>
                  <a:cubicBezTo>
                    <a:pt x="526" y="649"/>
                    <a:pt x="526" y="649"/>
                    <a:pt x="526" y="650"/>
                  </a:cubicBezTo>
                  <a:cubicBezTo>
                    <a:pt x="525" y="650"/>
                    <a:pt x="525" y="650"/>
                    <a:pt x="525" y="650"/>
                  </a:cubicBezTo>
                  <a:cubicBezTo>
                    <a:pt x="517" y="654"/>
                    <a:pt x="510" y="660"/>
                    <a:pt x="503" y="665"/>
                  </a:cubicBezTo>
                  <a:cubicBezTo>
                    <a:pt x="499" y="669"/>
                    <a:pt x="494" y="673"/>
                    <a:pt x="490" y="677"/>
                  </a:cubicBezTo>
                  <a:cubicBezTo>
                    <a:pt x="490" y="677"/>
                    <a:pt x="490" y="677"/>
                    <a:pt x="490" y="677"/>
                  </a:cubicBezTo>
                  <a:cubicBezTo>
                    <a:pt x="490" y="677"/>
                    <a:pt x="489" y="677"/>
                    <a:pt x="489" y="677"/>
                  </a:cubicBezTo>
                  <a:cubicBezTo>
                    <a:pt x="489" y="678"/>
                    <a:pt x="489" y="678"/>
                    <a:pt x="488" y="678"/>
                  </a:cubicBezTo>
                  <a:cubicBezTo>
                    <a:pt x="488" y="678"/>
                    <a:pt x="489" y="678"/>
                    <a:pt x="489" y="678"/>
                  </a:cubicBezTo>
                  <a:cubicBezTo>
                    <a:pt x="489" y="679"/>
                    <a:pt x="489" y="681"/>
                    <a:pt x="489" y="682"/>
                  </a:cubicBezTo>
                  <a:cubicBezTo>
                    <a:pt x="487" y="682"/>
                    <a:pt x="486" y="682"/>
                    <a:pt x="485" y="682"/>
                  </a:cubicBezTo>
                  <a:cubicBezTo>
                    <a:pt x="484" y="682"/>
                    <a:pt x="484" y="683"/>
                    <a:pt x="483" y="684"/>
                  </a:cubicBezTo>
                  <a:cubicBezTo>
                    <a:pt x="483" y="684"/>
                    <a:pt x="483" y="684"/>
                    <a:pt x="483" y="684"/>
                  </a:cubicBezTo>
                  <a:cubicBezTo>
                    <a:pt x="486" y="686"/>
                    <a:pt x="490" y="684"/>
                    <a:pt x="493" y="683"/>
                  </a:cubicBezTo>
                  <a:cubicBezTo>
                    <a:pt x="498" y="679"/>
                    <a:pt x="503" y="674"/>
                    <a:pt x="508" y="670"/>
                  </a:cubicBezTo>
                  <a:cubicBezTo>
                    <a:pt x="505" y="670"/>
                    <a:pt x="504" y="669"/>
                    <a:pt x="501" y="671"/>
                  </a:cubicBezTo>
                  <a:cubicBezTo>
                    <a:pt x="500" y="669"/>
                    <a:pt x="500" y="668"/>
                    <a:pt x="501" y="667"/>
                  </a:cubicBezTo>
                  <a:cubicBezTo>
                    <a:pt x="511" y="667"/>
                    <a:pt x="511" y="667"/>
                    <a:pt x="511" y="667"/>
                  </a:cubicBezTo>
                  <a:cubicBezTo>
                    <a:pt x="511" y="667"/>
                    <a:pt x="511" y="668"/>
                    <a:pt x="510" y="668"/>
                  </a:cubicBezTo>
                  <a:cubicBezTo>
                    <a:pt x="510" y="668"/>
                    <a:pt x="511" y="668"/>
                    <a:pt x="511" y="668"/>
                  </a:cubicBezTo>
                  <a:cubicBezTo>
                    <a:pt x="519" y="661"/>
                    <a:pt x="528" y="655"/>
                    <a:pt x="537" y="650"/>
                  </a:cubicBezTo>
                  <a:cubicBezTo>
                    <a:pt x="535" y="650"/>
                    <a:pt x="535" y="650"/>
                    <a:pt x="535" y="650"/>
                  </a:cubicBezTo>
                  <a:cubicBezTo>
                    <a:pt x="535" y="648"/>
                    <a:pt x="536" y="645"/>
                    <a:pt x="536" y="643"/>
                  </a:cubicBezTo>
                  <a:cubicBezTo>
                    <a:pt x="532" y="645"/>
                    <a:pt x="529" y="647"/>
                    <a:pt x="526" y="649"/>
                  </a:cubicBezTo>
                  <a:cubicBezTo>
                    <a:pt x="562" y="990"/>
                    <a:pt x="561" y="990"/>
                    <a:pt x="560" y="989"/>
                  </a:cubicBezTo>
                  <a:cubicBezTo>
                    <a:pt x="558" y="990"/>
                    <a:pt x="558" y="992"/>
                    <a:pt x="558" y="994"/>
                  </a:cubicBezTo>
                  <a:cubicBezTo>
                    <a:pt x="562" y="997"/>
                    <a:pt x="566" y="1000"/>
                    <a:pt x="569" y="1004"/>
                  </a:cubicBezTo>
                  <a:cubicBezTo>
                    <a:pt x="570" y="1000"/>
                    <a:pt x="568" y="995"/>
                    <a:pt x="563" y="991"/>
                  </a:cubicBezTo>
                  <a:cubicBezTo>
                    <a:pt x="172" y="461"/>
                    <a:pt x="171" y="462"/>
                    <a:pt x="171" y="463"/>
                  </a:cubicBezTo>
                  <a:cubicBezTo>
                    <a:pt x="172" y="463"/>
                    <a:pt x="172" y="461"/>
                    <a:pt x="173" y="461"/>
                  </a:cubicBezTo>
                  <a:cubicBezTo>
                    <a:pt x="542" y="977"/>
                    <a:pt x="547" y="983"/>
                    <a:pt x="553" y="988"/>
                  </a:cubicBezTo>
                  <a:cubicBezTo>
                    <a:pt x="553" y="988"/>
                    <a:pt x="553" y="988"/>
                    <a:pt x="554" y="988"/>
                  </a:cubicBezTo>
                  <a:cubicBezTo>
                    <a:pt x="562" y="988"/>
                    <a:pt x="562" y="988"/>
                    <a:pt x="562" y="988"/>
                  </a:cubicBezTo>
                  <a:cubicBezTo>
                    <a:pt x="556" y="982"/>
                    <a:pt x="551" y="976"/>
                    <a:pt x="546" y="970"/>
                  </a:cubicBezTo>
                  <a:cubicBezTo>
                    <a:pt x="662" y="643"/>
                    <a:pt x="661" y="641"/>
                    <a:pt x="660" y="640"/>
                  </a:cubicBezTo>
                  <a:cubicBezTo>
                    <a:pt x="658" y="639"/>
                    <a:pt x="657" y="639"/>
                    <a:pt x="655" y="639"/>
                  </a:cubicBezTo>
                  <a:cubicBezTo>
                    <a:pt x="655" y="642"/>
                    <a:pt x="654" y="645"/>
                    <a:pt x="652" y="645"/>
                  </a:cubicBezTo>
                  <a:cubicBezTo>
                    <a:pt x="654" y="645"/>
                    <a:pt x="657" y="645"/>
                    <a:pt x="659" y="646"/>
                  </a:cubicBezTo>
                  <a:cubicBezTo>
                    <a:pt x="659" y="645"/>
                    <a:pt x="660" y="645"/>
                    <a:pt x="660" y="645"/>
                  </a:cubicBezTo>
                  <a:cubicBezTo>
                    <a:pt x="663" y="646"/>
                    <a:pt x="664" y="646"/>
                    <a:pt x="664" y="644"/>
                  </a:cubicBezTo>
                  <a:cubicBezTo>
                    <a:pt x="628" y="640"/>
                    <a:pt x="630" y="640"/>
                    <a:pt x="631" y="641"/>
                  </a:cubicBezTo>
                  <a:cubicBezTo>
                    <a:pt x="631" y="643"/>
                    <a:pt x="631" y="644"/>
                    <a:pt x="631" y="646"/>
                  </a:cubicBezTo>
                  <a:cubicBezTo>
                    <a:pt x="636" y="645"/>
                    <a:pt x="642" y="645"/>
                    <a:pt x="647" y="645"/>
                  </a:cubicBezTo>
                  <a:cubicBezTo>
                    <a:pt x="647" y="645"/>
                    <a:pt x="647" y="644"/>
                    <a:pt x="647" y="643"/>
                  </a:cubicBezTo>
                  <a:cubicBezTo>
                    <a:pt x="644" y="644"/>
                    <a:pt x="641" y="643"/>
                    <a:pt x="639" y="641"/>
                  </a:cubicBezTo>
                  <a:cubicBezTo>
                    <a:pt x="639" y="640"/>
                    <a:pt x="639" y="640"/>
                    <a:pt x="639" y="639"/>
                  </a:cubicBezTo>
                  <a:cubicBezTo>
                    <a:pt x="635" y="640"/>
                    <a:pt x="630" y="640"/>
                    <a:pt x="626" y="640"/>
                  </a:cubicBezTo>
                  <a:cubicBezTo>
                    <a:pt x="170" y="470"/>
                    <a:pt x="171" y="470"/>
                    <a:pt x="171" y="472"/>
                  </a:cubicBezTo>
                  <a:cubicBezTo>
                    <a:pt x="172" y="471"/>
                    <a:pt x="173" y="470"/>
                    <a:pt x="174" y="469"/>
                  </a:cubicBezTo>
                  <a:cubicBezTo>
                    <a:pt x="174" y="469"/>
                    <a:pt x="174" y="468"/>
                    <a:pt x="174" y="468"/>
                  </a:cubicBezTo>
                  <a:cubicBezTo>
                    <a:pt x="173" y="469"/>
                    <a:pt x="171" y="469"/>
                    <a:pt x="169" y="469"/>
                  </a:cubicBezTo>
                  <a:cubicBezTo>
                    <a:pt x="554" y="888"/>
                    <a:pt x="554" y="888"/>
                    <a:pt x="554" y="887"/>
                  </a:cubicBezTo>
                  <a:cubicBezTo>
                    <a:pt x="553" y="887"/>
                    <a:pt x="552" y="887"/>
                    <a:pt x="550" y="887"/>
                  </a:cubicBezTo>
                  <a:cubicBezTo>
                    <a:pt x="549" y="886"/>
                    <a:pt x="550" y="883"/>
                    <a:pt x="548" y="882"/>
                  </a:cubicBezTo>
                  <a:cubicBezTo>
                    <a:pt x="549" y="885"/>
                    <a:pt x="548" y="887"/>
                    <a:pt x="546" y="887"/>
                  </a:cubicBezTo>
                  <a:cubicBezTo>
                    <a:pt x="546" y="888"/>
                    <a:pt x="547" y="889"/>
                    <a:pt x="547" y="889"/>
                  </a:cubicBezTo>
                  <a:cubicBezTo>
                    <a:pt x="548" y="889"/>
                    <a:pt x="548" y="889"/>
                    <a:pt x="549" y="889"/>
                  </a:cubicBezTo>
                  <a:cubicBezTo>
                    <a:pt x="548" y="890"/>
                    <a:pt x="549" y="891"/>
                    <a:pt x="549" y="892"/>
                  </a:cubicBezTo>
                  <a:cubicBezTo>
                    <a:pt x="554" y="901"/>
                    <a:pt x="560" y="909"/>
                    <a:pt x="566" y="916"/>
                  </a:cubicBezTo>
                  <a:cubicBezTo>
                    <a:pt x="571" y="916"/>
                    <a:pt x="571" y="916"/>
                    <a:pt x="571" y="916"/>
                  </a:cubicBezTo>
                  <a:cubicBezTo>
                    <a:pt x="571" y="918"/>
                    <a:pt x="570" y="919"/>
                    <a:pt x="569" y="920"/>
                  </a:cubicBezTo>
                  <a:cubicBezTo>
                    <a:pt x="570" y="920"/>
                    <a:pt x="570" y="921"/>
                    <a:pt x="570" y="921"/>
                  </a:cubicBezTo>
                  <a:cubicBezTo>
                    <a:pt x="570" y="919"/>
                    <a:pt x="571" y="918"/>
                    <a:pt x="572" y="916"/>
                  </a:cubicBezTo>
                  <a:cubicBezTo>
                    <a:pt x="575" y="916"/>
                    <a:pt x="575" y="916"/>
                    <a:pt x="575" y="916"/>
                  </a:cubicBezTo>
                  <a:cubicBezTo>
                    <a:pt x="571" y="912"/>
                    <a:pt x="568" y="907"/>
                    <a:pt x="564" y="903"/>
                  </a:cubicBezTo>
                  <a:cubicBezTo>
                    <a:pt x="562" y="900"/>
                    <a:pt x="560" y="897"/>
                    <a:pt x="558" y="894"/>
                  </a:cubicBezTo>
                  <a:cubicBezTo>
                    <a:pt x="557" y="894"/>
                    <a:pt x="556" y="895"/>
                    <a:pt x="554" y="895"/>
                  </a:cubicBezTo>
                  <a:cubicBezTo>
                    <a:pt x="553" y="894"/>
                    <a:pt x="553" y="892"/>
                    <a:pt x="553" y="890"/>
                  </a:cubicBezTo>
                  <a:cubicBezTo>
                    <a:pt x="554" y="889"/>
                    <a:pt x="554" y="889"/>
                    <a:pt x="555" y="889"/>
                  </a:cubicBezTo>
                  <a:cubicBezTo>
                    <a:pt x="704" y="671"/>
                    <a:pt x="703" y="673"/>
                    <a:pt x="702" y="675"/>
                  </a:cubicBezTo>
                  <a:cubicBezTo>
                    <a:pt x="704" y="675"/>
                    <a:pt x="706" y="675"/>
                    <a:pt x="708" y="676"/>
                  </a:cubicBezTo>
                  <a:cubicBezTo>
                    <a:pt x="707" y="675"/>
                    <a:pt x="707" y="674"/>
                    <a:pt x="708" y="672"/>
                  </a:cubicBezTo>
                  <a:cubicBezTo>
                    <a:pt x="710" y="671"/>
                    <a:pt x="714" y="671"/>
                    <a:pt x="715" y="670"/>
                  </a:cubicBezTo>
                  <a:cubicBezTo>
                    <a:pt x="713" y="670"/>
                    <a:pt x="710" y="669"/>
                    <a:pt x="708" y="669"/>
                  </a:cubicBezTo>
                  <a:cubicBezTo>
                    <a:pt x="707" y="669"/>
                    <a:pt x="707" y="669"/>
                    <a:pt x="706" y="669"/>
                  </a:cubicBezTo>
                  <a:cubicBezTo>
                    <a:pt x="706" y="669"/>
                    <a:pt x="706" y="669"/>
                    <a:pt x="706" y="669"/>
                  </a:cubicBezTo>
                  <a:cubicBezTo>
                    <a:pt x="705" y="669"/>
                    <a:pt x="705" y="669"/>
                    <a:pt x="705" y="669"/>
                  </a:cubicBezTo>
                  <a:cubicBezTo>
                    <a:pt x="721" y="676"/>
                    <a:pt x="719" y="674"/>
                    <a:pt x="718" y="671"/>
                  </a:cubicBezTo>
                  <a:cubicBezTo>
                    <a:pt x="718" y="673"/>
                    <a:pt x="718" y="675"/>
                    <a:pt x="718" y="677"/>
                  </a:cubicBezTo>
                  <a:cubicBezTo>
                    <a:pt x="720" y="677"/>
                    <a:pt x="722" y="677"/>
                    <a:pt x="725" y="677"/>
                  </a:cubicBezTo>
                  <a:cubicBezTo>
                    <a:pt x="726" y="677"/>
                    <a:pt x="726" y="676"/>
                    <a:pt x="727" y="675"/>
                  </a:cubicBezTo>
                  <a:cubicBezTo>
                    <a:pt x="738" y="677"/>
                    <a:pt x="740" y="677"/>
                    <a:pt x="741" y="676"/>
                  </a:cubicBezTo>
                  <a:cubicBezTo>
                    <a:pt x="741" y="675"/>
                    <a:pt x="740" y="674"/>
                    <a:pt x="739" y="673"/>
                  </a:cubicBezTo>
                  <a:cubicBezTo>
                    <a:pt x="735" y="672"/>
                    <a:pt x="730" y="672"/>
                    <a:pt x="726" y="671"/>
                  </a:cubicBezTo>
                  <a:cubicBezTo>
                    <a:pt x="727" y="672"/>
                    <a:pt x="727" y="673"/>
                    <a:pt x="728" y="675"/>
                  </a:cubicBezTo>
                  <a:cubicBezTo>
                    <a:pt x="729" y="673"/>
                    <a:pt x="733" y="674"/>
                    <a:pt x="734" y="673"/>
                  </a:cubicBezTo>
                  <a:cubicBezTo>
                    <a:pt x="733" y="674"/>
                    <a:pt x="733" y="677"/>
                    <a:pt x="733" y="679"/>
                  </a:cubicBezTo>
                  <a:cubicBezTo>
                    <a:pt x="733" y="679"/>
                    <a:pt x="733" y="679"/>
                    <a:pt x="733" y="679"/>
                  </a:cubicBezTo>
                  <a:cubicBezTo>
                    <a:pt x="734" y="678"/>
                    <a:pt x="734" y="677"/>
                    <a:pt x="734" y="676"/>
                  </a:cubicBezTo>
                  <a:cubicBezTo>
                    <a:pt x="735" y="676"/>
                    <a:pt x="736" y="677"/>
                    <a:pt x="736" y="678"/>
                  </a:cubicBezTo>
                  <a:cubicBezTo>
                    <a:pt x="736" y="677"/>
                    <a:pt x="736" y="677"/>
                    <a:pt x="736" y="677"/>
                  </a:cubicBezTo>
                  <a:cubicBezTo>
                    <a:pt x="591" y="988"/>
                    <a:pt x="591" y="988"/>
                    <a:pt x="592" y="988"/>
                  </a:cubicBezTo>
                  <a:cubicBezTo>
                    <a:pt x="592" y="988"/>
                    <a:pt x="592" y="988"/>
                    <a:pt x="592" y="987"/>
                  </a:cubicBezTo>
                  <a:cubicBezTo>
                    <a:pt x="591" y="987"/>
                    <a:pt x="591" y="987"/>
                    <a:pt x="591" y="987"/>
                  </a:cubicBezTo>
                  <a:cubicBezTo>
                    <a:pt x="508" y="924"/>
                    <a:pt x="508" y="924"/>
                    <a:pt x="508" y="923"/>
                  </a:cubicBezTo>
                  <a:cubicBezTo>
                    <a:pt x="508" y="922"/>
                    <a:pt x="507" y="922"/>
                    <a:pt x="506" y="921"/>
                  </a:cubicBezTo>
                  <a:cubicBezTo>
                    <a:pt x="507" y="922"/>
                    <a:pt x="507" y="923"/>
                    <a:pt x="508" y="925"/>
                  </a:cubicBezTo>
                  <a:cubicBezTo>
                    <a:pt x="488" y="815"/>
                    <a:pt x="487" y="815"/>
                    <a:pt x="487" y="815"/>
                  </a:cubicBezTo>
                  <a:cubicBezTo>
                    <a:pt x="487" y="816"/>
                    <a:pt x="487" y="816"/>
                    <a:pt x="487" y="816"/>
                  </a:cubicBezTo>
                  <a:cubicBezTo>
                    <a:pt x="485" y="816"/>
                    <a:pt x="483" y="816"/>
                    <a:pt x="482" y="816"/>
                  </a:cubicBezTo>
                  <a:cubicBezTo>
                    <a:pt x="482" y="826"/>
                    <a:pt x="483" y="836"/>
                    <a:pt x="484" y="846"/>
                  </a:cubicBezTo>
                  <a:cubicBezTo>
                    <a:pt x="490" y="846"/>
                    <a:pt x="490" y="846"/>
                    <a:pt x="490" y="846"/>
                  </a:cubicBezTo>
                  <a:cubicBezTo>
                    <a:pt x="490" y="846"/>
                    <a:pt x="491" y="846"/>
                    <a:pt x="491" y="846"/>
                  </a:cubicBezTo>
                  <a:cubicBezTo>
                    <a:pt x="490" y="846"/>
                    <a:pt x="490" y="846"/>
                    <a:pt x="490" y="846"/>
                  </a:cubicBezTo>
                  <a:cubicBezTo>
                    <a:pt x="491" y="848"/>
                    <a:pt x="489" y="851"/>
                    <a:pt x="486" y="852"/>
                  </a:cubicBezTo>
                  <a:cubicBezTo>
                    <a:pt x="492" y="853"/>
                    <a:pt x="491" y="858"/>
                    <a:pt x="489" y="864"/>
                  </a:cubicBezTo>
                  <a:cubicBezTo>
                    <a:pt x="487" y="864"/>
                    <a:pt x="487" y="864"/>
                    <a:pt x="487" y="864"/>
                  </a:cubicBezTo>
                  <a:cubicBezTo>
                    <a:pt x="489" y="870"/>
                    <a:pt x="490" y="876"/>
                    <a:pt x="492" y="881"/>
                  </a:cubicBezTo>
                  <a:cubicBezTo>
                    <a:pt x="492" y="881"/>
                    <a:pt x="492" y="881"/>
                    <a:pt x="492" y="881"/>
                  </a:cubicBezTo>
                  <a:cubicBezTo>
                    <a:pt x="492" y="881"/>
                    <a:pt x="492" y="882"/>
                    <a:pt x="492" y="882"/>
                  </a:cubicBezTo>
                  <a:cubicBezTo>
                    <a:pt x="492" y="884"/>
                    <a:pt x="493" y="886"/>
                    <a:pt x="494" y="888"/>
                  </a:cubicBezTo>
                  <a:cubicBezTo>
                    <a:pt x="494" y="890"/>
                    <a:pt x="495" y="892"/>
                    <a:pt x="495" y="893"/>
                  </a:cubicBezTo>
                  <a:cubicBezTo>
                    <a:pt x="497" y="893"/>
                    <a:pt x="498" y="893"/>
                    <a:pt x="498" y="895"/>
                  </a:cubicBezTo>
                  <a:cubicBezTo>
                    <a:pt x="498" y="896"/>
                    <a:pt x="498" y="897"/>
                    <a:pt x="496" y="897"/>
                  </a:cubicBezTo>
                  <a:cubicBezTo>
                    <a:pt x="499" y="904"/>
                    <a:pt x="501" y="910"/>
                    <a:pt x="504" y="917"/>
                  </a:cubicBezTo>
                  <a:cubicBezTo>
                    <a:pt x="512" y="917"/>
                    <a:pt x="512" y="917"/>
                    <a:pt x="512" y="917"/>
                  </a:cubicBezTo>
                  <a:cubicBezTo>
                    <a:pt x="506" y="903"/>
                    <a:pt x="500" y="888"/>
                    <a:pt x="496" y="873"/>
                  </a:cubicBezTo>
                  <a:cubicBezTo>
                    <a:pt x="492" y="858"/>
                    <a:pt x="490" y="841"/>
                    <a:pt x="489" y="824"/>
                  </a:cubicBezTo>
                  <a:cubicBezTo>
                    <a:pt x="488" y="825"/>
                    <a:pt x="486" y="825"/>
                    <a:pt x="485" y="824"/>
                  </a:cubicBezTo>
                  <a:cubicBezTo>
                    <a:pt x="484" y="821"/>
                    <a:pt x="487" y="822"/>
                    <a:pt x="489" y="822"/>
                  </a:cubicBezTo>
                  <a:cubicBezTo>
                    <a:pt x="489" y="821"/>
                    <a:pt x="489" y="820"/>
                    <a:pt x="489" y="820"/>
                  </a:cubicBezTo>
                  <a:cubicBezTo>
                    <a:pt x="488" y="819"/>
                    <a:pt x="487" y="819"/>
                    <a:pt x="487" y="817"/>
                  </a:cubicBezTo>
                  <a:cubicBezTo>
                    <a:pt x="488" y="817"/>
                    <a:pt x="488" y="817"/>
                    <a:pt x="489" y="817"/>
                  </a:cubicBezTo>
                  <a:cubicBezTo>
                    <a:pt x="489" y="816"/>
                    <a:pt x="489" y="814"/>
                    <a:pt x="489" y="813"/>
                  </a:cubicBezTo>
                  <a:cubicBezTo>
                    <a:pt x="489" y="814"/>
                    <a:pt x="488" y="814"/>
                    <a:pt x="488" y="815"/>
                  </a:cubicBezTo>
                  <a:cubicBezTo>
                    <a:pt x="489" y="827"/>
                    <a:pt x="489" y="828"/>
                    <a:pt x="489" y="828"/>
                  </a:cubicBezTo>
                  <a:cubicBezTo>
                    <a:pt x="484" y="828"/>
                    <a:pt x="484" y="828"/>
                    <a:pt x="484" y="828"/>
                  </a:cubicBezTo>
                  <a:cubicBezTo>
                    <a:pt x="485" y="827"/>
                    <a:pt x="486" y="826"/>
                    <a:pt x="489" y="826"/>
                  </a:cubicBezTo>
                  <a:cubicBezTo>
                    <a:pt x="483" y="815"/>
                    <a:pt x="483" y="815"/>
                    <a:pt x="484" y="815"/>
                  </a:cubicBezTo>
                  <a:cubicBezTo>
                    <a:pt x="483" y="814"/>
                    <a:pt x="483" y="814"/>
                    <a:pt x="482" y="813"/>
                  </a:cubicBezTo>
                  <a:cubicBezTo>
                    <a:pt x="482" y="814"/>
                    <a:pt x="482" y="815"/>
                    <a:pt x="482" y="815"/>
                  </a:cubicBezTo>
                  <a:cubicBezTo>
                    <a:pt x="23" y="511"/>
                    <a:pt x="23" y="511"/>
                    <a:pt x="23" y="511"/>
                  </a:cubicBezTo>
                  <a:cubicBezTo>
                    <a:pt x="19" y="517"/>
                    <a:pt x="15" y="523"/>
                    <a:pt x="10" y="529"/>
                  </a:cubicBezTo>
                  <a:cubicBezTo>
                    <a:pt x="19" y="529"/>
                    <a:pt x="19" y="529"/>
                    <a:pt x="19" y="529"/>
                  </a:cubicBezTo>
                  <a:cubicBezTo>
                    <a:pt x="23" y="523"/>
                    <a:pt x="27" y="517"/>
                    <a:pt x="32" y="511"/>
                  </a:cubicBezTo>
                  <a:cubicBezTo>
                    <a:pt x="582" y="745"/>
                    <a:pt x="583" y="746"/>
                    <a:pt x="583" y="748"/>
                  </a:cubicBezTo>
                  <a:cubicBezTo>
                    <a:pt x="585" y="745"/>
                    <a:pt x="588" y="742"/>
                    <a:pt x="590" y="740"/>
                  </a:cubicBezTo>
                  <a:cubicBezTo>
                    <a:pt x="590" y="739"/>
                    <a:pt x="590" y="738"/>
                    <a:pt x="591" y="738"/>
                  </a:cubicBezTo>
                  <a:cubicBezTo>
                    <a:pt x="593" y="738"/>
                    <a:pt x="593" y="738"/>
                    <a:pt x="593" y="738"/>
                  </a:cubicBezTo>
                  <a:cubicBezTo>
                    <a:pt x="593" y="737"/>
                    <a:pt x="593" y="737"/>
                    <a:pt x="594" y="737"/>
                  </a:cubicBezTo>
                  <a:cubicBezTo>
                    <a:pt x="604" y="730"/>
                    <a:pt x="616" y="724"/>
                    <a:pt x="628" y="720"/>
                  </a:cubicBezTo>
                  <a:cubicBezTo>
                    <a:pt x="627" y="720"/>
                    <a:pt x="627" y="720"/>
                    <a:pt x="627" y="720"/>
                  </a:cubicBezTo>
                  <a:cubicBezTo>
                    <a:pt x="626" y="719"/>
                    <a:pt x="624" y="716"/>
                    <a:pt x="624" y="714"/>
                  </a:cubicBezTo>
                  <a:cubicBezTo>
                    <a:pt x="622" y="715"/>
                    <a:pt x="620" y="715"/>
                    <a:pt x="619" y="716"/>
                  </a:cubicBezTo>
                  <a:cubicBezTo>
                    <a:pt x="619" y="716"/>
                    <a:pt x="620" y="717"/>
                    <a:pt x="620" y="718"/>
                  </a:cubicBezTo>
                  <a:cubicBezTo>
                    <a:pt x="619" y="719"/>
                    <a:pt x="619" y="719"/>
                    <a:pt x="618" y="720"/>
                  </a:cubicBezTo>
                  <a:cubicBezTo>
                    <a:pt x="612" y="720"/>
                    <a:pt x="612" y="720"/>
                    <a:pt x="612" y="720"/>
                  </a:cubicBezTo>
                  <a:cubicBezTo>
                    <a:pt x="612" y="720"/>
                    <a:pt x="612" y="719"/>
                    <a:pt x="611" y="719"/>
                  </a:cubicBezTo>
                  <a:cubicBezTo>
                    <a:pt x="611" y="719"/>
                    <a:pt x="611" y="719"/>
                    <a:pt x="611" y="719"/>
                  </a:cubicBezTo>
                  <a:cubicBezTo>
                    <a:pt x="610" y="719"/>
                    <a:pt x="610" y="720"/>
                    <a:pt x="610" y="720"/>
                  </a:cubicBezTo>
                  <a:cubicBezTo>
                    <a:pt x="608" y="720"/>
                    <a:pt x="608" y="720"/>
                    <a:pt x="608" y="720"/>
                  </a:cubicBezTo>
                  <a:cubicBezTo>
                    <a:pt x="601" y="724"/>
                    <a:pt x="594" y="728"/>
                    <a:pt x="589" y="732"/>
                  </a:cubicBezTo>
                  <a:cubicBezTo>
                    <a:pt x="587" y="734"/>
                    <a:pt x="585" y="736"/>
                    <a:pt x="583" y="738"/>
                  </a:cubicBezTo>
                  <a:cubicBezTo>
                    <a:pt x="586" y="738"/>
                    <a:pt x="586" y="738"/>
                    <a:pt x="586" y="738"/>
                  </a:cubicBezTo>
                  <a:cubicBezTo>
                    <a:pt x="584" y="738"/>
                    <a:pt x="583" y="740"/>
                    <a:pt x="581" y="741"/>
                  </a:cubicBezTo>
                  <a:cubicBezTo>
                    <a:pt x="578" y="744"/>
                    <a:pt x="576" y="748"/>
                    <a:pt x="574" y="753"/>
                  </a:cubicBezTo>
                  <a:cubicBezTo>
                    <a:pt x="575" y="753"/>
                    <a:pt x="576" y="754"/>
                    <a:pt x="578" y="752"/>
                  </a:cubicBezTo>
                  <a:cubicBezTo>
                    <a:pt x="579" y="753"/>
                    <a:pt x="579" y="753"/>
                    <a:pt x="580" y="754"/>
                  </a:cubicBezTo>
                  <a:cubicBezTo>
                    <a:pt x="581" y="753"/>
                    <a:pt x="581" y="752"/>
                    <a:pt x="582" y="751"/>
                  </a:cubicBezTo>
                  <a:cubicBezTo>
                    <a:pt x="581" y="751"/>
                    <a:pt x="581" y="751"/>
                    <a:pt x="580" y="751"/>
                  </a:cubicBezTo>
                  <a:cubicBezTo>
                    <a:pt x="578" y="751"/>
                    <a:pt x="577" y="746"/>
                    <a:pt x="579" y="745"/>
                  </a:cubicBezTo>
                  <a:cubicBezTo>
                    <a:pt x="459" y="793"/>
                    <a:pt x="459" y="793"/>
                    <a:pt x="459" y="793"/>
                  </a:cubicBezTo>
                  <a:cubicBezTo>
                    <a:pt x="459" y="799"/>
                    <a:pt x="458" y="804"/>
                    <a:pt x="458" y="810"/>
                  </a:cubicBezTo>
                  <a:cubicBezTo>
                    <a:pt x="460" y="810"/>
                    <a:pt x="460" y="810"/>
                    <a:pt x="460" y="810"/>
                  </a:cubicBezTo>
                  <a:cubicBezTo>
                    <a:pt x="462" y="811"/>
                    <a:pt x="463" y="812"/>
                    <a:pt x="464" y="814"/>
                  </a:cubicBezTo>
                  <a:cubicBezTo>
                    <a:pt x="464" y="807"/>
                    <a:pt x="465" y="800"/>
                    <a:pt x="466" y="793"/>
                  </a:cubicBezTo>
                  <a:cubicBezTo>
                    <a:pt x="48" y="747"/>
                    <a:pt x="48" y="745"/>
                    <a:pt x="49" y="744"/>
                  </a:cubicBezTo>
                  <a:cubicBezTo>
                    <a:pt x="49" y="744"/>
                    <a:pt x="50" y="744"/>
                    <a:pt x="50" y="744"/>
                  </a:cubicBezTo>
                  <a:cubicBezTo>
                    <a:pt x="52" y="736"/>
                    <a:pt x="55" y="728"/>
                    <a:pt x="57" y="720"/>
                  </a:cubicBezTo>
                  <a:cubicBezTo>
                    <a:pt x="57" y="719"/>
                    <a:pt x="57" y="718"/>
                    <a:pt x="57" y="716"/>
                  </a:cubicBezTo>
                  <a:cubicBezTo>
                    <a:pt x="58" y="716"/>
                    <a:pt x="58" y="716"/>
                    <a:pt x="59" y="716"/>
                  </a:cubicBezTo>
                  <a:cubicBezTo>
                    <a:pt x="62" y="707"/>
                    <a:pt x="66" y="698"/>
                    <a:pt x="69" y="689"/>
                  </a:cubicBezTo>
                  <a:cubicBezTo>
                    <a:pt x="68" y="689"/>
                    <a:pt x="67" y="689"/>
                    <a:pt x="66" y="689"/>
                  </a:cubicBezTo>
                  <a:cubicBezTo>
                    <a:pt x="62" y="689"/>
                    <a:pt x="62" y="689"/>
                    <a:pt x="62" y="689"/>
                  </a:cubicBezTo>
                  <a:cubicBezTo>
                    <a:pt x="62" y="689"/>
                    <a:pt x="62" y="689"/>
                    <a:pt x="62" y="688"/>
                  </a:cubicBezTo>
                  <a:cubicBezTo>
                    <a:pt x="61" y="688"/>
                    <a:pt x="61" y="689"/>
                    <a:pt x="61" y="689"/>
                  </a:cubicBezTo>
                  <a:cubicBezTo>
                    <a:pt x="61" y="689"/>
                    <a:pt x="61" y="689"/>
                    <a:pt x="62" y="689"/>
                  </a:cubicBezTo>
                  <a:cubicBezTo>
                    <a:pt x="61" y="689"/>
                    <a:pt x="61" y="689"/>
                    <a:pt x="61" y="689"/>
                  </a:cubicBezTo>
                  <a:cubicBezTo>
                    <a:pt x="58" y="697"/>
                    <a:pt x="55" y="705"/>
                    <a:pt x="52" y="713"/>
                  </a:cubicBezTo>
                  <a:cubicBezTo>
                    <a:pt x="54" y="713"/>
                    <a:pt x="55" y="714"/>
                    <a:pt x="56" y="714"/>
                  </a:cubicBezTo>
                  <a:cubicBezTo>
                    <a:pt x="57" y="718"/>
                    <a:pt x="52" y="717"/>
                    <a:pt x="51" y="719"/>
                  </a:cubicBezTo>
                  <a:cubicBezTo>
                    <a:pt x="52" y="719"/>
                    <a:pt x="53" y="720"/>
                    <a:pt x="53" y="722"/>
                  </a:cubicBezTo>
                  <a:cubicBezTo>
                    <a:pt x="51" y="722"/>
                    <a:pt x="50" y="723"/>
                    <a:pt x="49" y="723"/>
                  </a:cubicBezTo>
                  <a:cubicBezTo>
                    <a:pt x="47" y="730"/>
                    <a:pt x="45" y="737"/>
                    <a:pt x="43" y="744"/>
                  </a:cubicBezTo>
                  <a:cubicBezTo>
                    <a:pt x="42" y="747"/>
                    <a:pt x="45" y="749"/>
                    <a:pt x="47" y="748"/>
                  </a:cubicBezTo>
                  <a:cubicBezTo>
                    <a:pt x="516" y="711"/>
                    <a:pt x="516" y="712"/>
                    <a:pt x="516" y="712"/>
                  </a:cubicBezTo>
                  <a:cubicBezTo>
                    <a:pt x="517" y="712"/>
                    <a:pt x="518" y="712"/>
                    <a:pt x="518" y="711"/>
                  </a:cubicBezTo>
                  <a:cubicBezTo>
                    <a:pt x="518" y="711"/>
                    <a:pt x="517" y="711"/>
                    <a:pt x="517" y="711"/>
                  </a:cubicBezTo>
                  <a:cubicBezTo>
                    <a:pt x="111" y="506"/>
                    <a:pt x="111" y="506"/>
                    <a:pt x="111" y="507"/>
                  </a:cubicBezTo>
                  <a:cubicBezTo>
                    <a:pt x="114" y="504"/>
                    <a:pt x="116" y="501"/>
                    <a:pt x="119" y="498"/>
                  </a:cubicBezTo>
                  <a:cubicBezTo>
                    <a:pt x="117" y="498"/>
                    <a:pt x="115" y="498"/>
                    <a:pt x="114" y="500"/>
                  </a:cubicBezTo>
                  <a:cubicBezTo>
                    <a:pt x="112" y="500"/>
                    <a:pt x="111" y="499"/>
                    <a:pt x="111" y="497"/>
                  </a:cubicBezTo>
                  <a:cubicBezTo>
                    <a:pt x="110" y="498"/>
                    <a:pt x="109" y="499"/>
                    <a:pt x="108" y="500"/>
                  </a:cubicBezTo>
                  <a:cubicBezTo>
                    <a:pt x="108" y="503"/>
                    <a:pt x="107" y="505"/>
                    <a:pt x="111" y="506"/>
                  </a:cubicBezTo>
                  <a:cubicBezTo>
                    <a:pt x="111" y="497"/>
                    <a:pt x="111" y="497"/>
                    <a:pt x="111" y="497"/>
                  </a:cubicBezTo>
                  <a:cubicBezTo>
                    <a:pt x="111" y="497"/>
                    <a:pt x="111" y="497"/>
                    <a:pt x="111" y="497"/>
                  </a:cubicBezTo>
                  <a:cubicBezTo>
                    <a:pt x="111" y="497"/>
                    <a:pt x="111" y="497"/>
                    <a:pt x="111" y="497"/>
                  </a:cubicBezTo>
                  <a:cubicBezTo>
                    <a:pt x="120" y="495"/>
                    <a:pt x="122" y="494"/>
                    <a:pt x="122" y="492"/>
                  </a:cubicBezTo>
                  <a:cubicBezTo>
                    <a:pt x="124" y="492"/>
                    <a:pt x="124" y="492"/>
                    <a:pt x="124" y="492"/>
                  </a:cubicBezTo>
                  <a:cubicBezTo>
                    <a:pt x="129" y="486"/>
                    <a:pt x="134" y="480"/>
                    <a:pt x="140" y="475"/>
                  </a:cubicBezTo>
                  <a:cubicBezTo>
                    <a:pt x="138" y="475"/>
                    <a:pt x="138" y="475"/>
                    <a:pt x="138" y="475"/>
                  </a:cubicBezTo>
                  <a:cubicBezTo>
                    <a:pt x="136" y="474"/>
                    <a:pt x="135" y="473"/>
                    <a:pt x="133" y="472"/>
                  </a:cubicBezTo>
                  <a:cubicBezTo>
                    <a:pt x="126" y="480"/>
                    <a:pt x="118" y="488"/>
                    <a:pt x="111" y="497"/>
                  </a:cubicBezTo>
                  <a:cubicBezTo>
                    <a:pt x="113" y="494"/>
                    <a:pt x="116" y="498"/>
                    <a:pt x="119" y="497"/>
                  </a:cubicBezTo>
                  <a:cubicBezTo>
                    <a:pt x="491" y="755"/>
                    <a:pt x="488" y="765"/>
                    <a:pt x="486" y="774"/>
                  </a:cubicBezTo>
                  <a:cubicBezTo>
                    <a:pt x="488" y="774"/>
                    <a:pt x="488" y="774"/>
                    <a:pt x="488" y="774"/>
                  </a:cubicBezTo>
                  <a:cubicBezTo>
                    <a:pt x="488" y="777"/>
                    <a:pt x="487" y="779"/>
                    <a:pt x="485" y="780"/>
                  </a:cubicBezTo>
                  <a:cubicBezTo>
                    <a:pt x="484" y="783"/>
                    <a:pt x="484" y="785"/>
                    <a:pt x="484" y="788"/>
                  </a:cubicBezTo>
                  <a:cubicBezTo>
                    <a:pt x="484" y="789"/>
                    <a:pt x="484" y="789"/>
                    <a:pt x="484" y="789"/>
                  </a:cubicBezTo>
                  <a:cubicBezTo>
                    <a:pt x="485" y="789"/>
                    <a:pt x="485" y="790"/>
                    <a:pt x="485" y="790"/>
                  </a:cubicBezTo>
                  <a:cubicBezTo>
                    <a:pt x="485" y="791"/>
                    <a:pt x="485" y="792"/>
                    <a:pt x="485" y="793"/>
                  </a:cubicBezTo>
                  <a:cubicBezTo>
                    <a:pt x="483" y="793"/>
                    <a:pt x="483" y="793"/>
                    <a:pt x="483" y="793"/>
                  </a:cubicBezTo>
                  <a:cubicBezTo>
                    <a:pt x="483" y="798"/>
                    <a:pt x="482" y="804"/>
                    <a:pt x="482" y="810"/>
                  </a:cubicBezTo>
                  <a:cubicBezTo>
                    <a:pt x="489" y="810"/>
                    <a:pt x="489" y="810"/>
                    <a:pt x="489" y="810"/>
                  </a:cubicBezTo>
                  <a:cubicBezTo>
                    <a:pt x="489" y="792"/>
                    <a:pt x="492" y="773"/>
                    <a:pt x="498" y="757"/>
                  </a:cubicBezTo>
                  <a:cubicBezTo>
                    <a:pt x="497" y="754"/>
                    <a:pt x="496" y="751"/>
                    <a:pt x="496" y="747"/>
                  </a:cubicBezTo>
                  <a:cubicBezTo>
                    <a:pt x="496" y="747"/>
                    <a:pt x="495" y="747"/>
                    <a:pt x="494" y="747"/>
                  </a:cubicBezTo>
                  <a:cubicBezTo>
                    <a:pt x="107" y="511"/>
                    <a:pt x="107" y="511"/>
                    <a:pt x="107" y="511"/>
                  </a:cubicBezTo>
                  <a:cubicBezTo>
                    <a:pt x="107" y="509"/>
                    <a:pt x="105" y="506"/>
                    <a:pt x="105" y="504"/>
                  </a:cubicBezTo>
                  <a:cubicBezTo>
                    <a:pt x="105" y="504"/>
                    <a:pt x="105" y="504"/>
                    <a:pt x="105" y="504"/>
                  </a:cubicBezTo>
                  <a:cubicBezTo>
                    <a:pt x="104" y="505"/>
                    <a:pt x="103" y="506"/>
                    <a:pt x="102" y="507"/>
                  </a:cubicBezTo>
                  <a:cubicBezTo>
                    <a:pt x="103" y="508"/>
                    <a:pt x="104" y="510"/>
                    <a:pt x="105" y="511"/>
                  </a:cubicBezTo>
                  <a:cubicBezTo>
                    <a:pt x="99" y="511"/>
                    <a:pt x="99" y="511"/>
                    <a:pt x="99" y="511"/>
                  </a:cubicBezTo>
                  <a:cubicBezTo>
                    <a:pt x="94" y="517"/>
                    <a:pt x="89" y="523"/>
                    <a:pt x="84" y="529"/>
                  </a:cubicBezTo>
                  <a:cubicBezTo>
                    <a:pt x="85" y="529"/>
                    <a:pt x="86" y="530"/>
                    <a:pt x="87" y="530"/>
                  </a:cubicBezTo>
                  <a:cubicBezTo>
                    <a:pt x="87" y="536"/>
                    <a:pt x="87" y="536"/>
                    <a:pt x="87" y="536"/>
                  </a:cubicBezTo>
                  <a:cubicBezTo>
                    <a:pt x="87" y="536"/>
                    <a:pt x="87" y="536"/>
                    <a:pt x="87" y="536"/>
                  </a:cubicBezTo>
                  <a:cubicBezTo>
                    <a:pt x="87" y="536"/>
                    <a:pt x="87" y="537"/>
                    <a:pt x="87" y="537"/>
                  </a:cubicBezTo>
                  <a:cubicBezTo>
                    <a:pt x="94" y="528"/>
                    <a:pt x="101" y="519"/>
                    <a:pt x="108" y="511"/>
                  </a:cubicBezTo>
                  <a:cubicBezTo>
                    <a:pt x="153" y="462"/>
                    <a:pt x="153" y="461"/>
                    <a:pt x="154" y="461"/>
                  </a:cubicBezTo>
                  <a:cubicBezTo>
                    <a:pt x="153" y="460"/>
                    <a:pt x="151" y="460"/>
                    <a:pt x="149" y="461"/>
                  </a:cubicBezTo>
                  <a:cubicBezTo>
                    <a:pt x="150" y="462"/>
                    <a:pt x="151" y="462"/>
                    <a:pt x="152" y="463"/>
                  </a:cubicBezTo>
                  <a:cubicBezTo>
                    <a:pt x="461" y="780"/>
                    <a:pt x="460" y="784"/>
                    <a:pt x="460" y="787"/>
                  </a:cubicBezTo>
                  <a:cubicBezTo>
                    <a:pt x="461" y="787"/>
                    <a:pt x="461" y="787"/>
                    <a:pt x="462" y="788"/>
                  </a:cubicBezTo>
                  <a:cubicBezTo>
                    <a:pt x="464" y="787"/>
                    <a:pt x="465" y="788"/>
                    <a:pt x="466" y="789"/>
                  </a:cubicBezTo>
                  <a:cubicBezTo>
                    <a:pt x="466" y="789"/>
                    <a:pt x="466" y="789"/>
                    <a:pt x="466" y="789"/>
                  </a:cubicBezTo>
                  <a:cubicBezTo>
                    <a:pt x="466" y="789"/>
                    <a:pt x="466" y="788"/>
                    <a:pt x="466" y="787"/>
                  </a:cubicBezTo>
                  <a:cubicBezTo>
                    <a:pt x="464" y="787"/>
                    <a:pt x="461" y="786"/>
                    <a:pt x="462" y="784"/>
                  </a:cubicBezTo>
                  <a:cubicBezTo>
                    <a:pt x="463" y="782"/>
                    <a:pt x="465" y="782"/>
                    <a:pt x="467" y="782"/>
                  </a:cubicBezTo>
                  <a:cubicBezTo>
                    <a:pt x="467" y="780"/>
                    <a:pt x="468" y="779"/>
                    <a:pt x="468" y="777"/>
                  </a:cubicBezTo>
                  <a:cubicBezTo>
                    <a:pt x="467" y="778"/>
                    <a:pt x="465" y="778"/>
                    <a:pt x="463" y="777"/>
                  </a:cubicBezTo>
                  <a:cubicBezTo>
                    <a:pt x="463" y="777"/>
                    <a:pt x="463" y="776"/>
                    <a:pt x="463" y="776"/>
                  </a:cubicBezTo>
                  <a:cubicBezTo>
                    <a:pt x="463" y="776"/>
                    <a:pt x="462" y="776"/>
                    <a:pt x="462" y="777"/>
                  </a:cubicBezTo>
                  <a:cubicBezTo>
                    <a:pt x="520" y="714"/>
                    <a:pt x="519" y="714"/>
                    <a:pt x="517" y="716"/>
                  </a:cubicBezTo>
                  <a:cubicBezTo>
                    <a:pt x="518" y="717"/>
                    <a:pt x="519" y="717"/>
                    <a:pt x="520" y="717"/>
                  </a:cubicBezTo>
                  <a:cubicBezTo>
                    <a:pt x="520" y="717"/>
                    <a:pt x="521" y="716"/>
                    <a:pt x="521" y="716"/>
                  </a:cubicBezTo>
                  <a:cubicBezTo>
                    <a:pt x="520" y="714"/>
                    <a:pt x="520" y="712"/>
                    <a:pt x="520" y="711"/>
                  </a:cubicBezTo>
                  <a:cubicBezTo>
                    <a:pt x="520" y="711"/>
                    <a:pt x="519" y="711"/>
                    <a:pt x="519" y="711"/>
                  </a:cubicBezTo>
                  <a:cubicBezTo>
                    <a:pt x="758" y="716"/>
                    <a:pt x="759" y="715"/>
                    <a:pt x="760" y="715"/>
                  </a:cubicBezTo>
                  <a:cubicBezTo>
                    <a:pt x="759" y="715"/>
                    <a:pt x="757" y="714"/>
                    <a:pt x="756" y="714"/>
                  </a:cubicBezTo>
                  <a:cubicBezTo>
                    <a:pt x="756" y="715"/>
                    <a:pt x="757" y="717"/>
                    <a:pt x="757" y="718"/>
                  </a:cubicBezTo>
                  <a:cubicBezTo>
                    <a:pt x="677" y="706"/>
                    <a:pt x="676" y="707"/>
                    <a:pt x="676" y="708"/>
                  </a:cubicBezTo>
                  <a:cubicBezTo>
                    <a:pt x="677" y="709"/>
                    <a:pt x="679" y="710"/>
                    <a:pt x="680" y="711"/>
                  </a:cubicBezTo>
                  <a:cubicBezTo>
                    <a:pt x="680" y="711"/>
                    <a:pt x="680" y="711"/>
                    <a:pt x="680" y="711"/>
                  </a:cubicBezTo>
                  <a:cubicBezTo>
                    <a:pt x="684" y="710"/>
                    <a:pt x="688" y="710"/>
                    <a:pt x="692" y="710"/>
                  </a:cubicBezTo>
                  <a:cubicBezTo>
                    <a:pt x="692" y="710"/>
                    <a:pt x="692" y="710"/>
                    <a:pt x="692" y="710"/>
                  </a:cubicBezTo>
                  <a:cubicBezTo>
                    <a:pt x="692" y="710"/>
                    <a:pt x="692" y="710"/>
                    <a:pt x="692" y="710"/>
                  </a:cubicBezTo>
                  <a:cubicBezTo>
                    <a:pt x="692" y="710"/>
                    <a:pt x="692" y="710"/>
                    <a:pt x="692" y="710"/>
                  </a:cubicBezTo>
                  <a:cubicBezTo>
                    <a:pt x="691" y="710"/>
                    <a:pt x="690" y="710"/>
                    <a:pt x="689" y="710"/>
                  </a:cubicBezTo>
                  <a:cubicBezTo>
                    <a:pt x="689" y="709"/>
                    <a:pt x="688" y="709"/>
                    <a:pt x="688" y="708"/>
                  </a:cubicBezTo>
                  <a:cubicBezTo>
                    <a:pt x="688" y="708"/>
                    <a:pt x="688" y="708"/>
                    <a:pt x="688" y="708"/>
                  </a:cubicBezTo>
                  <a:cubicBezTo>
                    <a:pt x="688" y="708"/>
                    <a:pt x="688" y="708"/>
                    <a:pt x="688" y="708"/>
                  </a:cubicBezTo>
                  <a:cubicBezTo>
                    <a:pt x="688" y="707"/>
                    <a:pt x="688" y="705"/>
                    <a:pt x="688" y="704"/>
                  </a:cubicBezTo>
                  <a:cubicBezTo>
                    <a:pt x="688" y="704"/>
                    <a:pt x="687" y="704"/>
                    <a:pt x="687" y="704"/>
                  </a:cubicBezTo>
                  <a:cubicBezTo>
                    <a:pt x="687" y="706"/>
                    <a:pt x="687" y="708"/>
                    <a:pt x="686" y="708"/>
                  </a:cubicBezTo>
                  <a:cubicBezTo>
                    <a:pt x="685" y="708"/>
                    <a:pt x="685" y="708"/>
                    <a:pt x="685" y="708"/>
                  </a:cubicBezTo>
                  <a:cubicBezTo>
                    <a:pt x="685" y="709"/>
                    <a:pt x="685" y="709"/>
                    <a:pt x="685" y="709"/>
                  </a:cubicBezTo>
                  <a:cubicBezTo>
                    <a:pt x="680" y="709"/>
                    <a:pt x="679" y="707"/>
                    <a:pt x="680" y="704"/>
                  </a:cubicBezTo>
                  <a:cubicBezTo>
                    <a:pt x="679" y="704"/>
                    <a:pt x="678" y="704"/>
                    <a:pt x="677" y="704"/>
                  </a:cubicBezTo>
                  <a:cubicBezTo>
                    <a:pt x="708" y="705"/>
                    <a:pt x="707" y="705"/>
                    <a:pt x="706" y="705"/>
                  </a:cubicBezTo>
                  <a:cubicBezTo>
                    <a:pt x="707" y="705"/>
                    <a:pt x="708" y="706"/>
                    <a:pt x="709" y="706"/>
                  </a:cubicBezTo>
                  <a:cubicBezTo>
                    <a:pt x="709" y="706"/>
                    <a:pt x="709" y="705"/>
                    <a:pt x="709" y="705"/>
                  </a:cubicBezTo>
                  <a:cubicBezTo>
                    <a:pt x="485" y="432"/>
                    <a:pt x="485" y="431"/>
                    <a:pt x="485" y="430"/>
                  </a:cubicBezTo>
                  <a:cubicBezTo>
                    <a:pt x="483" y="431"/>
                    <a:pt x="482" y="432"/>
                    <a:pt x="482" y="433"/>
                  </a:cubicBezTo>
                  <a:cubicBezTo>
                    <a:pt x="483" y="433"/>
                    <a:pt x="484" y="433"/>
                    <a:pt x="485" y="433"/>
                  </a:cubicBezTo>
                  <a:cubicBezTo>
                    <a:pt x="636" y="713"/>
                    <a:pt x="636" y="714"/>
                    <a:pt x="637" y="714"/>
                  </a:cubicBezTo>
                  <a:cubicBezTo>
                    <a:pt x="637" y="713"/>
                    <a:pt x="637" y="712"/>
                    <a:pt x="637" y="712"/>
                  </a:cubicBezTo>
                  <a:cubicBezTo>
                    <a:pt x="636" y="712"/>
                    <a:pt x="636" y="712"/>
                    <a:pt x="635" y="713"/>
                  </a:cubicBezTo>
                  <a:cubicBezTo>
                    <a:pt x="639" y="715"/>
                    <a:pt x="638" y="715"/>
                    <a:pt x="637" y="714"/>
                  </a:cubicBezTo>
                  <a:cubicBezTo>
                    <a:pt x="637" y="715"/>
                    <a:pt x="637" y="716"/>
                    <a:pt x="637" y="717"/>
                  </a:cubicBezTo>
                  <a:cubicBezTo>
                    <a:pt x="638" y="717"/>
                    <a:pt x="639" y="717"/>
                    <a:pt x="640" y="716"/>
                  </a:cubicBezTo>
                  <a:cubicBezTo>
                    <a:pt x="668" y="712"/>
                    <a:pt x="671" y="711"/>
                    <a:pt x="673" y="711"/>
                  </a:cubicBezTo>
                  <a:cubicBezTo>
                    <a:pt x="674" y="710"/>
                    <a:pt x="674" y="710"/>
                    <a:pt x="674" y="709"/>
                  </a:cubicBezTo>
                  <a:cubicBezTo>
                    <a:pt x="674" y="709"/>
                    <a:pt x="674" y="709"/>
                    <a:pt x="674" y="709"/>
                  </a:cubicBezTo>
                  <a:cubicBezTo>
                    <a:pt x="674" y="709"/>
                    <a:pt x="674" y="709"/>
                    <a:pt x="674" y="709"/>
                  </a:cubicBezTo>
                  <a:cubicBezTo>
                    <a:pt x="674" y="709"/>
                    <a:pt x="674" y="709"/>
                    <a:pt x="674" y="709"/>
                  </a:cubicBezTo>
                  <a:cubicBezTo>
                    <a:pt x="671" y="709"/>
                    <a:pt x="668" y="707"/>
                    <a:pt x="664" y="708"/>
                  </a:cubicBezTo>
                  <a:cubicBezTo>
                    <a:pt x="663" y="707"/>
                    <a:pt x="662" y="706"/>
                    <a:pt x="662" y="706"/>
                  </a:cubicBezTo>
                  <a:cubicBezTo>
                    <a:pt x="660" y="706"/>
                    <a:pt x="659" y="706"/>
                    <a:pt x="657" y="706"/>
                  </a:cubicBezTo>
                  <a:cubicBezTo>
                    <a:pt x="658" y="708"/>
                    <a:pt x="658" y="709"/>
                    <a:pt x="658" y="710"/>
                  </a:cubicBezTo>
                  <a:cubicBezTo>
                    <a:pt x="660" y="710"/>
                    <a:pt x="663" y="711"/>
                    <a:pt x="665" y="712"/>
                  </a:cubicBezTo>
                  <a:cubicBezTo>
                    <a:pt x="651" y="712"/>
                    <a:pt x="649" y="710"/>
                    <a:pt x="648" y="708"/>
                  </a:cubicBezTo>
                  <a:cubicBezTo>
                    <a:pt x="646" y="708"/>
                    <a:pt x="645" y="709"/>
                    <a:pt x="643" y="709"/>
                  </a:cubicBezTo>
                  <a:cubicBezTo>
                    <a:pt x="643" y="710"/>
                    <a:pt x="643" y="712"/>
                    <a:pt x="642" y="713"/>
                  </a:cubicBezTo>
                  <a:cubicBezTo>
                    <a:pt x="644" y="713"/>
                    <a:pt x="645" y="713"/>
                    <a:pt x="645" y="714"/>
                  </a:cubicBezTo>
                  <a:cubicBezTo>
                    <a:pt x="646" y="713"/>
                    <a:pt x="646" y="711"/>
                    <a:pt x="648" y="711"/>
                  </a:cubicBezTo>
                  <a:cubicBezTo>
                    <a:pt x="648" y="712"/>
                    <a:pt x="647" y="714"/>
                    <a:pt x="647" y="715"/>
                  </a:cubicBezTo>
                  <a:cubicBezTo>
                    <a:pt x="649" y="714"/>
                    <a:pt x="651" y="714"/>
                    <a:pt x="654" y="714"/>
                  </a:cubicBezTo>
                  <a:cubicBezTo>
                    <a:pt x="684" y="704"/>
                    <a:pt x="684" y="704"/>
                    <a:pt x="684" y="704"/>
                  </a:cubicBezTo>
                  <a:cubicBezTo>
                    <a:pt x="684" y="704"/>
                    <a:pt x="684" y="704"/>
                    <a:pt x="683" y="704"/>
                  </a:cubicBezTo>
                  <a:cubicBezTo>
                    <a:pt x="683" y="704"/>
                    <a:pt x="683" y="704"/>
                    <a:pt x="683" y="704"/>
                  </a:cubicBezTo>
                  <a:cubicBezTo>
                    <a:pt x="765" y="717"/>
                    <a:pt x="765" y="716"/>
                    <a:pt x="764" y="716"/>
                  </a:cubicBezTo>
                  <a:cubicBezTo>
                    <a:pt x="764" y="717"/>
                    <a:pt x="765" y="717"/>
                    <a:pt x="765" y="717"/>
                  </a:cubicBezTo>
                  <a:cubicBezTo>
                    <a:pt x="766" y="717"/>
                    <a:pt x="766" y="717"/>
                    <a:pt x="766" y="717"/>
                  </a:cubicBezTo>
                  <a:cubicBezTo>
                    <a:pt x="784" y="706"/>
                    <a:pt x="785" y="706"/>
                    <a:pt x="786" y="706"/>
                  </a:cubicBezTo>
                  <a:cubicBezTo>
                    <a:pt x="787" y="706"/>
                    <a:pt x="787" y="706"/>
                    <a:pt x="787" y="706"/>
                  </a:cubicBezTo>
                  <a:cubicBezTo>
                    <a:pt x="787" y="704"/>
                    <a:pt x="786" y="702"/>
                    <a:pt x="788" y="701"/>
                  </a:cubicBezTo>
                  <a:cubicBezTo>
                    <a:pt x="791" y="705"/>
                    <a:pt x="796" y="705"/>
                    <a:pt x="798" y="709"/>
                  </a:cubicBezTo>
                  <a:cubicBezTo>
                    <a:pt x="800" y="710"/>
                    <a:pt x="802" y="710"/>
                    <a:pt x="804" y="711"/>
                  </a:cubicBezTo>
                  <a:cubicBezTo>
                    <a:pt x="805" y="711"/>
                    <a:pt x="805" y="711"/>
                    <a:pt x="806" y="711"/>
                  </a:cubicBezTo>
                  <a:cubicBezTo>
                    <a:pt x="806" y="709"/>
                    <a:pt x="809" y="708"/>
                    <a:pt x="809" y="706"/>
                  </a:cubicBezTo>
                  <a:cubicBezTo>
                    <a:pt x="806" y="705"/>
                    <a:pt x="802" y="704"/>
                    <a:pt x="799" y="703"/>
                  </a:cubicBezTo>
                  <a:cubicBezTo>
                    <a:pt x="797" y="703"/>
                    <a:pt x="796" y="703"/>
                    <a:pt x="795" y="703"/>
                  </a:cubicBezTo>
                  <a:cubicBezTo>
                    <a:pt x="794" y="703"/>
                    <a:pt x="794" y="702"/>
                    <a:pt x="794" y="702"/>
                  </a:cubicBezTo>
                  <a:cubicBezTo>
                    <a:pt x="779" y="698"/>
                    <a:pt x="764" y="695"/>
                    <a:pt x="749" y="692"/>
                  </a:cubicBezTo>
                  <a:cubicBezTo>
                    <a:pt x="703" y="684"/>
                    <a:pt x="651" y="682"/>
                    <a:pt x="608" y="702"/>
                  </a:cubicBezTo>
                  <a:cubicBezTo>
                    <a:pt x="615" y="702"/>
                    <a:pt x="615" y="702"/>
                    <a:pt x="615" y="702"/>
                  </a:cubicBezTo>
                  <a:cubicBezTo>
                    <a:pt x="615" y="703"/>
                    <a:pt x="616" y="704"/>
                    <a:pt x="616" y="706"/>
                  </a:cubicBezTo>
                  <a:cubicBezTo>
                    <a:pt x="634" y="699"/>
                    <a:pt x="653" y="695"/>
                    <a:pt x="672" y="694"/>
                  </a:cubicBezTo>
                  <a:cubicBezTo>
                    <a:pt x="701" y="692"/>
                    <a:pt x="731" y="695"/>
                    <a:pt x="760" y="701"/>
                  </a:cubicBezTo>
                  <a:cubicBezTo>
                    <a:pt x="770" y="700"/>
                    <a:pt x="770" y="700"/>
                    <a:pt x="770" y="700"/>
                  </a:cubicBezTo>
                  <a:cubicBezTo>
                    <a:pt x="770" y="701"/>
                    <a:pt x="769" y="702"/>
                    <a:pt x="768" y="702"/>
                  </a:cubicBezTo>
                  <a:cubicBezTo>
                    <a:pt x="771" y="703"/>
                    <a:pt x="775" y="704"/>
                    <a:pt x="778" y="704"/>
                  </a:cubicBezTo>
                  <a:cubicBezTo>
                    <a:pt x="778" y="704"/>
                    <a:pt x="778" y="704"/>
                    <a:pt x="778" y="703"/>
                  </a:cubicBezTo>
                  <a:cubicBezTo>
                    <a:pt x="779" y="702"/>
                    <a:pt x="781" y="701"/>
                    <a:pt x="782" y="700"/>
                  </a:cubicBezTo>
                  <a:cubicBezTo>
                    <a:pt x="784" y="700"/>
                    <a:pt x="784" y="700"/>
                    <a:pt x="784" y="700"/>
                  </a:cubicBezTo>
                  <a:cubicBezTo>
                    <a:pt x="785" y="701"/>
                    <a:pt x="786" y="701"/>
                    <a:pt x="786" y="703"/>
                  </a:cubicBezTo>
                  <a:cubicBezTo>
                    <a:pt x="786" y="705"/>
                    <a:pt x="785" y="705"/>
                    <a:pt x="784" y="706"/>
                  </a:cubicBezTo>
                  <a:cubicBezTo>
                    <a:pt x="461" y="817"/>
                    <a:pt x="460" y="815"/>
                    <a:pt x="458" y="814"/>
                  </a:cubicBezTo>
                  <a:cubicBezTo>
                    <a:pt x="458" y="816"/>
                    <a:pt x="458" y="819"/>
                    <a:pt x="458" y="821"/>
                  </a:cubicBezTo>
                  <a:cubicBezTo>
                    <a:pt x="458" y="821"/>
                    <a:pt x="458" y="821"/>
                    <a:pt x="458" y="821"/>
                  </a:cubicBezTo>
                  <a:cubicBezTo>
                    <a:pt x="458" y="823"/>
                    <a:pt x="459" y="825"/>
                    <a:pt x="458" y="826"/>
                  </a:cubicBezTo>
                  <a:cubicBezTo>
                    <a:pt x="458" y="833"/>
                    <a:pt x="459" y="839"/>
                    <a:pt x="459" y="846"/>
                  </a:cubicBezTo>
                  <a:cubicBezTo>
                    <a:pt x="462" y="846"/>
                    <a:pt x="461" y="848"/>
                    <a:pt x="463" y="849"/>
                  </a:cubicBezTo>
                  <a:cubicBezTo>
                    <a:pt x="463" y="848"/>
                    <a:pt x="464" y="847"/>
                    <a:pt x="464" y="847"/>
                  </a:cubicBezTo>
                  <a:cubicBezTo>
                    <a:pt x="464" y="847"/>
                    <a:pt x="464" y="846"/>
                    <a:pt x="464" y="846"/>
                  </a:cubicBezTo>
                  <a:cubicBezTo>
                    <a:pt x="466" y="846"/>
                    <a:pt x="466" y="846"/>
                    <a:pt x="466" y="846"/>
                  </a:cubicBezTo>
                  <a:cubicBezTo>
                    <a:pt x="465" y="840"/>
                    <a:pt x="465" y="834"/>
                    <a:pt x="464" y="828"/>
                  </a:cubicBezTo>
                  <a:cubicBezTo>
                    <a:pt x="464" y="828"/>
                    <a:pt x="464" y="828"/>
                    <a:pt x="464" y="828"/>
                  </a:cubicBezTo>
                  <a:cubicBezTo>
                    <a:pt x="464" y="828"/>
                    <a:pt x="464" y="828"/>
                    <a:pt x="464" y="828"/>
                  </a:cubicBezTo>
                  <a:cubicBezTo>
                    <a:pt x="464" y="824"/>
                    <a:pt x="464" y="821"/>
                    <a:pt x="464" y="817"/>
                  </a:cubicBezTo>
                  <a:cubicBezTo>
                    <a:pt x="900" y="702"/>
                    <a:pt x="901" y="703"/>
                    <a:pt x="901" y="703"/>
                  </a:cubicBezTo>
                  <a:cubicBezTo>
                    <a:pt x="901" y="703"/>
                    <a:pt x="901" y="702"/>
                    <a:pt x="901" y="702"/>
                  </a:cubicBezTo>
                  <a:cubicBezTo>
                    <a:pt x="901" y="702"/>
                    <a:pt x="900" y="701"/>
                    <a:pt x="900" y="701"/>
                  </a:cubicBezTo>
                  <a:cubicBezTo>
                    <a:pt x="705" y="708"/>
                    <a:pt x="702" y="708"/>
                    <a:pt x="699" y="707"/>
                  </a:cubicBezTo>
                  <a:cubicBezTo>
                    <a:pt x="699" y="708"/>
                    <a:pt x="700" y="709"/>
                    <a:pt x="700" y="710"/>
                  </a:cubicBezTo>
                  <a:cubicBezTo>
                    <a:pt x="701" y="709"/>
                    <a:pt x="702" y="709"/>
                    <a:pt x="704" y="709"/>
                  </a:cubicBezTo>
                  <a:cubicBezTo>
                    <a:pt x="704" y="710"/>
                    <a:pt x="704" y="710"/>
                    <a:pt x="704" y="711"/>
                  </a:cubicBezTo>
                  <a:cubicBezTo>
                    <a:pt x="704" y="711"/>
                    <a:pt x="705" y="711"/>
                    <a:pt x="706" y="711"/>
                  </a:cubicBezTo>
                  <a:cubicBezTo>
                    <a:pt x="718" y="707"/>
                    <a:pt x="718" y="707"/>
                    <a:pt x="718" y="706"/>
                  </a:cubicBezTo>
                  <a:cubicBezTo>
                    <a:pt x="716" y="706"/>
                    <a:pt x="715" y="706"/>
                    <a:pt x="714" y="706"/>
                  </a:cubicBezTo>
                  <a:cubicBezTo>
                    <a:pt x="714" y="707"/>
                    <a:pt x="714" y="708"/>
                    <a:pt x="715" y="708"/>
                  </a:cubicBezTo>
                  <a:cubicBezTo>
                    <a:pt x="716" y="708"/>
                    <a:pt x="717" y="708"/>
                    <a:pt x="718" y="707"/>
                  </a:cubicBezTo>
                  <a:cubicBezTo>
                    <a:pt x="672" y="1031"/>
                    <a:pt x="672" y="1031"/>
                    <a:pt x="672" y="1031"/>
                  </a:cubicBezTo>
                  <a:cubicBezTo>
                    <a:pt x="672" y="1031"/>
                    <a:pt x="672" y="1031"/>
                    <a:pt x="672" y="1030"/>
                  </a:cubicBezTo>
                  <a:cubicBezTo>
                    <a:pt x="674" y="1030"/>
                    <a:pt x="674" y="1029"/>
                    <a:pt x="674" y="1028"/>
                  </a:cubicBezTo>
                  <a:cubicBezTo>
                    <a:pt x="672" y="1027"/>
                    <a:pt x="669" y="1026"/>
                    <a:pt x="667" y="1025"/>
                  </a:cubicBezTo>
                  <a:cubicBezTo>
                    <a:pt x="667" y="1028"/>
                    <a:pt x="672" y="1027"/>
                    <a:pt x="672" y="1031"/>
                  </a:cubicBezTo>
                  <a:cubicBezTo>
                    <a:pt x="562" y="1040"/>
                    <a:pt x="563" y="1041"/>
                    <a:pt x="563" y="1041"/>
                  </a:cubicBezTo>
                  <a:cubicBezTo>
                    <a:pt x="564" y="1041"/>
                    <a:pt x="564" y="1040"/>
                    <a:pt x="564" y="1040"/>
                  </a:cubicBezTo>
                  <a:cubicBezTo>
                    <a:pt x="565" y="1040"/>
                    <a:pt x="565" y="1040"/>
                    <a:pt x="565" y="1040"/>
                  </a:cubicBezTo>
                  <a:cubicBezTo>
                    <a:pt x="566" y="1037"/>
                    <a:pt x="571" y="1038"/>
                    <a:pt x="571" y="1041"/>
                  </a:cubicBezTo>
                  <a:cubicBezTo>
                    <a:pt x="572" y="1041"/>
                    <a:pt x="572" y="1041"/>
                    <a:pt x="573" y="1040"/>
                  </a:cubicBezTo>
                  <a:cubicBezTo>
                    <a:pt x="569" y="1038"/>
                    <a:pt x="565" y="1035"/>
                    <a:pt x="562" y="1032"/>
                  </a:cubicBezTo>
                  <a:cubicBezTo>
                    <a:pt x="561" y="1033"/>
                    <a:pt x="560" y="1033"/>
                    <a:pt x="558" y="1033"/>
                  </a:cubicBezTo>
                  <a:cubicBezTo>
                    <a:pt x="557" y="1032"/>
                    <a:pt x="557" y="1031"/>
                    <a:pt x="558" y="1029"/>
                  </a:cubicBezTo>
                  <a:cubicBezTo>
                    <a:pt x="554" y="1026"/>
                    <a:pt x="550" y="1023"/>
                    <a:pt x="546" y="1019"/>
                  </a:cubicBezTo>
                  <a:cubicBezTo>
                    <a:pt x="542" y="1015"/>
                    <a:pt x="537" y="1011"/>
                    <a:pt x="533" y="1006"/>
                  </a:cubicBezTo>
                  <a:cubicBezTo>
                    <a:pt x="529" y="1006"/>
                    <a:pt x="529" y="1006"/>
                    <a:pt x="529" y="1006"/>
                  </a:cubicBezTo>
                  <a:cubicBezTo>
                    <a:pt x="529" y="1005"/>
                    <a:pt x="529" y="1005"/>
                    <a:pt x="530" y="1004"/>
                  </a:cubicBezTo>
                  <a:cubicBezTo>
                    <a:pt x="530" y="1004"/>
                    <a:pt x="531" y="1004"/>
                    <a:pt x="531" y="1004"/>
                  </a:cubicBezTo>
                  <a:cubicBezTo>
                    <a:pt x="529" y="1001"/>
                    <a:pt x="526" y="998"/>
                    <a:pt x="524" y="995"/>
                  </a:cubicBezTo>
                  <a:cubicBezTo>
                    <a:pt x="523" y="996"/>
                    <a:pt x="519" y="994"/>
                    <a:pt x="519" y="995"/>
                  </a:cubicBezTo>
                  <a:cubicBezTo>
                    <a:pt x="520" y="996"/>
                    <a:pt x="520" y="998"/>
                    <a:pt x="520" y="1000"/>
                  </a:cubicBezTo>
                  <a:cubicBezTo>
                    <a:pt x="520" y="1001"/>
                    <a:pt x="521" y="1002"/>
                    <a:pt x="522" y="1003"/>
                  </a:cubicBezTo>
                  <a:cubicBezTo>
                    <a:pt x="522" y="1003"/>
                    <a:pt x="523" y="1003"/>
                    <a:pt x="523" y="1003"/>
                  </a:cubicBezTo>
                  <a:cubicBezTo>
                    <a:pt x="522" y="1003"/>
                    <a:pt x="522" y="1002"/>
                    <a:pt x="522" y="1000"/>
                  </a:cubicBezTo>
                  <a:cubicBezTo>
                    <a:pt x="524" y="999"/>
                    <a:pt x="528" y="1000"/>
                    <a:pt x="529" y="1001"/>
                  </a:cubicBezTo>
                  <a:cubicBezTo>
                    <a:pt x="528" y="1003"/>
                    <a:pt x="527" y="1005"/>
                    <a:pt x="526" y="1006"/>
                  </a:cubicBezTo>
                  <a:cubicBezTo>
                    <a:pt x="526" y="1006"/>
                    <a:pt x="526" y="1006"/>
                    <a:pt x="526" y="1006"/>
                  </a:cubicBezTo>
                  <a:cubicBezTo>
                    <a:pt x="525" y="1006"/>
                    <a:pt x="525" y="1006"/>
                    <a:pt x="525" y="1006"/>
                  </a:cubicBezTo>
                  <a:cubicBezTo>
                    <a:pt x="534" y="1017"/>
                    <a:pt x="545" y="1027"/>
                    <a:pt x="557" y="1036"/>
                  </a:cubicBezTo>
                  <a:cubicBezTo>
                    <a:pt x="559" y="1036"/>
                    <a:pt x="561" y="1037"/>
                    <a:pt x="561" y="1039"/>
                  </a:cubicBezTo>
                  <a:cubicBezTo>
                    <a:pt x="557" y="1062"/>
                    <a:pt x="557" y="1062"/>
                    <a:pt x="557" y="1062"/>
                  </a:cubicBezTo>
                  <a:cubicBezTo>
                    <a:pt x="556" y="1061"/>
                    <a:pt x="555" y="1060"/>
                    <a:pt x="554" y="1059"/>
                  </a:cubicBezTo>
                  <a:cubicBezTo>
                    <a:pt x="554" y="1061"/>
                    <a:pt x="555" y="1063"/>
                    <a:pt x="556" y="1064"/>
                  </a:cubicBezTo>
                  <a:cubicBezTo>
                    <a:pt x="556" y="1063"/>
                    <a:pt x="556" y="1062"/>
                    <a:pt x="557" y="1062"/>
                  </a:cubicBezTo>
                  <a:cubicBezTo>
                    <a:pt x="522" y="1030"/>
                    <a:pt x="522" y="1029"/>
                    <a:pt x="521" y="1029"/>
                  </a:cubicBezTo>
                  <a:cubicBezTo>
                    <a:pt x="521" y="1029"/>
                    <a:pt x="521" y="1029"/>
                    <a:pt x="521" y="1029"/>
                  </a:cubicBezTo>
                  <a:cubicBezTo>
                    <a:pt x="521" y="1029"/>
                    <a:pt x="522" y="1030"/>
                    <a:pt x="523" y="1030"/>
                  </a:cubicBezTo>
                  <a:cubicBezTo>
                    <a:pt x="666" y="1032"/>
                    <a:pt x="666" y="1032"/>
                    <a:pt x="666" y="1032"/>
                  </a:cubicBezTo>
                  <a:cubicBezTo>
                    <a:pt x="666" y="1032"/>
                    <a:pt x="666" y="1032"/>
                    <a:pt x="666" y="1032"/>
                  </a:cubicBezTo>
                  <a:cubicBezTo>
                    <a:pt x="666" y="1032"/>
                    <a:pt x="666" y="1032"/>
                    <a:pt x="666" y="1032"/>
                  </a:cubicBezTo>
                  <a:cubicBezTo>
                    <a:pt x="627" y="1012"/>
                    <a:pt x="638" y="1018"/>
                    <a:pt x="648" y="1023"/>
                  </a:cubicBezTo>
                  <a:cubicBezTo>
                    <a:pt x="648" y="1023"/>
                    <a:pt x="648" y="1023"/>
                    <a:pt x="648" y="1022"/>
                  </a:cubicBezTo>
                  <a:cubicBezTo>
                    <a:pt x="655" y="1022"/>
                    <a:pt x="655" y="1022"/>
                    <a:pt x="655" y="1022"/>
                  </a:cubicBezTo>
                  <a:cubicBezTo>
                    <a:pt x="655" y="1022"/>
                    <a:pt x="655" y="1022"/>
                    <a:pt x="655" y="1022"/>
                  </a:cubicBezTo>
                  <a:cubicBezTo>
                    <a:pt x="656" y="1022"/>
                    <a:pt x="657" y="1023"/>
                    <a:pt x="657" y="1023"/>
                  </a:cubicBezTo>
                  <a:cubicBezTo>
                    <a:pt x="658" y="1024"/>
                    <a:pt x="658" y="1025"/>
                    <a:pt x="658" y="1026"/>
                  </a:cubicBezTo>
                  <a:cubicBezTo>
                    <a:pt x="661" y="1025"/>
                    <a:pt x="665" y="1028"/>
                    <a:pt x="666" y="1031"/>
                  </a:cubicBezTo>
                  <a:cubicBezTo>
                    <a:pt x="666" y="1032"/>
                    <a:pt x="666" y="1032"/>
                    <a:pt x="666" y="1032"/>
                  </a:cubicBezTo>
                  <a:cubicBezTo>
                    <a:pt x="666" y="1030"/>
                    <a:pt x="668" y="1027"/>
                    <a:pt x="664" y="1028"/>
                  </a:cubicBezTo>
                  <a:cubicBezTo>
                    <a:pt x="665" y="1027"/>
                    <a:pt x="665" y="1025"/>
                    <a:pt x="666" y="1024"/>
                  </a:cubicBezTo>
                  <a:cubicBezTo>
                    <a:pt x="654" y="1019"/>
                    <a:pt x="642" y="1012"/>
                    <a:pt x="630" y="1005"/>
                  </a:cubicBezTo>
                  <a:cubicBezTo>
                    <a:pt x="667" y="1032"/>
                    <a:pt x="667" y="1032"/>
                    <a:pt x="666" y="1032"/>
                  </a:cubicBezTo>
                  <a:cubicBezTo>
                    <a:pt x="667" y="1032"/>
                    <a:pt x="667" y="1032"/>
                    <a:pt x="667" y="1032"/>
                  </a:cubicBezTo>
                  <a:cubicBezTo>
                    <a:pt x="667" y="1032"/>
                    <a:pt x="667" y="1032"/>
                    <a:pt x="668" y="1032"/>
                  </a:cubicBezTo>
                  <a:cubicBezTo>
                    <a:pt x="439" y="775"/>
                    <a:pt x="439" y="775"/>
                    <a:pt x="439" y="775"/>
                  </a:cubicBezTo>
                  <a:cubicBezTo>
                    <a:pt x="440" y="769"/>
                    <a:pt x="442" y="763"/>
                    <a:pt x="444" y="757"/>
                  </a:cubicBezTo>
                  <a:cubicBezTo>
                    <a:pt x="441" y="757"/>
                    <a:pt x="441" y="757"/>
                    <a:pt x="441" y="757"/>
                  </a:cubicBezTo>
                  <a:cubicBezTo>
                    <a:pt x="440" y="756"/>
                    <a:pt x="439" y="755"/>
                    <a:pt x="439" y="754"/>
                  </a:cubicBezTo>
                  <a:cubicBezTo>
                    <a:pt x="436" y="761"/>
                    <a:pt x="434" y="769"/>
                    <a:pt x="432" y="776"/>
                  </a:cubicBezTo>
                  <a:cubicBezTo>
                    <a:pt x="434" y="775"/>
                    <a:pt x="436" y="774"/>
                    <a:pt x="438" y="775"/>
                  </a:cubicBezTo>
                  <a:cubicBezTo>
                    <a:pt x="438" y="775"/>
                    <a:pt x="438" y="775"/>
                    <a:pt x="438" y="775"/>
                  </a:cubicBezTo>
                  <a:cubicBezTo>
                    <a:pt x="493" y="425"/>
                    <a:pt x="492" y="425"/>
                    <a:pt x="491" y="425"/>
                  </a:cubicBezTo>
                  <a:cubicBezTo>
                    <a:pt x="491" y="426"/>
                    <a:pt x="492" y="427"/>
                    <a:pt x="493" y="427"/>
                  </a:cubicBezTo>
                  <a:cubicBezTo>
                    <a:pt x="493" y="426"/>
                    <a:pt x="493" y="425"/>
                    <a:pt x="494" y="425"/>
                  </a:cubicBezTo>
                  <a:cubicBezTo>
                    <a:pt x="430" y="783"/>
                    <a:pt x="430" y="784"/>
                    <a:pt x="430" y="785"/>
                  </a:cubicBezTo>
                  <a:cubicBezTo>
                    <a:pt x="430" y="784"/>
                    <a:pt x="431" y="783"/>
                    <a:pt x="432" y="782"/>
                  </a:cubicBezTo>
                  <a:cubicBezTo>
                    <a:pt x="431" y="782"/>
                    <a:pt x="431" y="782"/>
                    <a:pt x="430" y="782"/>
                  </a:cubicBezTo>
                  <a:cubicBezTo>
                    <a:pt x="433" y="814"/>
                    <a:pt x="433" y="811"/>
                    <a:pt x="433" y="807"/>
                  </a:cubicBezTo>
                  <a:cubicBezTo>
                    <a:pt x="434" y="802"/>
                    <a:pt x="434" y="798"/>
                    <a:pt x="435" y="793"/>
                  </a:cubicBezTo>
                  <a:cubicBezTo>
                    <a:pt x="428" y="793"/>
                    <a:pt x="428" y="793"/>
                    <a:pt x="428" y="793"/>
                  </a:cubicBezTo>
                  <a:cubicBezTo>
                    <a:pt x="428" y="798"/>
                    <a:pt x="427" y="804"/>
                    <a:pt x="427" y="809"/>
                  </a:cubicBezTo>
                  <a:cubicBezTo>
                    <a:pt x="427" y="810"/>
                    <a:pt x="427" y="811"/>
                    <a:pt x="426" y="812"/>
                  </a:cubicBezTo>
                  <a:cubicBezTo>
                    <a:pt x="429" y="813"/>
                    <a:pt x="431" y="816"/>
                    <a:pt x="432" y="818"/>
                  </a:cubicBezTo>
                  <a:cubicBezTo>
                    <a:pt x="432" y="817"/>
                    <a:pt x="432" y="817"/>
                    <a:pt x="433" y="817"/>
                  </a:cubicBezTo>
                  <a:cubicBezTo>
                    <a:pt x="579" y="898"/>
                    <a:pt x="579" y="898"/>
                    <a:pt x="579" y="897"/>
                  </a:cubicBezTo>
                  <a:cubicBezTo>
                    <a:pt x="583" y="898"/>
                    <a:pt x="584" y="898"/>
                    <a:pt x="587" y="897"/>
                  </a:cubicBezTo>
                  <a:cubicBezTo>
                    <a:pt x="583" y="893"/>
                    <a:pt x="580" y="888"/>
                    <a:pt x="576" y="883"/>
                  </a:cubicBezTo>
                  <a:cubicBezTo>
                    <a:pt x="573" y="883"/>
                    <a:pt x="570" y="881"/>
                    <a:pt x="567" y="881"/>
                  </a:cubicBezTo>
                  <a:cubicBezTo>
                    <a:pt x="567" y="881"/>
                    <a:pt x="567" y="881"/>
                    <a:pt x="567" y="881"/>
                  </a:cubicBezTo>
                  <a:cubicBezTo>
                    <a:pt x="574" y="880"/>
                    <a:pt x="574" y="880"/>
                    <a:pt x="574" y="880"/>
                  </a:cubicBezTo>
                  <a:cubicBezTo>
                    <a:pt x="571" y="875"/>
                    <a:pt x="567" y="869"/>
                    <a:pt x="564" y="863"/>
                  </a:cubicBezTo>
                  <a:cubicBezTo>
                    <a:pt x="562" y="863"/>
                    <a:pt x="562" y="863"/>
                    <a:pt x="562" y="863"/>
                  </a:cubicBezTo>
                  <a:cubicBezTo>
                    <a:pt x="562" y="862"/>
                    <a:pt x="562" y="861"/>
                    <a:pt x="562" y="859"/>
                  </a:cubicBezTo>
                  <a:cubicBezTo>
                    <a:pt x="556" y="847"/>
                    <a:pt x="551" y="834"/>
                    <a:pt x="549" y="821"/>
                  </a:cubicBezTo>
                  <a:cubicBezTo>
                    <a:pt x="549" y="821"/>
                    <a:pt x="549" y="821"/>
                    <a:pt x="549" y="821"/>
                  </a:cubicBezTo>
                  <a:cubicBezTo>
                    <a:pt x="545" y="822"/>
                    <a:pt x="545" y="815"/>
                    <a:pt x="548" y="815"/>
                  </a:cubicBezTo>
                  <a:cubicBezTo>
                    <a:pt x="548" y="815"/>
                    <a:pt x="548" y="815"/>
                    <a:pt x="548" y="815"/>
                  </a:cubicBezTo>
                  <a:cubicBezTo>
                    <a:pt x="547" y="807"/>
                    <a:pt x="547" y="800"/>
                    <a:pt x="547" y="792"/>
                  </a:cubicBezTo>
                  <a:cubicBezTo>
                    <a:pt x="541" y="792"/>
                    <a:pt x="541" y="792"/>
                    <a:pt x="541" y="792"/>
                  </a:cubicBezTo>
                  <a:cubicBezTo>
                    <a:pt x="540" y="805"/>
                    <a:pt x="541" y="818"/>
                    <a:pt x="544" y="831"/>
                  </a:cubicBezTo>
                  <a:cubicBezTo>
                    <a:pt x="546" y="839"/>
                    <a:pt x="549" y="846"/>
                    <a:pt x="552" y="853"/>
                  </a:cubicBezTo>
                  <a:cubicBezTo>
                    <a:pt x="555" y="855"/>
                    <a:pt x="558" y="856"/>
                    <a:pt x="558" y="860"/>
                  </a:cubicBezTo>
                  <a:cubicBezTo>
                    <a:pt x="556" y="860"/>
                    <a:pt x="555" y="860"/>
                    <a:pt x="554" y="859"/>
                  </a:cubicBezTo>
                  <a:cubicBezTo>
                    <a:pt x="559" y="870"/>
                    <a:pt x="566" y="881"/>
                    <a:pt x="574" y="892"/>
                  </a:cubicBezTo>
                  <a:cubicBezTo>
                    <a:pt x="574" y="892"/>
                    <a:pt x="575" y="892"/>
                    <a:pt x="577" y="892"/>
                  </a:cubicBezTo>
                  <a:cubicBezTo>
                    <a:pt x="578" y="893"/>
                    <a:pt x="578" y="895"/>
                    <a:pt x="577" y="897"/>
                  </a:cubicBezTo>
                  <a:cubicBezTo>
                    <a:pt x="583" y="903"/>
                    <a:pt x="588" y="910"/>
                    <a:pt x="594" y="916"/>
                  </a:cubicBezTo>
                  <a:cubicBezTo>
                    <a:pt x="597" y="916"/>
                    <a:pt x="597" y="916"/>
                    <a:pt x="597" y="916"/>
                  </a:cubicBezTo>
                  <a:cubicBezTo>
                    <a:pt x="597" y="917"/>
                    <a:pt x="597" y="918"/>
                    <a:pt x="597" y="919"/>
                  </a:cubicBezTo>
                  <a:cubicBezTo>
                    <a:pt x="597" y="919"/>
                    <a:pt x="597" y="919"/>
                    <a:pt x="596" y="919"/>
                  </a:cubicBezTo>
                  <a:cubicBezTo>
                    <a:pt x="599" y="921"/>
                    <a:pt x="602" y="924"/>
                    <a:pt x="604" y="927"/>
                  </a:cubicBezTo>
                  <a:cubicBezTo>
                    <a:pt x="606" y="925"/>
                    <a:pt x="607" y="923"/>
                    <a:pt x="608" y="921"/>
                  </a:cubicBezTo>
                  <a:cubicBezTo>
                    <a:pt x="601" y="914"/>
                    <a:pt x="594" y="906"/>
                    <a:pt x="588" y="899"/>
                  </a:cubicBezTo>
                  <a:cubicBezTo>
                    <a:pt x="562" y="744"/>
                    <a:pt x="559" y="744"/>
                    <a:pt x="557" y="744"/>
                  </a:cubicBezTo>
                  <a:cubicBezTo>
                    <a:pt x="551" y="753"/>
                    <a:pt x="547" y="763"/>
                    <a:pt x="544" y="774"/>
                  </a:cubicBezTo>
                  <a:cubicBezTo>
                    <a:pt x="544" y="774"/>
                    <a:pt x="544" y="774"/>
                    <a:pt x="544" y="774"/>
                  </a:cubicBezTo>
                  <a:cubicBezTo>
                    <a:pt x="550" y="774"/>
                    <a:pt x="550" y="774"/>
                    <a:pt x="550" y="774"/>
                  </a:cubicBezTo>
                  <a:cubicBezTo>
                    <a:pt x="551" y="770"/>
                    <a:pt x="553" y="767"/>
                    <a:pt x="554" y="763"/>
                  </a:cubicBezTo>
                  <a:cubicBezTo>
                    <a:pt x="557" y="756"/>
                    <a:pt x="561" y="750"/>
                    <a:pt x="565" y="744"/>
                  </a:cubicBezTo>
                  <a:cubicBezTo>
                    <a:pt x="201" y="486"/>
                    <a:pt x="206" y="480"/>
                    <a:pt x="212" y="474"/>
                  </a:cubicBezTo>
                  <a:cubicBezTo>
                    <a:pt x="201" y="474"/>
                    <a:pt x="201" y="474"/>
                    <a:pt x="201" y="474"/>
                  </a:cubicBezTo>
                  <a:cubicBezTo>
                    <a:pt x="196" y="480"/>
                    <a:pt x="190" y="486"/>
                    <a:pt x="185" y="492"/>
                  </a:cubicBezTo>
                  <a:cubicBezTo>
                    <a:pt x="610" y="959"/>
                    <a:pt x="608" y="959"/>
                    <a:pt x="607" y="959"/>
                  </a:cubicBezTo>
                  <a:cubicBezTo>
                    <a:pt x="607" y="959"/>
                    <a:pt x="607" y="959"/>
                    <a:pt x="607" y="959"/>
                  </a:cubicBezTo>
                  <a:cubicBezTo>
                    <a:pt x="607" y="959"/>
                    <a:pt x="608" y="959"/>
                    <a:pt x="608" y="959"/>
                  </a:cubicBezTo>
                  <a:cubicBezTo>
                    <a:pt x="608" y="959"/>
                    <a:pt x="608" y="959"/>
                    <a:pt x="608" y="959"/>
                  </a:cubicBezTo>
                  <a:cubicBezTo>
                    <a:pt x="608" y="960"/>
                    <a:pt x="608" y="960"/>
                    <a:pt x="609" y="960"/>
                  </a:cubicBezTo>
                  <a:cubicBezTo>
                    <a:pt x="610" y="959"/>
                    <a:pt x="612" y="957"/>
                    <a:pt x="613" y="955"/>
                  </a:cubicBezTo>
                  <a:cubicBezTo>
                    <a:pt x="612" y="955"/>
                    <a:pt x="612" y="954"/>
                    <a:pt x="611" y="953"/>
                  </a:cubicBezTo>
                  <a:cubicBezTo>
                    <a:pt x="611" y="955"/>
                    <a:pt x="611" y="956"/>
                    <a:pt x="611" y="957"/>
                  </a:cubicBezTo>
                  <a:cubicBezTo>
                    <a:pt x="443" y="747"/>
                    <a:pt x="446" y="747"/>
                    <a:pt x="448" y="747"/>
                  </a:cubicBezTo>
                  <a:cubicBezTo>
                    <a:pt x="449" y="745"/>
                    <a:pt x="450" y="742"/>
                    <a:pt x="452" y="740"/>
                  </a:cubicBezTo>
                  <a:cubicBezTo>
                    <a:pt x="451" y="740"/>
                    <a:pt x="451" y="740"/>
                    <a:pt x="450" y="739"/>
                  </a:cubicBezTo>
                  <a:cubicBezTo>
                    <a:pt x="450" y="739"/>
                    <a:pt x="450" y="739"/>
                    <a:pt x="450" y="739"/>
                  </a:cubicBezTo>
                  <a:cubicBezTo>
                    <a:pt x="452" y="739"/>
                    <a:pt x="452" y="739"/>
                    <a:pt x="452" y="739"/>
                  </a:cubicBezTo>
                  <a:cubicBezTo>
                    <a:pt x="455" y="733"/>
                    <a:pt x="458" y="727"/>
                    <a:pt x="462" y="721"/>
                  </a:cubicBezTo>
                  <a:cubicBezTo>
                    <a:pt x="454" y="722"/>
                    <a:pt x="454" y="722"/>
                    <a:pt x="454" y="722"/>
                  </a:cubicBezTo>
                  <a:cubicBezTo>
                    <a:pt x="449" y="730"/>
                    <a:pt x="445" y="738"/>
                    <a:pt x="441" y="747"/>
                  </a:cubicBezTo>
                  <a:cubicBezTo>
                    <a:pt x="679" y="1030"/>
                    <a:pt x="679" y="1030"/>
                    <a:pt x="679" y="1030"/>
                  </a:cubicBezTo>
                  <a:cubicBezTo>
                    <a:pt x="679" y="1030"/>
                    <a:pt x="679" y="1030"/>
                    <a:pt x="679" y="1030"/>
                  </a:cubicBezTo>
                  <a:cubicBezTo>
                    <a:pt x="679" y="1030"/>
                    <a:pt x="679" y="1030"/>
                    <a:pt x="679" y="1031"/>
                  </a:cubicBezTo>
                  <a:cubicBezTo>
                    <a:pt x="512" y="856"/>
                    <a:pt x="512" y="856"/>
                    <a:pt x="512" y="856"/>
                  </a:cubicBezTo>
                  <a:cubicBezTo>
                    <a:pt x="512" y="856"/>
                    <a:pt x="512" y="856"/>
                    <a:pt x="512" y="856"/>
                  </a:cubicBezTo>
                  <a:cubicBezTo>
                    <a:pt x="512" y="856"/>
                    <a:pt x="512" y="856"/>
                    <a:pt x="512" y="857"/>
                  </a:cubicBezTo>
                  <a:cubicBezTo>
                    <a:pt x="560" y="621"/>
                    <a:pt x="558" y="614"/>
                    <a:pt x="554" y="615"/>
                  </a:cubicBezTo>
                  <a:cubicBezTo>
                    <a:pt x="538" y="619"/>
                    <a:pt x="523" y="626"/>
                    <a:pt x="509" y="634"/>
                  </a:cubicBezTo>
                  <a:cubicBezTo>
                    <a:pt x="509" y="635"/>
                    <a:pt x="509" y="637"/>
                    <a:pt x="508" y="638"/>
                  </a:cubicBezTo>
                  <a:cubicBezTo>
                    <a:pt x="508" y="638"/>
                    <a:pt x="508" y="639"/>
                    <a:pt x="507" y="639"/>
                  </a:cubicBezTo>
                  <a:cubicBezTo>
                    <a:pt x="508" y="639"/>
                    <a:pt x="510" y="640"/>
                    <a:pt x="510" y="641"/>
                  </a:cubicBezTo>
                  <a:cubicBezTo>
                    <a:pt x="505" y="638"/>
                    <a:pt x="504" y="642"/>
                    <a:pt x="502" y="644"/>
                  </a:cubicBezTo>
                  <a:cubicBezTo>
                    <a:pt x="502" y="644"/>
                    <a:pt x="501" y="645"/>
                    <a:pt x="501" y="645"/>
                  </a:cubicBezTo>
                  <a:cubicBezTo>
                    <a:pt x="501" y="645"/>
                    <a:pt x="501" y="645"/>
                    <a:pt x="500" y="645"/>
                  </a:cubicBezTo>
                  <a:cubicBezTo>
                    <a:pt x="500" y="645"/>
                    <a:pt x="500" y="645"/>
                    <a:pt x="500" y="645"/>
                  </a:cubicBezTo>
                  <a:cubicBezTo>
                    <a:pt x="499" y="645"/>
                    <a:pt x="496" y="645"/>
                    <a:pt x="495" y="644"/>
                  </a:cubicBezTo>
                  <a:cubicBezTo>
                    <a:pt x="495" y="644"/>
                    <a:pt x="495" y="643"/>
                    <a:pt x="495" y="643"/>
                  </a:cubicBezTo>
                  <a:cubicBezTo>
                    <a:pt x="494" y="644"/>
                    <a:pt x="492" y="646"/>
                    <a:pt x="490" y="647"/>
                  </a:cubicBezTo>
                  <a:cubicBezTo>
                    <a:pt x="492" y="647"/>
                    <a:pt x="492" y="649"/>
                    <a:pt x="492" y="650"/>
                  </a:cubicBezTo>
                  <a:cubicBezTo>
                    <a:pt x="486" y="650"/>
                    <a:pt x="486" y="650"/>
                    <a:pt x="486" y="650"/>
                  </a:cubicBezTo>
                  <a:cubicBezTo>
                    <a:pt x="468" y="665"/>
                    <a:pt x="452" y="683"/>
                    <a:pt x="440" y="703"/>
                  </a:cubicBezTo>
                  <a:cubicBezTo>
                    <a:pt x="445" y="703"/>
                    <a:pt x="445" y="703"/>
                    <a:pt x="445" y="703"/>
                  </a:cubicBezTo>
                  <a:cubicBezTo>
                    <a:pt x="445" y="705"/>
                    <a:pt x="445" y="707"/>
                    <a:pt x="445" y="708"/>
                  </a:cubicBezTo>
                  <a:cubicBezTo>
                    <a:pt x="445" y="709"/>
                    <a:pt x="445" y="709"/>
                    <a:pt x="445" y="709"/>
                  </a:cubicBezTo>
                  <a:cubicBezTo>
                    <a:pt x="446" y="707"/>
                    <a:pt x="447" y="705"/>
                    <a:pt x="448" y="704"/>
                  </a:cubicBezTo>
                  <a:cubicBezTo>
                    <a:pt x="448" y="704"/>
                    <a:pt x="448" y="703"/>
                    <a:pt x="448" y="703"/>
                  </a:cubicBezTo>
                  <a:cubicBezTo>
                    <a:pt x="449" y="703"/>
                    <a:pt x="449" y="703"/>
                    <a:pt x="449" y="703"/>
                  </a:cubicBezTo>
                  <a:cubicBezTo>
                    <a:pt x="454" y="695"/>
                    <a:pt x="460" y="687"/>
                    <a:pt x="467" y="679"/>
                  </a:cubicBezTo>
                  <a:cubicBezTo>
                    <a:pt x="465" y="676"/>
                    <a:pt x="465" y="672"/>
                    <a:pt x="471" y="672"/>
                  </a:cubicBezTo>
                  <a:cubicBezTo>
                    <a:pt x="471" y="673"/>
                    <a:pt x="472" y="673"/>
                    <a:pt x="472" y="674"/>
                  </a:cubicBezTo>
                  <a:cubicBezTo>
                    <a:pt x="474" y="672"/>
                    <a:pt x="476" y="670"/>
                    <a:pt x="478" y="667"/>
                  </a:cubicBezTo>
                  <a:cubicBezTo>
                    <a:pt x="476" y="668"/>
                    <a:pt x="474" y="668"/>
                    <a:pt x="471" y="668"/>
                  </a:cubicBezTo>
                  <a:cubicBezTo>
                    <a:pt x="471" y="668"/>
                    <a:pt x="471" y="667"/>
                    <a:pt x="471" y="667"/>
                  </a:cubicBezTo>
                  <a:cubicBezTo>
                    <a:pt x="478" y="667"/>
                    <a:pt x="478" y="667"/>
                    <a:pt x="478" y="667"/>
                  </a:cubicBezTo>
                  <a:cubicBezTo>
                    <a:pt x="488" y="658"/>
                    <a:pt x="498" y="650"/>
                    <a:pt x="509" y="643"/>
                  </a:cubicBezTo>
                  <a:cubicBezTo>
                    <a:pt x="509" y="643"/>
                    <a:pt x="509" y="642"/>
                    <a:pt x="509" y="641"/>
                  </a:cubicBezTo>
                  <a:cubicBezTo>
                    <a:pt x="510" y="642"/>
                    <a:pt x="510" y="642"/>
                    <a:pt x="511" y="642"/>
                  </a:cubicBezTo>
                  <a:cubicBezTo>
                    <a:pt x="512" y="641"/>
                    <a:pt x="514" y="640"/>
                    <a:pt x="515" y="639"/>
                  </a:cubicBezTo>
                  <a:cubicBezTo>
                    <a:pt x="528" y="632"/>
                    <a:pt x="542" y="625"/>
                    <a:pt x="556" y="622"/>
                  </a:cubicBezTo>
                  <a:cubicBezTo>
                    <a:pt x="453" y="686"/>
                    <a:pt x="453" y="686"/>
                    <a:pt x="453" y="686"/>
                  </a:cubicBezTo>
                  <a:cubicBezTo>
                    <a:pt x="454" y="685"/>
                    <a:pt x="454" y="684"/>
                    <a:pt x="456" y="683"/>
                  </a:cubicBezTo>
                  <a:cubicBezTo>
                    <a:pt x="457" y="683"/>
                    <a:pt x="459" y="683"/>
                    <a:pt x="461" y="683"/>
                  </a:cubicBezTo>
                  <a:cubicBezTo>
                    <a:pt x="461" y="684"/>
                    <a:pt x="461" y="685"/>
                    <a:pt x="461" y="686"/>
                  </a:cubicBezTo>
                  <a:cubicBezTo>
                    <a:pt x="454" y="1000"/>
                    <a:pt x="454" y="997"/>
                    <a:pt x="454" y="995"/>
                  </a:cubicBezTo>
                  <a:cubicBezTo>
                    <a:pt x="455" y="994"/>
                    <a:pt x="456" y="994"/>
                    <a:pt x="456" y="995"/>
                  </a:cubicBezTo>
                  <a:cubicBezTo>
                    <a:pt x="456" y="994"/>
                    <a:pt x="456" y="994"/>
                    <a:pt x="456" y="993"/>
                  </a:cubicBezTo>
                  <a:cubicBezTo>
                    <a:pt x="451" y="986"/>
                    <a:pt x="447" y="979"/>
                    <a:pt x="443" y="971"/>
                  </a:cubicBezTo>
                  <a:cubicBezTo>
                    <a:pt x="442" y="971"/>
                    <a:pt x="442" y="971"/>
                    <a:pt x="442" y="971"/>
                  </a:cubicBezTo>
                  <a:cubicBezTo>
                    <a:pt x="441" y="970"/>
                    <a:pt x="440" y="970"/>
                    <a:pt x="441" y="968"/>
                  </a:cubicBezTo>
                  <a:cubicBezTo>
                    <a:pt x="441" y="967"/>
                    <a:pt x="441" y="967"/>
                    <a:pt x="440" y="966"/>
                  </a:cubicBezTo>
                  <a:cubicBezTo>
                    <a:pt x="440" y="967"/>
                    <a:pt x="439" y="968"/>
                    <a:pt x="439" y="968"/>
                  </a:cubicBezTo>
                  <a:cubicBezTo>
                    <a:pt x="439" y="969"/>
                    <a:pt x="439" y="970"/>
                    <a:pt x="440" y="971"/>
                  </a:cubicBezTo>
                  <a:cubicBezTo>
                    <a:pt x="436" y="971"/>
                    <a:pt x="436" y="971"/>
                    <a:pt x="436" y="971"/>
                  </a:cubicBezTo>
                  <a:cubicBezTo>
                    <a:pt x="440" y="978"/>
                    <a:pt x="443" y="984"/>
                    <a:pt x="447" y="991"/>
                  </a:cubicBezTo>
                  <a:cubicBezTo>
                    <a:pt x="449" y="991"/>
                    <a:pt x="451" y="992"/>
                    <a:pt x="452" y="994"/>
                  </a:cubicBezTo>
                  <a:cubicBezTo>
                    <a:pt x="451" y="994"/>
                    <a:pt x="450" y="994"/>
                    <a:pt x="449" y="995"/>
                  </a:cubicBezTo>
                  <a:cubicBezTo>
                    <a:pt x="451" y="997"/>
                    <a:pt x="452" y="999"/>
                    <a:pt x="454" y="1002"/>
                  </a:cubicBezTo>
                  <a:cubicBezTo>
                    <a:pt x="851" y="629"/>
                    <a:pt x="850" y="630"/>
                    <a:pt x="850" y="630"/>
                  </a:cubicBezTo>
                  <a:cubicBezTo>
                    <a:pt x="850" y="631"/>
                    <a:pt x="851" y="631"/>
                    <a:pt x="851" y="632"/>
                  </a:cubicBezTo>
                  <a:cubicBezTo>
                    <a:pt x="852" y="631"/>
                    <a:pt x="852" y="630"/>
                    <a:pt x="853" y="629"/>
                  </a:cubicBezTo>
                  <a:cubicBezTo>
                    <a:pt x="841" y="623"/>
                    <a:pt x="830" y="617"/>
                    <a:pt x="818" y="611"/>
                  </a:cubicBezTo>
                  <a:cubicBezTo>
                    <a:pt x="809" y="611"/>
                    <a:pt x="809" y="611"/>
                    <a:pt x="809" y="611"/>
                  </a:cubicBezTo>
                  <a:cubicBezTo>
                    <a:pt x="809" y="611"/>
                    <a:pt x="808" y="611"/>
                    <a:pt x="808" y="610"/>
                  </a:cubicBezTo>
                  <a:cubicBezTo>
                    <a:pt x="808" y="610"/>
                    <a:pt x="808" y="610"/>
                    <a:pt x="808" y="610"/>
                  </a:cubicBezTo>
                  <a:cubicBezTo>
                    <a:pt x="808" y="611"/>
                    <a:pt x="807" y="611"/>
                    <a:pt x="807" y="612"/>
                  </a:cubicBezTo>
                  <a:cubicBezTo>
                    <a:pt x="804" y="612"/>
                    <a:pt x="804" y="612"/>
                    <a:pt x="804" y="612"/>
                  </a:cubicBezTo>
                  <a:cubicBezTo>
                    <a:pt x="815" y="617"/>
                    <a:pt x="826" y="623"/>
                    <a:pt x="837" y="629"/>
                  </a:cubicBezTo>
                  <a:cubicBezTo>
                    <a:pt x="776" y="638"/>
                    <a:pt x="776" y="636"/>
                    <a:pt x="776" y="634"/>
                  </a:cubicBezTo>
                  <a:cubicBezTo>
                    <a:pt x="776" y="634"/>
                    <a:pt x="775" y="633"/>
                    <a:pt x="774" y="633"/>
                  </a:cubicBezTo>
                  <a:cubicBezTo>
                    <a:pt x="774" y="633"/>
                    <a:pt x="774" y="633"/>
                    <a:pt x="774" y="633"/>
                  </a:cubicBezTo>
                  <a:cubicBezTo>
                    <a:pt x="772" y="634"/>
                    <a:pt x="771" y="633"/>
                    <a:pt x="770" y="633"/>
                  </a:cubicBezTo>
                  <a:cubicBezTo>
                    <a:pt x="768" y="634"/>
                    <a:pt x="766" y="635"/>
                    <a:pt x="763" y="634"/>
                  </a:cubicBezTo>
                  <a:cubicBezTo>
                    <a:pt x="765" y="636"/>
                    <a:pt x="767" y="637"/>
                    <a:pt x="769" y="638"/>
                  </a:cubicBezTo>
                  <a:cubicBezTo>
                    <a:pt x="769" y="637"/>
                    <a:pt x="770" y="636"/>
                    <a:pt x="770" y="635"/>
                  </a:cubicBezTo>
                  <a:cubicBezTo>
                    <a:pt x="776" y="635"/>
                    <a:pt x="776" y="635"/>
                    <a:pt x="776" y="635"/>
                  </a:cubicBezTo>
                  <a:cubicBezTo>
                    <a:pt x="776" y="637"/>
                    <a:pt x="777" y="637"/>
                    <a:pt x="776" y="640"/>
                  </a:cubicBezTo>
                  <a:cubicBezTo>
                    <a:pt x="777" y="640"/>
                    <a:pt x="777" y="640"/>
                    <a:pt x="777" y="639"/>
                  </a:cubicBezTo>
                  <a:cubicBezTo>
                    <a:pt x="577" y="1006"/>
                    <a:pt x="577" y="1006"/>
                    <a:pt x="577" y="1006"/>
                  </a:cubicBezTo>
                  <a:cubicBezTo>
                    <a:pt x="577" y="1006"/>
                    <a:pt x="577" y="1005"/>
                    <a:pt x="577" y="1005"/>
                  </a:cubicBezTo>
                  <a:cubicBezTo>
                    <a:pt x="577" y="1004"/>
                    <a:pt x="573" y="1004"/>
                    <a:pt x="573" y="1002"/>
                  </a:cubicBezTo>
                  <a:cubicBezTo>
                    <a:pt x="571" y="1002"/>
                    <a:pt x="572" y="1004"/>
                    <a:pt x="571" y="1005"/>
                  </a:cubicBezTo>
                  <a:cubicBezTo>
                    <a:pt x="578" y="1011"/>
                    <a:pt x="586" y="1017"/>
                    <a:pt x="595" y="1023"/>
                  </a:cubicBezTo>
                  <a:cubicBezTo>
                    <a:pt x="595" y="1023"/>
                    <a:pt x="595" y="1023"/>
                    <a:pt x="595" y="1023"/>
                  </a:cubicBezTo>
                  <a:cubicBezTo>
                    <a:pt x="595" y="1023"/>
                    <a:pt x="596" y="1023"/>
                    <a:pt x="596" y="1024"/>
                  </a:cubicBezTo>
                  <a:cubicBezTo>
                    <a:pt x="598" y="1025"/>
                    <a:pt x="601" y="1027"/>
                    <a:pt x="603" y="1028"/>
                  </a:cubicBezTo>
                  <a:cubicBezTo>
                    <a:pt x="603" y="1028"/>
                    <a:pt x="603" y="1028"/>
                    <a:pt x="603" y="1028"/>
                  </a:cubicBezTo>
                  <a:cubicBezTo>
                    <a:pt x="601" y="1027"/>
                    <a:pt x="599" y="1025"/>
                    <a:pt x="598" y="1023"/>
                  </a:cubicBezTo>
                  <a:cubicBezTo>
                    <a:pt x="607" y="1023"/>
                    <a:pt x="607" y="1023"/>
                    <a:pt x="607" y="1023"/>
                  </a:cubicBezTo>
                  <a:cubicBezTo>
                    <a:pt x="599" y="1018"/>
                    <a:pt x="590" y="1012"/>
                    <a:pt x="583" y="1006"/>
                  </a:cubicBezTo>
                  <a:cubicBezTo>
                    <a:pt x="573" y="1048"/>
                    <a:pt x="582" y="1053"/>
                    <a:pt x="591" y="1059"/>
                  </a:cubicBezTo>
                  <a:cubicBezTo>
                    <a:pt x="605" y="1058"/>
                    <a:pt x="605" y="1058"/>
                    <a:pt x="605" y="1058"/>
                  </a:cubicBezTo>
                  <a:cubicBezTo>
                    <a:pt x="594" y="1053"/>
                    <a:pt x="584" y="1048"/>
                    <a:pt x="575" y="1041"/>
                  </a:cubicBezTo>
                  <a:cubicBezTo>
                    <a:pt x="520" y="1028"/>
                    <a:pt x="520" y="1028"/>
                    <a:pt x="521" y="1029"/>
                  </a:cubicBezTo>
                  <a:cubicBezTo>
                    <a:pt x="520" y="1028"/>
                    <a:pt x="520" y="1028"/>
                    <a:pt x="520" y="1028"/>
                  </a:cubicBezTo>
                  <a:cubicBezTo>
                    <a:pt x="514" y="1021"/>
                    <a:pt x="509" y="1014"/>
                    <a:pt x="503" y="1006"/>
                  </a:cubicBezTo>
                  <a:cubicBezTo>
                    <a:pt x="497" y="1006"/>
                    <a:pt x="497" y="1006"/>
                    <a:pt x="497" y="1006"/>
                  </a:cubicBezTo>
                  <a:cubicBezTo>
                    <a:pt x="497" y="1006"/>
                    <a:pt x="497" y="1005"/>
                    <a:pt x="498" y="1005"/>
                  </a:cubicBezTo>
                  <a:cubicBezTo>
                    <a:pt x="499" y="1005"/>
                    <a:pt x="500" y="1005"/>
                    <a:pt x="502" y="1005"/>
                  </a:cubicBezTo>
                  <a:cubicBezTo>
                    <a:pt x="499" y="1001"/>
                    <a:pt x="497" y="997"/>
                    <a:pt x="494" y="993"/>
                  </a:cubicBezTo>
                  <a:cubicBezTo>
                    <a:pt x="493" y="995"/>
                    <a:pt x="491" y="997"/>
                    <a:pt x="489" y="998"/>
                  </a:cubicBezTo>
                  <a:cubicBezTo>
                    <a:pt x="497" y="1011"/>
                    <a:pt x="506" y="1023"/>
                    <a:pt x="517" y="1034"/>
                  </a:cubicBezTo>
                  <a:cubicBezTo>
                    <a:pt x="517" y="1031"/>
                    <a:pt x="518" y="1029"/>
                    <a:pt x="520" y="1028"/>
                  </a:cubicBezTo>
                  <a:cubicBezTo>
                    <a:pt x="606" y="645"/>
                    <a:pt x="608" y="646"/>
                    <a:pt x="610" y="648"/>
                  </a:cubicBezTo>
                  <a:cubicBezTo>
                    <a:pt x="615" y="647"/>
                    <a:pt x="620" y="647"/>
                    <a:pt x="625" y="646"/>
                  </a:cubicBezTo>
                  <a:cubicBezTo>
                    <a:pt x="624" y="645"/>
                    <a:pt x="623" y="643"/>
                    <a:pt x="624" y="640"/>
                  </a:cubicBezTo>
                  <a:cubicBezTo>
                    <a:pt x="617" y="641"/>
                    <a:pt x="610" y="642"/>
                    <a:pt x="603" y="643"/>
                  </a:cubicBezTo>
                  <a:cubicBezTo>
                    <a:pt x="673" y="1034"/>
                    <a:pt x="673" y="1034"/>
                    <a:pt x="672" y="1035"/>
                  </a:cubicBezTo>
                  <a:cubicBezTo>
                    <a:pt x="674" y="1035"/>
                    <a:pt x="676" y="1036"/>
                    <a:pt x="678" y="1037"/>
                  </a:cubicBezTo>
                  <a:cubicBezTo>
                    <a:pt x="678" y="1035"/>
                    <a:pt x="678" y="1034"/>
                    <a:pt x="679" y="1033"/>
                  </a:cubicBezTo>
                  <a:cubicBezTo>
                    <a:pt x="678" y="1033"/>
                    <a:pt x="678" y="1034"/>
                    <a:pt x="678" y="1034"/>
                  </a:cubicBezTo>
                  <a:cubicBezTo>
                    <a:pt x="676" y="1034"/>
                    <a:pt x="674" y="1034"/>
                    <a:pt x="673" y="1033"/>
                  </a:cubicBezTo>
                  <a:cubicBezTo>
                    <a:pt x="742" y="636"/>
                    <a:pt x="743" y="635"/>
                    <a:pt x="743" y="633"/>
                  </a:cubicBezTo>
                  <a:cubicBezTo>
                    <a:pt x="743" y="633"/>
                    <a:pt x="742" y="632"/>
                    <a:pt x="741" y="632"/>
                  </a:cubicBezTo>
                  <a:cubicBezTo>
                    <a:pt x="742" y="634"/>
                    <a:pt x="739" y="633"/>
                    <a:pt x="739" y="636"/>
                  </a:cubicBezTo>
                  <a:cubicBezTo>
                    <a:pt x="581" y="649"/>
                    <a:pt x="581" y="649"/>
                    <a:pt x="581" y="649"/>
                  </a:cubicBezTo>
                  <a:cubicBezTo>
                    <a:pt x="580" y="649"/>
                    <a:pt x="580" y="649"/>
                    <a:pt x="580" y="649"/>
                  </a:cubicBezTo>
                  <a:cubicBezTo>
                    <a:pt x="565" y="654"/>
                    <a:pt x="550" y="660"/>
                    <a:pt x="535" y="669"/>
                  </a:cubicBezTo>
                  <a:cubicBezTo>
                    <a:pt x="529" y="673"/>
                    <a:pt x="523" y="677"/>
                    <a:pt x="518" y="681"/>
                  </a:cubicBezTo>
                  <a:cubicBezTo>
                    <a:pt x="523" y="680"/>
                    <a:pt x="527" y="679"/>
                    <a:pt x="532" y="679"/>
                  </a:cubicBezTo>
                  <a:cubicBezTo>
                    <a:pt x="537" y="676"/>
                    <a:pt x="543" y="673"/>
                    <a:pt x="548" y="670"/>
                  </a:cubicBezTo>
                  <a:cubicBezTo>
                    <a:pt x="548" y="669"/>
                    <a:pt x="547" y="668"/>
                    <a:pt x="547" y="667"/>
                  </a:cubicBezTo>
                  <a:cubicBezTo>
                    <a:pt x="554" y="667"/>
                    <a:pt x="554" y="667"/>
                    <a:pt x="554" y="667"/>
                  </a:cubicBezTo>
                  <a:cubicBezTo>
                    <a:pt x="558" y="665"/>
                    <a:pt x="562" y="663"/>
                    <a:pt x="566" y="661"/>
                  </a:cubicBezTo>
                  <a:cubicBezTo>
                    <a:pt x="579" y="655"/>
                    <a:pt x="592" y="651"/>
                    <a:pt x="606" y="649"/>
                  </a:cubicBezTo>
                  <a:cubicBezTo>
                    <a:pt x="598" y="649"/>
                    <a:pt x="598" y="649"/>
                    <a:pt x="598" y="649"/>
                  </a:cubicBezTo>
                  <a:cubicBezTo>
                    <a:pt x="597" y="648"/>
                    <a:pt x="597" y="646"/>
                    <a:pt x="597" y="645"/>
                  </a:cubicBezTo>
                  <a:cubicBezTo>
                    <a:pt x="597" y="645"/>
                    <a:pt x="596" y="645"/>
                    <a:pt x="596" y="645"/>
                  </a:cubicBezTo>
                  <a:cubicBezTo>
                    <a:pt x="596" y="645"/>
                    <a:pt x="597" y="646"/>
                    <a:pt x="596" y="647"/>
                  </a:cubicBezTo>
                  <a:cubicBezTo>
                    <a:pt x="595" y="647"/>
                    <a:pt x="595" y="649"/>
                    <a:pt x="593" y="648"/>
                  </a:cubicBezTo>
                  <a:cubicBezTo>
                    <a:pt x="592" y="648"/>
                    <a:pt x="592" y="647"/>
                    <a:pt x="592" y="646"/>
                  </a:cubicBezTo>
                  <a:cubicBezTo>
                    <a:pt x="588" y="647"/>
                    <a:pt x="585" y="648"/>
                    <a:pt x="581" y="649"/>
                  </a:cubicBezTo>
                  <a:cubicBezTo>
                    <a:pt x="824" y="596"/>
                    <a:pt x="822" y="596"/>
                    <a:pt x="820" y="596"/>
                  </a:cubicBezTo>
                  <a:cubicBezTo>
                    <a:pt x="821" y="597"/>
                    <a:pt x="823" y="597"/>
                    <a:pt x="824" y="598"/>
                  </a:cubicBezTo>
                  <a:cubicBezTo>
                    <a:pt x="668" y="641"/>
                    <a:pt x="668" y="640"/>
                    <a:pt x="668" y="640"/>
                  </a:cubicBezTo>
                  <a:cubicBezTo>
                    <a:pt x="667" y="640"/>
                    <a:pt x="666" y="640"/>
                    <a:pt x="666" y="640"/>
                  </a:cubicBezTo>
                  <a:cubicBezTo>
                    <a:pt x="666" y="640"/>
                    <a:pt x="667" y="641"/>
                    <a:pt x="667" y="642"/>
                  </a:cubicBezTo>
                  <a:cubicBezTo>
                    <a:pt x="667" y="642"/>
                    <a:pt x="667" y="642"/>
                    <a:pt x="668" y="642"/>
                  </a:cubicBezTo>
                  <a:cubicBezTo>
                    <a:pt x="668" y="641"/>
                    <a:pt x="668" y="641"/>
                    <a:pt x="669" y="641"/>
                  </a:cubicBezTo>
                  <a:cubicBezTo>
                    <a:pt x="544" y="609"/>
                    <a:pt x="544" y="609"/>
                    <a:pt x="545" y="609"/>
                  </a:cubicBezTo>
                  <a:cubicBezTo>
                    <a:pt x="545" y="609"/>
                    <a:pt x="545" y="609"/>
                    <a:pt x="545" y="609"/>
                  </a:cubicBezTo>
                  <a:cubicBezTo>
                    <a:pt x="543" y="609"/>
                    <a:pt x="542" y="609"/>
                    <a:pt x="540" y="609"/>
                  </a:cubicBezTo>
                  <a:cubicBezTo>
                    <a:pt x="540" y="609"/>
                    <a:pt x="540" y="609"/>
                    <a:pt x="540" y="610"/>
                  </a:cubicBezTo>
                  <a:cubicBezTo>
                    <a:pt x="541" y="611"/>
                    <a:pt x="541" y="611"/>
                    <a:pt x="541" y="612"/>
                  </a:cubicBezTo>
                  <a:cubicBezTo>
                    <a:pt x="541" y="612"/>
                    <a:pt x="542" y="612"/>
                    <a:pt x="542" y="612"/>
                  </a:cubicBezTo>
                  <a:cubicBezTo>
                    <a:pt x="542" y="611"/>
                    <a:pt x="543" y="610"/>
                    <a:pt x="543" y="609"/>
                  </a:cubicBezTo>
                  <a:cubicBezTo>
                    <a:pt x="488" y="648"/>
                    <a:pt x="488" y="648"/>
                    <a:pt x="488" y="648"/>
                  </a:cubicBezTo>
                  <a:cubicBezTo>
                    <a:pt x="488" y="648"/>
                    <a:pt x="488" y="648"/>
                    <a:pt x="488" y="648"/>
                  </a:cubicBezTo>
                  <a:cubicBezTo>
                    <a:pt x="501" y="641"/>
                    <a:pt x="501" y="640"/>
                    <a:pt x="501" y="640"/>
                  </a:cubicBezTo>
                  <a:cubicBezTo>
                    <a:pt x="501" y="639"/>
                    <a:pt x="501" y="639"/>
                    <a:pt x="501" y="639"/>
                  </a:cubicBezTo>
                  <a:cubicBezTo>
                    <a:pt x="500" y="640"/>
                    <a:pt x="499" y="641"/>
                    <a:pt x="498" y="641"/>
                  </a:cubicBezTo>
                  <a:cubicBezTo>
                    <a:pt x="498" y="641"/>
                    <a:pt x="499" y="641"/>
                    <a:pt x="500" y="641"/>
                  </a:cubicBezTo>
                  <a:cubicBezTo>
                    <a:pt x="922" y="988"/>
                    <a:pt x="922" y="988"/>
                    <a:pt x="922" y="988"/>
                  </a:cubicBezTo>
                  <a:cubicBezTo>
                    <a:pt x="922" y="988"/>
                    <a:pt x="922" y="988"/>
                    <a:pt x="921" y="988"/>
                  </a:cubicBezTo>
                  <a:cubicBezTo>
                    <a:pt x="922" y="988"/>
                    <a:pt x="922" y="988"/>
                    <a:pt x="922" y="988"/>
                  </a:cubicBezTo>
                  <a:cubicBezTo>
                    <a:pt x="880" y="1021"/>
                    <a:pt x="881" y="1021"/>
                    <a:pt x="883" y="1021"/>
                  </a:cubicBezTo>
                  <a:cubicBezTo>
                    <a:pt x="883" y="1020"/>
                    <a:pt x="882" y="1020"/>
                    <a:pt x="882" y="1020"/>
                  </a:cubicBezTo>
                  <a:cubicBezTo>
                    <a:pt x="890" y="1020"/>
                    <a:pt x="890" y="1020"/>
                    <a:pt x="890" y="1020"/>
                  </a:cubicBezTo>
                  <a:cubicBezTo>
                    <a:pt x="900" y="1018"/>
                    <a:pt x="909" y="1015"/>
                    <a:pt x="919" y="1011"/>
                  </a:cubicBezTo>
                  <a:cubicBezTo>
                    <a:pt x="926" y="1008"/>
                    <a:pt x="933" y="1006"/>
                    <a:pt x="941" y="1003"/>
                  </a:cubicBezTo>
                  <a:cubicBezTo>
                    <a:pt x="922" y="1003"/>
                    <a:pt x="922" y="1003"/>
                    <a:pt x="922" y="1003"/>
                  </a:cubicBezTo>
                  <a:cubicBezTo>
                    <a:pt x="918" y="1004"/>
                    <a:pt x="915" y="1005"/>
                    <a:pt x="912" y="1007"/>
                  </a:cubicBezTo>
                  <a:cubicBezTo>
                    <a:pt x="896" y="1012"/>
                    <a:pt x="879" y="1017"/>
                    <a:pt x="863" y="1021"/>
                  </a:cubicBezTo>
                  <a:cubicBezTo>
                    <a:pt x="839" y="1060"/>
                    <a:pt x="835" y="1061"/>
                    <a:pt x="831" y="1061"/>
                  </a:cubicBezTo>
                  <a:cubicBezTo>
                    <a:pt x="833" y="1063"/>
                    <a:pt x="834" y="1065"/>
                    <a:pt x="837" y="1067"/>
                  </a:cubicBezTo>
                  <a:cubicBezTo>
                    <a:pt x="839" y="1065"/>
                    <a:pt x="843" y="1065"/>
                    <a:pt x="846" y="1066"/>
                  </a:cubicBezTo>
                  <a:cubicBezTo>
                    <a:pt x="847" y="1065"/>
                    <a:pt x="848" y="1065"/>
                    <a:pt x="848" y="1065"/>
                  </a:cubicBezTo>
                  <a:cubicBezTo>
                    <a:pt x="849" y="1064"/>
                    <a:pt x="849" y="1064"/>
                    <a:pt x="850" y="1064"/>
                  </a:cubicBezTo>
                  <a:cubicBezTo>
                    <a:pt x="850" y="1064"/>
                    <a:pt x="850" y="1065"/>
                    <a:pt x="850" y="1065"/>
                  </a:cubicBezTo>
                  <a:cubicBezTo>
                    <a:pt x="852" y="1064"/>
                    <a:pt x="854" y="1064"/>
                    <a:pt x="857" y="1063"/>
                  </a:cubicBezTo>
                  <a:cubicBezTo>
                    <a:pt x="855" y="1063"/>
                    <a:pt x="854" y="1063"/>
                    <a:pt x="852" y="1063"/>
                  </a:cubicBezTo>
                  <a:cubicBezTo>
                    <a:pt x="853" y="1060"/>
                    <a:pt x="851" y="1061"/>
                    <a:pt x="851" y="1058"/>
                  </a:cubicBezTo>
                  <a:cubicBezTo>
                    <a:pt x="851" y="1058"/>
                    <a:pt x="852" y="1058"/>
                    <a:pt x="852" y="1058"/>
                  </a:cubicBezTo>
                  <a:cubicBezTo>
                    <a:pt x="852" y="1058"/>
                    <a:pt x="852" y="1058"/>
                    <a:pt x="852" y="1058"/>
                  </a:cubicBezTo>
                  <a:cubicBezTo>
                    <a:pt x="851" y="1058"/>
                    <a:pt x="850" y="1058"/>
                    <a:pt x="849" y="1058"/>
                  </a:cubicBezTo>
                  <a:cubicBezTo>
                    <a:pt x="848" y="1059"/>
                    <a:pt x="848" y="1059"/>
                    <a:pt x="848" y="1060"/>
                  </a:cubicBezTo>
                  <a:cubicBezTo>
                    <a:pt x="847" y="1060"/>
                    <a:pt x="847" y="1060"/>
                    <a:pt x="847" y="1060"/>
                  </a:cubicBezTo>
                  <a:cubicBezTo>
                    <a:pt x="847" y="1061"/>
                    <a:pt x="847" y="1062"/>
                    <a:pt x="847" y="1063"/>
                  </a:cubicBezTo>
                  <a:cubicBezTo>
                    <a:pt x="846" y="1062"/>
                    <a:pt x="845" y="1061"/>
                    <a:pt x="844" y="1060"/>
                  </a:cubicBezTo>
                  <a:cubicBezTo>
                    <a:pt x="844" y="1060"/>
                    <a:pt x="843" y="1060"/>
                    <a:pt x="843" y="1060"/>
                  </a:cubicBezTo>
                  <a:cubicBezTo>
                    <a:pt x="929" y="1001"/>
                    <a:pt x="930" y="1002"/>
                    <a:pt x="930" y="1002"/>
                  </a:cubicBezTo>
                  <a:cubicBezTo>
                    <a:pt x="930" y="1002"/>
                    <a:pt x="930" y="1001"/>
                    <a:pt x="930" y="1001"/>
                  </a:cubicBezTo>
                  <a:cubicBezTo>
                    <a:pt x="929" y="1001"/>
                    <a:pt x="929" y="1001"/>
                    <a:pt x="929" y="1001"/>
                  </a:cubicBezTo>
                  <a:cubicBezTo>
                    <a:pt x="886" y="992"/>
                    <a:pt x="884" y="992"/>
                    <a:pt x="883" y="993"/>
                  </a:cubicBezTo>
                  <a:cubicBezTo>
                    <a:pt x="883" y="993"/>
                    <a:pt x="883" y="993"/>
                    <a:pt x="883" y="993"/>
                  </a:cubicBezTo>
                  <a:cubicBezTo>
                    <a:pt x="888" y="992"/>
                    <a:pt x="888" y="1000"/>
                    <a:pt x="894" y="997"/>
                  </a:cubicBezTo>
                  <a:cubicBezTo>
                    <a:pt x="892" y="995"/>
                    <a:pt x="890" y="992"/>
                    <a:pt x="887" y="991"/>
                  </a:cubicBezTo>
                  <a:cubicBezTo>
                    <a:pt x="877" y="1001"/>
                    <a:pt x="876" y="999"/>
                    <a:pt x="873" y="999"/>
                  </a:cubicBezTo>
                  <a:cubicBezTo>
                    <a:pt x="873" y="999"/>
                    <a:pt x="873" y="999"/>
                    <a:pt x="873" y="1000"/>
                  </a:cubicBezTo>
                  <a:cubicBezTo>
                    <a:pt x="875" y="1000"/>
                    <a:pt x="876" y="1001"/>
                    <a:pt x="876" y="1002"/>
                  </a:cubicBezTo>
                  <a:cubicBezTo>
                    <a:pt x="877" y="1002"/>
                    <a:pt x="877" y="1002"/>
                    <a:pt x="877" y="1002"/>
                  </a:cubicBezTo>
                  <a:cubicBezTo>
                    <a:pt x="854" y="1001"/>
                    <a:pt x="855" y="1001"/>
                    <a:pt x="855" y="999"/>
                  </a:cubicBezTo>
                  <a:cubicBezTo>
                    <a:pt x="852" y="1000"/>
                    <a:pt x="849" y="1000"/>
                    <a:pt x="846" y="1001"/>
                  </a:cubicBezTo>
                  <a:cubicBezTo>
                    <a:pt x="846" y="1001"/>
                    <a:pt x="846" y="1001"/>
                    <a:pt x="846" y="1001"/>
                  </a:cubicBezTo>
                  <a:cubicBezTo>
                    <a:pt x="849" y="1001"/>
                    <a:pt x="850" y="1003"/>
                    <a:pt x="854" y="1003"/>
                  </a:cubicBezTo>
                  <a:cubicBezTo>
                    <a:pt x="809" y="1067"/>
                    <a:pt x="807" y="1066"/>
                    <a:pt x="806" y="1064"/>
                  </a:cubicBezTo>
                  <a:cubicBezTo>
                    <a:pt x="805" y="1064"/>
                    <a:pt x="805" y="1064"/>
                    <a:pt x="805" y="1064"/>
                  </a:cubicBezTo>
                  <a:cubicBezTo>
                    <a:pt x="807" y="1065"/>
                    <a:pt x="808" y="1067"/>
                    <a:pt x="808" y="1069"/>
                  </a:cubicBezTo>
                  <a:cubicBezTo>
                    <a:pt x="810" y="1069"/>
                    <a:pt x="812" y="1069"/>
                    <a:pt x="813" y="1069"/>
                  </a:cubicBezTo>
                  <a:cubicBezTo>
                    <a:pt x="813" y="1069"/>
                    <a:pt x="813" y="1069"/>
                    <a:pt x="814" y="1068"/>
                  </a:cubicBezTo>
                  <a:cubicBezTo>
                    <a:pt x="813" y="1068"/>
                    <a:pt x="813" y="1067"/>
                    <a:pt x="812" y="1067"/>
                  </a:cubicBezTo>
                  <a:cubicBezTo>
                    <a:pt x="812" y="1067"/>
                    <a:pt x="812" y="1067"/>
                    <a:pt x="812" y="1067"/>
                  </a:cubicBezTo>
                  <a:cubicBezTo>
                    <a:pt x="810" y="1027"/>
                    <a:pt x="808" y="1028"/>
                    <a:pt x="807" y="1028"/>
                  </a:cubicBezTo>
                  <a:cubicBezTo>
                    <a:pt x="810" y="1029"/>
                    <a:pt x="813" y="1031"/>
                    <a:pt x="815" y="1034"/>
                  </a:cubicBezTo>
                  <a:cubicBezTo>
                    <a:pt x="818" y="1033"/>
                    <a:pt x="821" y="1033"/>
                    <a:pt x="824" y="1033"/>
                  </a:cubicBezTo>
                  <a:cubicBezTo>
                    <a:pt x="820" y="1032"/>
                    <a:pt x="817" y="1031"/>
                    <a:pt x="816" y="1027"/>
                  </a:cubicBezTo>
                  <a:cubicBezTo>
                    <a:pt x="814" y="1027"/>
                    <a:pt x="813" y="1027"/>
                    <a:pt x="811" y="1027"/>
                  </a:cubicBezTo>
                  <a:cubicBezTo>
                    <a:pt x="816" y="1065"/>
                    <a:pt x="816" y="1065"/>
                    <a:pt x="817" y="1066"/>
                  </a:cubicBezTo>
                  <a:cubicBezTo>
                    <a:pt x="817" y="1066"/>
                    <a:pt x="817" y="1066"/>
                    <a:pt x="817" y="1066"/>
                  </a:cubicBezTo>
                  <a:cubicBezTo>
                    <a:pt x="819" y="1066"/>
                    <a:pt x="819" y="1064"/>
                    <a:pt x="822" y="1065"/>
                  </a:cubicBezTo>
                  <a:cubicBezTo>
                    <a:pt x="822" y="1066"/>
                    <a:pt x="823" y="1067"/>
                    <a:pt x="823" y="1067"/>
                  </a:cubicBezTo>
                  <a:cubicBezTo>
                    <a:pt x="825" y="1067"/>
                    <a:pt x="826" y="1068"/>
                    <a:pt x="827" y="1068"/>
                  </a:cubicBezTo>
                  <a:cubicBezTo>
                    <a:pt x="826" y="1067"/>
                    <a:pt x="826" y="1065"/>
                    <a:pt x="825" y="1063"/>
                  </a:cubicBezTo>
                  <a:cubicBezTo>
                    <a:pt x="825" y="1063"/>
                    <a:pt x="824" y="1063"/>
                    <a:pt x="823" y="1062"/>
                  </a:cubicBezTo>
                  <a:cubicBezTo>
                    <a:pt x="823" y="1062"/>
                    <a:pt x="823" y="1062"/>
                    <a:pt x="823" y="1062"/>
                  </a:cubicBezTo>
                  <a:cubicBezTo>
                    <a:pt x="821" y="1063"/>
                    <a:pt x="818" y="1063"/>
                    <a:pt x="815" y="1063"/>
                  </a:cubicBezTo>
                  <a:cubicBezTo>
                    <a:pt x="815" y="1063"/>
                    <a:pt x="815" y="1064"/>
                    <a:pt x="815" y="1064"/>
                  </a:cubicBezTo>
                  <a:cubicBezTo>
                    <a:pt x="835" y="1025"/>
                    <a:pt x="833" y="1025"/>
                    <a:pt x="832" y="1025"/>
                  </a:cubicBezTo>
                  <a:cubicBezTo>
                    <a:pt x="833" y="1027"/>
                    <a:pt x="835" y="1030"/>
                    <a:pt x="835" y="1032"/>
                  </a:cubicBezTo>
                  <a:cubicBezTo>
                    <a:pt x="836" y="1032"/>
                    <a:pt x="837" y="1031"/>
                    <a:pt x="838" y="1031"/>
                  </a:cubicBezTo>
                  <a:cubicBezTo>
                    <a:pt x="837" y="1031"/>
                    <a:pt x="836" y="1029"/>
                    <a:pt x="835" y="1029"/>
                  </a:cubicBezTo>
                  <a:cubicBezTo>
                    <a:pt x="835" y="1027"/>
                    <a:pt x="835" y="1026"/>
                    <a:pt x="836" y="1025"/>
                  </a:cubicBezTo>
                  <a:cubicBezTo>
                    <a:pt x="800" y="1066"/>
                    <a:pt x="801" y="1065"/>
                    <a:pt x="803" y="1064"/>
                  </a:cubicBezTo>
                  <a:cubicBezTo>
                    <a:pt x="803" y="1064"/>
                    <a:pt x="803" y="1064"/>
                    <a:pt x="803" y="1063"/>
                  </a:cubicBezTo>
                  <a:cubicBezTo>
                    <a:pt x="800" y="1063"/>
                    <a:pt x="797" y="1063"/>
                    <a:pt x="793" y="1063"/>
                  </a:cubicBezTo>
                  <a:cubicBezTo>
                    <a:pt x="793" y="1065"/>
                    <a:pt x="793" y="1066"/>
                    <a:pt x="792" y="1067"/>
                  </a:cubicBezTo>
                  <a:cubicBezTo>
                    <a:pt x="793" y="1067"/>
                    <a:pt x="794" y="1067"/>
                    <a:pt x="795" y="1067"/>
                  </a:cubicBezTo>
                  <a:cubicBezTo>
                    <a:pt x="795" y="1067"/>
                    <a:pt x="796" y="1067"/>
                    <a:pt x="796" y="1067"/>
                  </a:cubicBezTo>
                  <a:cubicBezTo>
                    <a:pt x="797" y="1067"/>
                    <a:pt x="798" y="1068"/>
                    <a:pt x="799" y="1069"/>
                  </a:cubicBezTo>
                  <a:cubicBezTo>
                    <a:pt x="758" y="1058"/>
                    <a:pt x="758" y="1058"/>
                    <a:pt x="758" y="1058"/>
                  </a:cubicBezTo>
                  <a:cubicBezTo>
                    <a:pt x="759" y="1058"/>
                    <a:pt x="761" y="1059"/>
                    <a:pt x="763" y="1060"/>
                  </a:cubicBezTo>
                  <a:cubicBezTo>
                    <a:pt x="763" y="1060"/>
                    <a:pt x="763" y="1059"/>
                    <a:pt x="762" y="1058"/>
                  </a:cubicBezTo>
                  <a:cubicBezTo>
                    <a:pt x="761" y="1058"/>
                    <a:pt x="759" y="1058"/>
                    <a:pt x="758" y="1057"/>
                  </a:cubicBezTo>
                  <a:cubicBezTo>
                    <a:pt x="758" y="1063"/>
                    <a:pt x="757" y="1063"/>
                    <a:pt x="756" y="1064"/>
                  </a:cubicBezTo>
                  <a:cubicBezTo>
                    <a:pt x="757" y="1064"/>
                    <a:pt x="758" y="1064"/>
                    <a:pt x="758" y="1064"/>
                  </a:cubicBezTo>
                  <a:cubicBezTo>
                    <a:pt x="758" y="1064"/>
                    <a:pt x="758" y="1063"/>
                    <a:pt x="758" y="1063"/>
                  </a:cubicBezTo>
                  <a:cubicBezTo>
                    <a:pt x="543" y="734"/>
                    <a:pt x="549" y="727"/>
                    <a:pt x="555" y="721"/>
                  </a:cubicBezTo>
                  <a:cubicBezTo>
                    <a:pt x="550" y="721"/>
                    <a:pt x="550" y="721"/>
                    <a:pt x="550" y="721"/>
                  </a:cubicBezTo>
                  <a:cubicBezTo>
                    <a:pt x="549" y="720"/>
                    <a:pt x="548" y="720"/>
                    <a:pt x="548" y="719"/>
                  </a:cubicBezTo>
                  <a:cubicBezTo>
                    <a:pt x="548" y="719"/>
                    <a:pt x="548" y="719"/>
                    <a:pt x="548" y="719"/>
                  </a:cubicBezTo>
                  <a:cubicBezTo>
                    <a:pt x="540" y="727"/>
                    <a:pt x="534" y="736"/>
                    <a:pt x="530" y="746"/>
                  </a:cubicBezTo>
                  <a:cubicBezTo>
                    <a:pt x="530" y="748"/>
                    <a:pt x="529" y="750"/>
                    <a:pt x="527" y="752"/>
                  </a:cubicBezTo>
                  <a:cubicBezTo>
                    <a:pt x="526" y="755"/>
                    <a:pt x="524" y="758"/>
                    <a:pt x="523" y="761"/>
                  </a:cubicBezTo>
                  <a:cubicBezTo>
                    <a:pt x="522" y="759"/>
                    <a:pt x="518" y="760"/>
                    <a:pt x="518" y="763"/>
                  </a:cubicBezTo>
                  <a:cubicBezTo>
                    <a:pt x="517" y="766"/>
                    <a:pt x="516" y="770"/>
                    <a:pt x="515" y="774"/>
                  </a:cubicBezTo>
                  <a:cubicBezTo>
                    <a:pt x="517" y="774"/>
                    <a:pt x="517" y="774"/>
                    <a:pt x="517" y="774"/>
                  </a:cubicBezTo>
                  <a:cubicBezTo>
                    <a:pt x="519" y="778"/>
                    <a:pt x="526" y="782"/>
                    <a:pt x="520" y="786"/>
                  </a:cubicBezTo>
                  <a:cubicBezTo>
                    <a:pt x="519" y="784"/>
                    <a:pt x="516" y="783"/>
                    <a:pt x="513" y="783"/>
                  </a:cubicBezTo>
                  <a:cubicBezTo>
                    <a:pt x="513" y="784"/>
                    <a:pt x="513" y="784"/>
                    <a:pt x="513" y="784"/>
                  </a:cubicBezTo>
                  <a:cubicBezTo>
                    <a:pt x="513" y="785"/>
                    <a:pt x="513" y="786"/>
                    <a:pt x="513" y="787"/>
                  </a:cubicBezTo>
                  <a:cubicBezTo>
                    <a:pt x="511" y="796"/>
                    <a:pt x="510" y="805"/>
                    <a:pt x="510" y="815"/>
                  </a:cubicBezTo>
                  <a:cubicBezTo>
                    <a:pt x="512" y="816"/>
                    <a:pt x="513" y="817"/>
                    <a:pt x="512" y="819"/>
                  </a:cubicBezTo>
                  <a:cubicBezTo>
                    <a:pt x="513" y="819"/>
                    <a:pt x="513" y="819"/>
                    <a:pt x="513" y="820"/>
                  </a:cubicBezTo>
                  <a:cubicBezTo>
                    <a:pt x="513" y="821"/>
                    <a:pt x="511" y="821"/>
                    <a:pt x="510" y="822"/>
                  </a:cubicBezTo>
                  <a:cubicBezTo>
                    <a:pt x="510" y="823"/>
                    <a:pt x="510" y="824"/>
                    <a:pt x="510" y="825"/>
                  </a:cubicBezTo>
                  <a:cubicBezTo>
                    <a:pt x="511" y="825"/>
                    <a:pt x="512" y="825"/>
                    <a:pt x="513" y="825"/>
                  </a:cubicBezTo>
                  <a:cubicBezTo>
                    <a:pt x="514" y="826"/>
                    <a:pt x="514" y="827"/>
                    <a:pt x="514" y="828"/>
                  </a:cubicBezTo>
                  <a:cubicBezTo>
                    <a:pt x="510" y="828"/>
                    <a:pt x="510" y="828"/>
                    <a:pt x="510" y="828"/>
                  </a:cubicBezTo>
                  <a:cubicBezTo>
                    <a:pt x="510" y="834"/>
                    <a:pt x="510" y="840"/>
                    <a:pt x="511" y="845"/>
                  </a:cubicBezTo>
                  <a:cubicBezTo>
                    <a:pt x="518" y="845"/>
                    <a:pt x="518" y="845"/>
                    <a:pt x="518" y="845"/>
                  </a:cubicBezTo>
                  <a:cubicBezTo>
                    <a:pt x="516" y="832"/>
                    <a:pt x="517" y="818"/>
                    <a:pt x="518" y="804"/>
                  </a:cubicBezTo>
                  <a:cubicBezTo>
                    <a:pt x="518" y="807"/>
                    <a:pt x="518" y="810"/>
                    <a:pt x="519" y="813"/>
                  </a:cubicBezTo>
                  <a:cubicBezTo>
                    <a:pt x="519" y="814"/>
                    <a:pt x="519" y="816"/>
                    <a:pt x="519" y="817"/>
                  </a:cubicBezTo>
                  <a:cubicBezTo>
                    <a:pt x="520" y="816"/>
                    <a:pt x="521" y="817"/>
                    <a:pt x="522" y="817"/>
                  </a:cubicBezTo>
                  <a:cubicBezTo>
                    <a:pt x="522" y="822"/>
                    <a:pt x="526" y="824"/>
                    <a:pt x="528" y="827"/>
                  </a:cubicBezTo>
                  <a:cubicBezTo>
                    <a:pt x="525" y="815"/>
                    <a:pt x="524" y="804"/>
                    <a:pt x="524" y="792"/>
                  </a:cubicBezTo>
                  <a:cubicBezTo>
                    <a:pt x="524" y="792"/>
                    <a:pt x="524" y="792"/>
                    <a:pt x="524" y="792"/>
                  </a:cubicBezTo>
                  <a:cubicBezTo>
                    <a:pt x="524" y="792"/>
                    <a:pt x="524" y="792"/>
                    <a:pt x="524" y="792"/>
                  </a:cubicBezTo>
                  <a:cubicBezTo>
                    <a:pt x="524" y="790"/>
                    <a:pt x="524" y="787"/>
                    <a:pt x="525" y="785"/>
                  </a:cubicBezTo>
                  <a:cubicBezTo>
                    <a:pt x="523" y="784"/>
                    <a:pt x="523" y="782"/>
                    <a:pt x="523" y="780"/>
                  </a:cubicBezTo>
                  <a:cubicBezTo>
                    <a:pt x="524" y="780"/>
                    <a:pt x="524" y="780"/>
                    <a:pt x="525" y="780"/>
                  </a:cubicBezTo>
                  <a:cubicBezTo>
                    <a:pt x="526" y="774"/>
                    <a:pt x="527" y="768"/>
                    <a:pt x="529" y="763"/>
                  </a:cubicBezTo>
                  <a:cubicBezTo>
                    <a:pt x="531" y="756"/>
                    <a:pt x="534" y="750"/>
                    <a:pt x="537" y="744"/>
                  </a:cubicBezTo>
                  <a:cubicBezTo>
                    <a:pt x="536" y="744"/>
                    <a:pt x="536" y="744"/>
                    <a:pt x="535" y="743"/>
                  </a:cubicBezTo>
                  <a:cubicBezTo>
                    <a:pt x="534" y="741"/>
                    <a:pt x="537" y="740"/>
                    <a:pt x="539" y="741"/>
                  </a:cubicBezTo>
                  <a:cubicBezTo>
                    <a:pt x="518" y="792"/>
                    <a:pt x="518" y="792"/>
                    <a:pt x="518" y="792"/>
                  </a:cubicBezTo>
                  <a:cubicBezTo>
                    <a:pt x="518" y="791"/>
                    <a:pt x="518" y="789"/>
                    <a:pt x="518" y="787"/>
                  </a:cubicBezTo>
                  <a:cubicBezTo>
                    <a:pt x="523" y="786"/>
                    <a:pt x="524" y="789"/>
                    <a:pt x="523" y="792"/>
                  </a:cubicBezTo>
                  <a:cubicBezTo>
                    <a:pt x="456" y="720"/>
                    <a:pt x="457" y="720"/>
                    <a:pt x="457" y="720"/>
                  </a:cubicBezTo>
                  <a:cubicBezTo>
                    <a:pt x="458" y="718"/>
                    <a:pt x="458" y="717"/>
                    <a:pt x="457" y="716"/>
                  </a:cubicBezTo>
                  <a:cubicBezTo>
                    <a:pt x="457" y="717"/>
                    <a:pt x="456" y="718"/>
                    <a:pt x="455" y="720"/>
                  </a:cubicBezTo>
                  <a:cubicBezTo>
                    <a:pt x="253" y="571"/>
                    <a:pt x="252" y="568"/>
                    <a:pt x="254" y="569"/>
                  </a:cubicBezTo>
                  <a:cubicBezTo>
                    <a:pt x="254" y="570"/>
                    <a:pt x="254" y="571"/>
                    <a:pt x="254" y="572"/>
                  </a:cubicBezTo>
                  <a:cubicBezTo>
                    <a:pt x="255" y="571"/>
                    <a:pt x="257" y="569"/>
                    <a:pt x="258" y="568"/>
                  </a:cubicBezTo>
                  <a:cubicBezTo>
                    <a:pt x="258" y="566"/>
                    <a:pt x="258" y="564"/>
                    <a:pt x="257" y="562"/>
                  </a:cubicBezTo>
                  <a:cubicBezTo>
                    <a:pt x="262" y="562"/>
                    <a:pt x="262" y="562"/>
                    <a:pt x="262" y="562"/>
                  </a:cubicBezTo>
                  <a:cubicBezTo>
                    <a:pt x="268" y="556"/>
                    <a:pt x="273" y="550"/>
                    <a:pt x="279" y="544"/>
                  </a:cubicBezTo>
                  <a:cubicBezTo>
                    <a:pt x="279" y="543"/>
                    <a:pt x="279" y="543"/>
                    <a:pt x="279" y="542"/>
                  </a:cubicBezTo>
                  <a:cubicBezTo>
                    <a:pt x="276" y="543"/>
                    <a:pt x="275" y="542"/>
                    <a:pt x="276" y="539"/>
                  </a:cubicBezTo>
                  <a:cubicBezTo>
                    <a:pt x="273" y="542"/>
                    <a:pt x="274" y="543"/>
                    <a:pt x="275" y="545"/>
                  </a:cubicBezTo>
                  <a:cubicBezTo>
                    <a:pt x="267" y="545"/>
                    <a:pt x="267" y="545"/>
                    <a:pt x="267" y="545"/>
                  </a:cubicBezTo>
                  <a:cubicBezTo>
                    <a:pt x="261" y="552"/>
                    <a:pt x="254" y="559"/>
                    <a:pt x="248" y="567"/>
                  </a:cubicBezTo>
                  <a:cubicBezTo>
                    <a:pt x="249" y="568"/>
                    <a:pt x="250" y="570"/>
                    <a:pt x="251" y="571"/>
                  </a:cubicBezTo>
                  <a:cubicBezTo>
                    <a:pt x="485" y="709"/>
                    <a:pt x="469" y="740"/>
                    <a:pt x="462" y="774"/>
                  </a:cubicBezTo>
                  <a:cubicBezTo>
                    <a:pt x="469" y="774"/>
                    <a:pt x="469" y="774"/>
                    <a:pt x="469" y="774"/>
                  </a:cubicBezTo>
                  <a:cubicBezTo>
                    <a:pt x="469" y="774"/>
                    <a:pt x="469" y="774"/>
                    <a:pt x="469" y="774"/>
                  </a:cubicBezTo>
                  <a:cubicBezTo>
                    <a:pt x="469" y="773"/>
                    <a:pt x="469" y="772"/>
                    <a:pt x="469" y="771"/>
                  </a:cubicBezTo>
                  <a:cubicBezTo>
                    <a:pt x="474" y="752"/>
                    <a:pt x="482" y="734"/>
                    <a:pt x="492" y="719"/>
                  </a:cubicBezTo>
                  <a:cubicBezTo>
                    <a:pt x="489" y="718"/>
                    <a:pt x="486" y="715"/>
                    <a:pt x="490" y="712"/>
                  </a:cubicBezTo>
                  <a:cubicBezTo>
                    <a:pt x="494" y="711"/>
                    <a:pt x="495" y="713"/>
                    <a:pt x="496" y="714"/>
                  </a:cubicBezTo>
                  <a:cubicBezTo>
                    <a:pt x="497" y="712"/>
                    <a:pt x="499" y="711"/>
                    <a:pt x="500" y="709"/>
                  </a:cubicBezTo>
                  <a:cubicBezTo>
                    <a:pt x="500" y="709"/>
                    <a:pt x="499" y="709"/>
                    <a:pt x="499" y="709"/>
                  </a:cubicBezTo>
                  <a:cubicBezTo>
                    <a:pt x="499" y="705"/>
                    <a:pt x="500" y="704"/>
                    <a:pt x="503" y="703"/>
                  </a:cubicBezTo>
                  <a:cubicBezTo>
                    <a:pt x="505" y="703"/>
                    <a:pt x="505" y="703"/>
                    <a:pt x="505" y="703"/>
                  </a:cubicBezTo>
                  <a:cubicBezTo>
                    <a:pt x="504" y="703"/>
                    <a:pt x="504" y="704"/>
                    <a:pt x="504" y="704"/>
                  </a:cubicBezTo>
                  <a:cubicBezTo>
                    <a:pt x="510" y="697"/>
                    <a:pt x="517" y="691"/>
                    <a:pt x="525" y="685"/>
                  </a:cubicBezTo>
                  <a:cubicBezTo>
                    <a:pt x="439" y="468"/>
                    <a:pt x="441" y="470"/>
                    <a:pt x="444" y="471"/>
                  </a:cubicBezTo>
                  <a:cubicBezTo>
                    <a:pt x="447" y="470"/>
                    <a:pt x="449" y="469"/>
                    <a:pt x="452" y="468"/>
                  </a:cubicBezTo>
                  <a:cubicBezTo>
                    <a:pt x="451" y="467"/>
                    <a:pt x="452" y="464"/>
                    <a:pt x="452" y="462"/>
                  </a:cubicBezTo>
                  <a:cubicBezTo>
                    <a:pt x="447" y="464"/>
                    <a:pt x="442" y="465"/>
                    <a:pt x="437" y="467"/>
                  </a:cubicBezTo>
                  <a:cubicBezTo>
                    <a:pt x="848" y="501"/>
                    <a:pt x="848" y="503"/>
                    <a:pt x="848" y="504"/>
                  </a:cubicBezTo>
                  <a:cubicBezTo>
                    <a:pt x="847" y="504"/>
                    <a:pt x="847" y="504"/>
                    <a:pt x="847" y="504"/>
                  </a:cubicBezTo>
                  <a:cubicBezTo>
                    <a:pt x="844" y="504"/>
                    <a:pt x="843" y="504"/>
                    <a:pt x="842" y="504"/>
                  </a:cubicBezTo>
                  <a:cubicBezTo>
                    <a:pt x="840" y="504"/>
                    <a:pt x="840" y="504"/>
                    <a:pt x="840" y="504"/>
                  </a:cubicBezTo>
                  <a:cubicBezTo>
                    <a:pt x="853" y="509"/>
                    <a:pt x="867" y="514"/>
                    <a:pt x="880" y="519"/>
                  </a:cubicBezTo>
                  <a:cubicBezTo>
                    <a:pt x="883" y="520"/>
                    <a:pt x="885" y="520"/>
                    <a:pt x="887" y="521"/>
                  </a:cubicBezTo>
                  <a:cubicBezTo>
                    <a:pt x="896" y="521"/>
                    <a:pt x="896" y="521"/>
                    <a:pt x="896" y="521"/>
                  </a:cubicBezTo>
                  <a:cubicBezTo>
                    <a:pt x="898" y="524"/>
                    <a:pt x="901" y="524"/>
                    <a:pt x="904" y="525"/>
                  </a:cubicBezTo>
                  <a:cubicBezTo>
                    <a:pt x="904" y="525"/>
                    <a:pt x="904" y="525"/>
                    <a:pt x="905" y="525"/>
                  </a:cubicBezTo>
                  <a:cubicBezTo>
                    <a:pt x="905" y="525"/>
                    <a:pt x="905" y="526"/>
                    <a:pt x="905" y="526"/>
                  </a:cubicBezTo>
                  <a:cubicBezTo>
                    <a:pt x="906" y="526"/>
                    <a:pt x="908" y="527"/>
                    <a:pt x="909" y="528"/>
                  </a:cubicBezTo>
                  <a:cubicBezTo>
                    <a:pt x="910" y="529"/>
                    <a:pt x="911" y="529"/>
                    <a:pt x="912" y="530"/>
                  </a:cubicBezTo>
                  <a:cubicBezTo>
                    <a:pt x="914" y="528"/>
                    <a:pt x="915" y="526"/>
                    <a:pt x="916" y="525"/>
                  </a:cubicBezTo>
                  <a:cubicBezTo>
                    <a:pt x="918" y="527"/>
                    <a:pt x="917" y="528"/>
                    <a:pt x="916" y="530"/>
                  </a:cubicBezTo>
                  <a:cubicBezTo>
                    <a:pt x="918" y="530"/>
                    <a:pt x="919" y="530"/>
                    <a:pt x="920" y="530"/>
                  </a:cubicBezTo>
                  <a:cubicBezTo>
                    <a:pt x="920" y="531"/>
                    <a:pt x="920" y="532"/>
                    <a:pt x="920" y="532"/>
                  </a:cubicBezTo>
                  <a:cubicBezTo>
                    <a:pt x="922" y="532"/>
                    <a:pt x="923" y="533"/>
                    <a:pt x="925" y="533"/>
                  </a:cubicBezTo>
                  <a:cubicBezTo>
                    <a:pt x="925" y="533"/>
                    <a:pt x="925" y="532"/>
                    <a:pt x="924" y="531"/>
                  </a:cubicBezTo>
                  <a:cubicBezTo>
                    <a:pt x="924" y="532"/>
                    <a:pt x="924" y="532"/>
                    <a:pt x="923" y="532"/>
                  </a:cubicBezTo>
                  <a:cubicBezTo>
                    <a:pt x="922" y="530"/>
                    <a:pt x="922" y="527"/>
                    <a:pt x="923" y="526"/>
                  </a:cubicBezTo>
                  <a:cubicBezTo>
                    <a:pt x="898" y="518"/>
                    <a:pt x="873" y="509"/>
                    <a:pt x="848" y="500"/>
                  </a:cubicBezTo>
                  <a:cubicBezTo>
                    <a:pt x="462" y="715"/>
                    <a:pt x="464" y="715"/>
                    <a:pt x="467" y="715"/>
                  </a:cubicBezTo>
                  <a:cubicBezTo>
                    <a:pt x="474" y="704"/>
                    <a:pt x="482" y="695"/>
                    <a:pt x="491" y="686"/>
                  </a:cubicBezTo>
                  <a:cubicBezTo>
                    <a:pt x="481" y="686"/>
                    <a:pt x="481" y="686"/>
                    <a:pt x="481" y="686"/>
                  </a:cubicBezTo>
                  <a:cubicBezTo>
                    <a:pt x="474" y="693"/>
                    <a:pt x="468" y="701"/>
                    <a:pt x="462" y="709"/>
                  </a:cubicBezTo>
                  <a:cubicBezTo>
                    <a:pt x="463" y="709"/>
                    <a:pt x="463" y="708"/>
                    <a:pt x="464" y="708"/>
                  </a:cubicBezTo>
                  <a:cubicBezTo>
                    <a:pt x="464" y="711"/>
                    <a:pt x="459" y="710"/>
                    <a:pt x="461" y="714"/>
                  </a:cubicBezTo>
                  <a:cubicBezTo>
                    <a:pt x="561" y="684"/>
                    <a:pt x="561" y="682"/>
                    <a:pt x="561" y="680"/>
                  </a:cubicBezTo>
                  <a:cubicBezTo>
                    <a:pt x="559" y="681"/>
                    <a:pt x="557" y="682"/>
                    <a:pt x="555" y="683"/>
                  </a:cubicBezTo>
                  <a:cubicBezTo>
                    <a:pt x="557" y="683"/>
                    <a:pt x="559" y="683"/>
                    <a:pt x="560" y="685"/>
                  </a:cubicBezTo>
                  <a:cubicBezTo>
                    <a:pt x="551" y="685"/>
                    <a:pt x="551" y="685"/>
                    <a:pt x="551" y="685"/>
                  </a:cubicBezTo>
                  <a:cubicBezTo>
                    <a:pt x="540" y="691"/>
                    <a:pt x="529" y="698"/>
                    <a:pt x="521" y="707"/>
                  </a:cubicBezTo>
                  <a:cubicBezTo>
                    <a:pt x="522" y="707"/>
                    <a:pt x="523" y="708"/>
                    <a:pt x="522" y="709"/>
                  </a:cubicBezTo>
                  <a:cubicBezTo>
                    <a:pt x="522" y="710"/>
                    <a:pt x="522" y="710"/>
                    <a:pt x="521" y="711"/>
                  </a:cubicBezTo>
                  <a:cubicBezTo>
                    <a:pt x="522" y="712"/>
                    <a:pt x="523" y="713"/>
                    <a:pt x="524" y="713"/>
                  </a:cubicBezTo>
                  <a:cubicBezTo>
                    <a:pt x="525" y="712"/>
                    <a:pt x="527" y="710"/>
                    <a:pt x="528" y="709"/>
                  </a:cubicBezTo>
                  <a:cubicBezTo>
                    <a:pt x="539" y="699"/>
                    <a:pt x="551" y="691"/>
                    <a:pt x="565" y="685"/>
                  </a:cubicBezTo>
                  <a:cubicBezTo>
                    <a:pt x="509" y="732"/>
                    <a:pt x="513" y="726"/>
                    <a:pt x="517" y="721"/>
                  </a:cubicBezTo>
                  <a:cubicBezTo>
                    <a:pt x="512" y="721"/>
                    <a:pt x="512" y="721"/>
                    <a:pt x="512" y="721"/>
                  </a:cubicBezTo>
                  <a:cubicBezTo>
                    <a:pt x="512" y="721"/>
                    <a:pt x="512" y="720"/>
                    <a:pt x="513" y="719"/>
                  </a:cubicBezTo>
                  <a:cubicBezTo>
                    <a:pt x="513" y="718"/>
                    <a:pt x="512" y="718"/>
                    <a:pt x="511" y="718"/>
                  </a:cubicBezTo>
                  <a:cubicBezTo>
                    <a:pt x="505" y="725"/>
                    <a:pt x="500" y="734"/>
                    <a:pt x="496" y="742"/>
                  </a:cubicBezTo>
                  <a:cubicBezTo>
                    <a:pt x="496" y="742"/>
                    <a:pt x="496" y="742"/>
                    <a:pt x="497" y="742"/>
                  </a:cubicBezTo>
                  <a:cubicBezTo>
                    <a:pt x="500" y="743"/>
                    <a:pt x="495" y="746"/>
                    <a:pt x="498" y="747"/>
                  </a:cubicBezTo>
                  <a:cubicBezTo>
                    <a:pt x="499" y="747"/>
                    <a:pt x="501" y="747"/>
                    <a:pt x="502" y="747"/>
                  </a:cubicBezTo>
                  <a:cubicBezTo>
                    <a:pt x="502" y="746"/>
                    <a:pt x="503" y="745"/>
                    <a:pt x="503" y="744"/>
                  </a:cubicBezTo>
                  <a:cubicBezTo>
                    <a:pt x="503" y="744"/>
                    <a:pt x="503" y="744"/>
                    <a:pt x="503" y="744"/>
                  </a:cubicBezTo>
                  <a:cubicBezTo>
                    <a:pt x="503" y="740"/>
                    <a:pt x="504" y="740"/>
                    <a:pt x="500" y="739"/>
                  </a:cubicBezTo>
                  <a:cubicBezTo>
                    <a:pt x="500" y="739"/>
                    <a:pt x="500" y="739"/>
                    <a:pt x="500" y="738"/>
                  </a:cubicBezTo>
                  <a:cubicBezTo>
                    <a:pt x="530" y="960"/>
                    <a:pt x="531" y="961"/>
                    <a:pt x="532" y="962"/>
                  </a:cubicBezTo>
                  <a:cubicBezTo>
                    <a:pt x="534" y="962"/>
                    <a:pt x="535" y="961"/>
                    <a:pt x="539" y="961"/>
                  </a:cubicBezTo>
                  <a:cubicBezTo>
                    <a:pt x="539" y="963"/>
                    <a:pt x="540" y="965"/>
                    <a:pt x="539" y="967"/>
                  </a:cubicBezTo>
                  <a:cubicBezTo>
                    <a:pt x="541" y="968"/>
                    <a:pt x="543" y="969"/>
                    <a:pt x="545" y="970"/>
                  </a:cubicBezTo>
                  <a:cubicBezTo>
                    <a:pt x="533" y="954"/>
                    <a:pt x="522" y="938"/>
                    <a:pt x="513" y="920"/>
                  </a:cubicBezTo>
                  <a:cubicBezTo>
                    <a:pt x="513" y="920"/>
                    <a:pt x="513" y="920"/>
                    <a:pt x="513" y="920"/>
                  </a:cubicBezTo>
                  <a:cubicBezTo>
                    <a:pt x="513" y="920"/>
                    <a:pt x="513" y="920"/>
                    <a:pt x="512" y="920"/>
                  </a:cubicBezTo>
                  <a:cubicBezTo>
                    <a:pt x="512" y="920"/>
                    <a:pt x="511" y="921"/>
                    <a:pt x="511" y="921"/>
                  </a:cubicBezTo>
                  <a:cubicBezTo>
                    <a:pt x="510" y="921"/>
                    <a:pt x="510" y="922"/>
                    <a:pt x="510" y="922"/>
                  </a:cubicBezTo>
                  <a:cubicBezTo>
                    <a:pt x="511" y="923"/>
                    <a:pt x="512" y="923"/>
                    <a:pt x="513" y="923"/>
                  </a:cubicBezTo>
                  <a:cubicBezTo>
                    <a:pt x="513" y="926"/>
                    <a:pt x="512" y="927"/>
                    <a:pt x="510" y="928"/>
                  </a:cubicBezTo>
                  <a:cubicBezTo>
                    <a:pt x="514" y="937"/>
                    <a:pt x="520" y="946"/>
                    <a:pt x="525" y="955"/>
                  </a:cubicBezTo>
                  <a:cubicBezTo>
                    <a:pt x="526" y="955"/>
                    <a:pt x="526" y="955"/>
                    <a:pt x="526" y="955"/>
                  </a:cubicBezTo>
                  <a:cubicBezTo>
                    <a:pt x="526" y="955"/>
                    <a:pt x="526" y="955"/>
                    <a:pt x="526" y="955"/>
                  </a:cubicBezTo>
                  <a:cubicBezTo>
                    <a:pt x="527" y="957"/>
                    <a:pt x="528" y="958"/>
                    <a:pt x="529" y="959"/>
                  </a:cubicBezTo>
                  <a:cubicBezTo>
                    <a:pt x="532" y="952"/>
                    <a:pt x="532" y="952"/>
                    <a:pt x="532" y="952"/>
                  </a:cubicBezTo>
                  <a:cubicBezTo>
                    <a:pt x="532" y="953"/>
                    <a:pt x="532" y="953"/>
                    <a:pt x="532" y="954"/>
                  </a:cubicBezTo>
                  <a:cubicBezTo>
                    <a:pt x="529" y="957"/>
                    <a:pt x="525" y="955"/>
                    <a:pt x="525" y="952"/>
                  </a:cubicBezTo>
                  <a:cubicBezTo>
                    <a:pt x="573" y="823"/>
                    <a:pt x="573" y="824"/>
                    <a:pt x="573" y="826"/>
                  </a:cubicBezTo>
                  <a:cubicBezTo>
                    <a:pt x="574" y="825"/>
                    <a:pt x="575" y="825"/>
                    <a:pt x="576" y="825"/>
                  </a:cubicBezTo>
                  <a:cubicBezTo>
                    <a:pt x="576" y="824"/>
                    <a:pt x="576" y="824"/>
                    <a:pt x="576" y="823"/>
                  </a:cubicBezTo>
                  <a:cubicBezTo>
                    <a:pt x="575" y="823"/>
                    <a:pt x="574" y="822"/>
                    <a:pt x="573" y="823"/>
                  </a:cubicBezTo>
                  <a:cubicBezTo>
                    <a:pt x="573" y="822"/>
                    <a:pt x="573" y="821"/>
                    <a:pt x="573" y="820"/>
                  </a:cubicBezTo>
                  <a:cubicBezTo>
                    <a:pt x="573" y="820"/>
                    <a:pt x="572" y="821"/>
                    <a:pt x="572" y="822"/>
                  </a:cubicBezTo>
                  <a:cubicBezTo>
                    <a:pt x="750" y="1023"/>
                    <a:pt x="750" y="1024"/>
                    <a:pt x="749" y="1024"/>
                  </a:cubicBezTo>
                  <a:cubicBezTo>
                    <a:pt x="747" y="1024"/>
                    <a:pt x="745" y="1023"/>
                    <a:pt x="744" y="1022"/>
                  </a:cubicBezTo>
                  <a:cubicBezTo>
                    <a:pt x="730" y="1019"/>
                    <a:pt x="715" y="1015"/>
                    <a:pt x="701" y="1009"/>
                  </a:cubicBezTo>
                  <a:cubicBezTo>
                    <a:pt x="673" y="998"/>
                    <a:pt x="645" y="982"/>
                    <a:pt x="621" y="962"/>
                  </a:cubicBezTo>
                  <a:cubicBezTo>
                    <a:pt x="621" y="963"/>
                    <a:pt x="620" y="963"/>
                    <a:pt x="620" y="964"/>
                  </a:cubicBezTo>
                  <a:cubicBezTo>
                    <a:pt x="621" y="965"/>
                    <a:pt x="621" y="967"/>
                    <a:pt x="621" y="969"/>
                  </a:cubicBezTo>
                  <a:cubicBezTo>
                    <a:pt x="621" y="970"/>
                    <a:pt x="621" y="970"/>
                    <a:pt x="620" y="970"/>
                  </a:cubicBezTo>
                  <a:cubicBezTo>
                    <a:pt x="620" y="970"/>
                    <a:pt x="620" y="970"/>
                    <a:pt x="620" y="970"/>
                  </a:cubicBezTo>
                  <a:cubicBezTo>
                    <a:pt x="631" y="978"/>
                    <a:pt x="642" y="986"/>
                    <a:pt x="654" y="993"/>
                  </a:cubicBezTo>
                  <a:cubicBezTo>
                    <a:pt x="652" y="989"/>
                    <a:pt x="661" y="990"/>
                    <a:pt x="661" y="993"/>
                  </a:cubicBezTo>
                  <a:cubicBezTo>
                    <a:pt x="659" y="994"/>
                    <a:pt x="657" y="993"/>
                    <a:pt x="654" y="993"/>
                  </a:cubicBezTo>
                  <a:cubicBezTo>
                    <a:pt x="674" y="1005"/>
                    <a:pt x="695" y="1015"/>
                    <a:pt x="717" y="1022"/>
                  </a:cubicBezTo>
                  <a:cubicBezTo>
                    <a:pt x="728" y="1022"/>
                    <a:pt x="728" y="1022"/>
                    <a:pt x="728" y="1022"/>
                  </a:cubicBezTo>
                  <a:cubicBezTo>
                    <a:pt x="728" y="1022"/>
                    <a:pt x="728" y="1022"/>
                    <a:pt x="728" y="1022"/>
                  </a:cubicBezTo>
                  <a:cubicBezTo>
                    <a:pt x="728" y="1022"/>
                    <a:pt x="729" y="1022"/>
                    <a:pt x="729" y="1022"/>
                  </a:cubicBezTo>
                  <a:cubicBezTo>
                    <a:pt x="730" y="1022"/>
                    <a:pt x="730" y="1022"/>
                    <a:pt x="730" y="1022"/>
                  </a:cubicBezTo>
                  <a:cubicBezTo>
                    <a:pt x="732" y="1022"/>
                    <a:pt x="734" y="1023"/>
                    <a:pt x="734" y="1025"/>
                  </a:cubicBezTo>
                  <a:cubicBezTo>
                    <a:pt x="733" y="1025"/>
                    <a:pt x="733" y="1026"/>
                    <a:pt x="732" y="1026"/>
                  </a:cubicBezTo>
                  <a:cubicBezTo>
                    <a:pt x="734" y="1027"/>
                    <a:pt x="736" y="1027"/>
                    <a:pt x="738" y="1028"/>
                  </a:cubicBezTo>
                  <a:cubicBezTo>
                    <a:pt x="743" y="1024"/>
                    <a:pt x="749" y="1026"/>
                    <a:pt x="753" y="1030"/>
                  </a:cubicBezTo>
                  <a:cubicBezTo>
                    <a:pt x="757" y="1031"/>
                    <a:pt x="762" y="1032"/>
                    <a:pt x="766" y="1032"/>
                  </a:cubicBezTo>
                  <a:cubicBezTo>
                    <a:pt x="766" y="1032"/>
                    <a:pt x="767" y="1032"/>
                    <a:pt x="767" y="1032"/>
                  </a:cubicBezTo>
                  <a:cubicBezTo>
                    <a:pt x="768" y="1032"/>
                    <a:pt x="768" y="1032"/>
                    <a:pt x="769" y="1032"/>
                  </a:cubicBezTo>
                  <a:cubicBezTo>
                    <a:pt x="769" y="1032"/>
                    <a:pt x="770" y="1033"/>
                    <a:pt x="771" y="1033"/>
                  </a:cubicBezTo>
                  <a:cubicBezTo>
                    <a:pt x="778" y="1034"/>
                    <a:pt x="786" y="1034"/>
                    <a:pt x="793" y="1034"/>
                  </a:cubicBezTo>
                  <a:cubicBezTo>
                    <a:pt x="793" y="1034"/>
                    <a:pt x="794" y="1034"/>
                    <a:pt x="794" y="1034"/>
                  </a:cubicBezTo>
                  <a:cubicBezTo>
                    <a:pt x="792" y="1032"/>
                    <a:pt x="791" y="1029"/>
                    <a:pt x="790" y="1027"/>
                  </a:cubicBezTo>
                  <a:cubicBezTo>
                    <a:pt x="788" y="1027"/>
                    <a:pt x="785" y="1027"/>
                    <a:pt x="783" y="1027"/>
                  </a:cubicBezTo>
                  <a:cubicBezTo>
                    <a:pt x="783" y="1027"/>
                    <a:pt x="782" y="1027"/>
                    <a:pt x="782" y="1027"/>
                  </a:cubicBezTo>
                  <a:cubicBezTo>
                    <a:pt x="782" y="1027"/>
                    <a:pt x="781" y="1028"/>
                    <a:pt x="780" y="1027"/>
                  </a:cubicBezTo>
                  <a:cubicBezTo>
                    <a:pt x="780" y="1027"/>
                    <a:pt x="780" y="1027"/>
                    <a:pt x="780" y="1027"/>
                  </a:cubicBezTo>
                  <a:cubicBezTo>
                    <a:pt x="770" y="1026"/>
                    <a:pt x="760" y="1025"/>
                    <a:pt x="750" y="1023"/>
                  </a:cubicBezTo>
                  <a:cubicBezTo>
                    <a:pt x="569" y="708"/>
                    <a:pt x="569" y="708"/>
                    <a:pt x="569" y="708"/>
                  </a:cubicBezTo>
                  <a:cubicBezTo>
                    <a:pt x="567" y="707"/>
                    <a:pt x="566" y="705"/>
                    <a:pt x="564" y="703"/>
                  </a:cubicBezTo>
                  <a:cubicBezTo>
                    <a:pt x="560" y="706"/>
                    <a:pt x="557" y="709"/>
                    <a:pt x="554" y="713"/>
                  </a:cubicBezTo>
                  <a:cubicBezTo>
                    <a:pt x="556" y="712"/>
                    <a:pt x="559" y="712"/>
                    <a:pt x="561" y="714"/>
                  </a:cubicBezTo>
                  <a:cubicBezTo>
                    <a:pt x="561" y="714"/>
                    <a:pt x="561" y="714"/>
                    <a:pt x="561" y="714"/>
                  </a:cubicBezTo>
                  <a:cubicBezTo>
                    <a:pt x="564" y="712"/>
                    <a:pt x="566" y="710"/>
                    <a:pt x="569" y="708"/>
                  </a:cubicBezTo>
                  <a:cubicBezTo>
                    <a:pt x="437" y="783"/>
                    <a:pt x="437" y="782"/>
                    <a:pt x="437" y="781"/>
                  </a:cubicBezTo>
                  <a:cubicBezTo>
                    <a:pt x="436" y="781"/>
                    <a:pt x="435" y="782"/>
                    <a:pt x="433" y="782"/>
                  </a:cubicBezTo>
                  <a:cubicBezTo>
                    <a:pt x="435" y="783"/>
                    <a:pt x="435" y="784"/>
                    <a:pt x="437" y="784"/>
                  </a:cubicBezTo>
                  <a:cubicBezTo>
                    <a:pt x="808" y="686"/>
                    <a:pt x="802" y="682"/>
                    <a:pt x="795" y="679"/>
                  </a:cubicBezTo>
                  <a:cubicBezTo>
                    <a:pt x="795" y="681"/>
                    <a:pt x="799" y="681"/>
                    <a:pt x="797" y="683"/>
                  </a:cubicBezTo>
                  <a:cubicBezTo>
                    <a:pt x="796" y="683"/>
                    <a:pt x="796" y="683"/>
                    <a:pt x="796" y="683"/>
                  </a:cubicBezTo>
                  <a:cubicBezTo>
                    <a:pt x="794" y="682"/>
                    <a:pt x="791" y="682"/>
                    <a:pt x="787" y="682"/>
                  </a:cubicBezTo>
                  <a:cubicBezTo>
                    <a:pt x="789" y="683"/>
                    <a:pt x="790" y="684"/>
                    <a:pt x="792" y="684"/>
                  </a:cubicBezTo>
                  <a:cubicBezTo>
                    <a:pt x="787" y="683"/>
                    <a:pt x="782" y="682"/>
                    <a:pt x="777" y="681"/>
                  </a:cubicBezTo>
                  <a:cubicBezTo>
                    <a:pt x="776" y="681"/>
                    <a:pt x="776" y="682"/>
                    <a:pt x="775" y="682"/>
                  </a:cubicBezTo>
                  <a:cubicBezTo>
                    <a:pt x="775" y="682"/>
                    <a:pt x="774" y="682"/>
                    <a:pt x="774" y="683"/>
                  </a:cubicBezTo>
                  <a:cubicBezTo>
                    <a:pt x="774" y="683"/>
                    <a:pt x="774" y="683"/>
                    <a:pt x="774" y="683"/>
                  </a:cubicBezTo>
                  <a:cubicBezTo>
                    <a:pt x="774" y="683"/>
                    <a:pt x="774" y="683"/>
                    <a:pt x="775" y="683"/>
                  </a:cubicBezTo>
                  <a:cubicBezTo>
                    <a:pt x="759" y="683"/>
                    <a:pt x="759" y="683"/>
                    <a:pt x="759" y="683"/>
                  </a:cubicBezTo>
                  <a:cubicBezTo>
                    <a:pt x="779" y="688"/>
                    <a:pt x="799" y="693"/>
                    <a:pt x="818" y="699"/>
                  </a:cubicBezTo>
                  <a:cubicBezTo>
                    <a:pt x="820" y="699"/>
                    <a:pt x="821" y="700"/>
                    <a:pt x="823" y="700"/>
                  </a:cubicBezTo>
                  <a:cubicBezTo>
                    <a:pt x="843" y="700"/>
                    <a:pt x="843" y="700"/>
                    <a:pt x="843" y="700"/>
                  </a:cubicBezTo>
                  <a:cubicBezTo>
                    <a:pt x="834" y="697"/>
                    <a:pt x="824" y="694"/>
                    <a:pt x="815" y="691"/>
                  </a:cubicBezTo>
                  <a:cubicBezTo>
                    <a:pt x="815" y="691"/>
                    <a:pt x="814" y="690"/>
                    <a:pt x="814" y="690"/>
                  </a:cubicBezTo>
                  <a:cubicBezTo>
                    <a:pt x="570" y="738"/>
                    <a:pt x="570" y="738"/>
                    <a:pt x="570" y="738"/>
                  </a:cubicBezTo>
                  <a:cubicBezTo>
                    <a:pt x="580" y="726"/>
                    <a:pt x="592" y="717"/>
                    <a:pt x="606" y="710"/>
                  </a:cubicBezTo>
                  <a:cubicBezTo>
                    <a:pt x="606" y="710"/>
                    <a:pt x="606" y="710"/>
                    <a:pt x="606" y="710"/>
                  </a:cubicBezTo>
                  <a:cubicBezTo>
                    <a:pt x="606" y="710"/>
                    <a:pt x="606" y="710"/>
                    <a:pt x="606" y="710"/>
                  </a:cubicBezTo>
                  <a:cubicBezTo>
                    <a:pt x="604" y="711"/>
                    <a:pt x="602" y="712"/>
                    <a:pt x="599" y="710"/>
                  </a:cubicBezTo>
                  <a:cubicBezTo>
                    <a:pt x="600" y="708"/>
                    <a:pt x="600" y="707"/>
                    <a:pt x="601" y="706"/>
                  </a:cubicBezTo>
                  <a:cubicBezTo>
                    <a:pt x="601" y="706"/>
                    <a:pt x="601" y="706"/>
                    <a:pt x="600" y="706"/>
                  </a:cubicBezTo>
                  <a:cubicBezTo>
                    <a:pt x="597" y="708"/>
                    <a:pt x="593" y="710"/>
                    <a:pt x="590" y="712"/>
                  </a:cubicBezTo>
                  <a:cubicBezTo>
                    <a:pt x="591" y="714"/>
                    <a:pt x="592" y="715"/>
                    <a:pt x="595" y="714"/>
                  </a:cubicBezTo>
                  <a:cubicBezTo>
                    <a:pt x="594" y="720"/>
                    <a:pt x="591" y="715"/>
                    <a:pt x="588" y="713"/>
                  </a:cubicBezTo>
                  <a:cubicBezTo>
                    <a:pt x="586" y="715"/>
                    <a:pt x="583" y="716"/>
                    <a:pt x="581" y="718"/>
                  </a:cubicBezTo>
                  <a:cubicBezTo>
                    <a:pt x="581" y="718"/>
                    <a:pt x="581" y="719"/>
                    <a:pt x="580" y="719"/>
                  </a:cubicBezTo>
                  <a:cubicBezTo>
                    <a:pt x="580" y="719"/>
                    <a:pt x="580" y="719"/>
                    <a:pt x="580" y="719"/>
                  </a:cubicBezTo>
                  <a:cubicBezTo>
                    <a:pt x="580" y="719"/>
                    <a:pt x="580" y="719"/>
                    <a:pt x="580" y="719"/>
                  </a:cubicBezTo>
                  <a:cubicBezTo>
                    <a:pt x="572" y="725"/>
                    <a:pt x="565" y="732"/>
                    <a:pt x="560" y="740"/>
                  </a:cubicBezTo>
                  <a:cubicBezTo>
                    <a:pt x="561" y="740"/>
                    <a:pt x="561" y="740"/>
                    <a:pt x="562" y="740"/>
                  </a:cubicBezTo>
                  <a:cubicBezTo>
                    <a:pt x="562" y="741"/>
                    <a:pt x="562" y="741"/>
                    <a:pt x="562" y="742"/>
                  </a:cubicBezTo>
                  <a:cubicBezTo>
                    <a:pt x="563" y="741"/>
                    <a:pt x="564" y="740"/>
                    <a:pt x="565" y="738"/>
                  </a:cubicBezTo>
                  <a:cubicBezTo>
                    <a:pt x="722" y="994"/>
                    <a:pt x="722" y="994"/>
                    <a:pt x="722" y="995"/>
                  </a:cubicBezTo>
                  <a:cubicBezTo>
                    <a:pt x="722" y="995"/>
                    <a:pt x="722" y="996"/>
                    <a:pt x="721" y="996"/>
                  </a:cubicBezTo>
                  <a:cubicBezTo>
                    <a:pt x="721" y="997"/>
                    <a:pt x="721" y="997"/>
                    <a:pt x="721" y="998"/>
                  </a:cubicBezTo>
                  <a:cubicBezTo>
                    <a:pt x="724" y="999"/>
                    <a:pt x="727" y="1000"/>
                    <a:pt x="730" y="1001"/>
                  </a:cubicBezTo>
                  <a:cubicBezTo>
                    <a:pt x="727" y="999"/>
                    <a:pt x="725" y="995"/>
                    <a:pt x="722" y="994"/>
                  </a:cubicBezTo>
                  <a:cubicBezTo>
                    <a:pt x="869" y="534"/>
                    <a:pt x="869" y="534"/>
                    <a:pt x="870" y="535"/>
                  </a:cubicBezTo>
                  <a:cubicBezTo>
                    <a:pt x="870" y="534"/>
                    <a:pt x="870" y="534"/>
                    <a:pt x="870" y="534"/>
                  </a:cubicBezTo>
                  <a:cubicBezTo>
                    <a:pt x="870" y="534"/>
                    <a:pt x="869" y="534"/>
                    <a:pt x="869" y="534"/>
                  </a:cubicBezTo>
                  <a:cubicBezTo>
                    <a:pt x="426" y="843"/>
                    <a:pt x="430" y="867"/>
                    <a:pt x="437" y="890"/>
                  </a:cubicBezTo>
                  <a:cubicBezTo>
                    <a:pt x="438" y="890"/>
                    <a:pt x="438" y="890"/>
                    <a:pt x="439" y="890"/>
                  </a:cubicBezTo>
                  <a:cubicBezTo>
                    <a:pt x="439" y="891"/>
                    <a:pt x="438" y="892"/>
                    <a:pt x="438" y="893"/>
                  </a:cubicBezTo>
                  <a:cubicBezTo>
                    <a:pt x="441" y="902"/>
                    <a:pt x="444" y="911"/>
                    <a:pt x="448" y="920"/>
                  </a:cubicBezTo>
                  <a:cubicBezTo>
                    <a:pt x="448" y="920"/>
                    <a:pt x="448" y="920"/>
                    <a:pt x="448" y="920"/>
                  </a:cubicBezTo>
                  <a:cubicBezTo>
                    <a:pt x="449" y="922"/>
                    <a:pt x="452" y="923"/>
                    <a:pt x="452" y="926"/>
                  </a:cubicBezTo>
                  <a:cubicBezTo>
                    <a:pt x="451" y="926"/>
                    <a:pt x="451" y="926"/>
                    <a:pt x="450" y="926"/>
                  </a:cubicBezTo>
                  <a:cubicBezTo>
                    <a:pt x="451" y="927"/>
                    <a:pt x="451" y="927"/>
                    <a:pt x="451" y="928"/>
                  </a:cubicBezTo>
                  <a:cubicBezTo>
                    <a:pt x="452" y="927"/>
                    <a:pt x="453" y="927"/>
                    <a:pt x="454" y="928"/>
                  </a:cubicBezTo>
                  <a:cubicBezTo>
                    <a:pt x="455" y="929"/>
                    <a:pt x="455" y="932"/>
                    <a:pt x="455" y="934"/>
                  </a:cubicBezTo>
                  <a:cubicBezTo>
                    <a:pt x="455" y="934"/>
                    <a:pt x="454" y="934"/>
                    <a:pt x="454" y="934"/>
                  </a:cubicBezTo>
                  <a:cubicBezTo>
                    <a:pt x="455" y="937"/>
                    <a:pt x="456" y="940"/>
                    <a:pt x="458" y="942"/>
                  </a:cubicBezTo>
                  <a:cubicBezTo>
                    <a:pt x="459" y="946"/>
                    <a:pt x="461" y="949"/>
                    <a:pt x="463" y="953"/>
                  </a:cubicBezTo>
                  <a:cubicBezTo>
                    <a:pt x="465" y="953"/>
                    <a:pt x="465" y="953"/>
                    <a:pt x="465" y="953"/>
                  </a:cubicBezTo>
                  <a:cubicBezTo>
                    <a:pt x="465" y="954"/>
                    <a:pt x="467" y="955"/>
                    <a:pt x="467" y="957"/>
                  </a:cubicBezTo>
                  <a:cubicBezTo>
                    <a:pt x="469" y="957"/>
                    <a:pt x="469" y="958"/>
                    <a:pt x="469" y="959"/>
                  </a:cubicBezTo>
                  <a:cubicBezTo>
                    <a:pt x="469" y="960"/>
                    <a:pt x="469" y="960"/>
                    <a:pt x="469" y="961"/>
                  </a:cubicBezTo>
                  <a:cubicBezTo>
                    <a:pt x="468" y="961"/>
                    <a:pt x="467" y="961"/>
                    <a:pt x="467" y="961"/>
                  </a:cubicBezTo>
                  <a:cubicBezTo>
                    <a:pt x="472" y="970"/>
                    <a:pt x="477" y="979"/>
                    <a:pt x="482" y="988"/>
                  </a:cubicBezTo>
                  <a:cubicBezTo>
                    <a:pt x="491" y="988"/>
                    <a:pt x="491" y="988"/>
                    <a:pt x="491" y="988"/>
                  </a:cubicBezTo>
                  <a:cubicBezTo>
                    <a:pt x="487" y="982"/>
                    <a:pt x="483" y="976"/>
                    <a:pt x="479" y="969"/>
                  </a:cubicBezTo>
                  <a:cubicBezTo>
                    <a:pt x="479" y="970"/>
                    <a:pt x="479" y="970"/>
                    <a:pt x="479" y="971"/>
                  </a:cubicBezTo>
                  <a:cubicBezTo>
                    <a:pt x="474" y="971"/>
                    <a:pt x="474" y="971"/>
                    <a:pt x="474" y="971"/>
                  </a:cubicBezTo>
                  <a:cubicBezTo>
                    <a:pt x="474" y="969"/>
                    <a:pt x="476" y="967"/>
                    <a:pt x="478" y="968"/>
                  </a:cubicBezTo>
                  <a:cubicBezTo>
                    <a:pt x="472" y="955"/>
                    <a:pt x="465" y="943"/>
                    <a:pt x="459" y="930"/>
                  </a:cubicBezTo>
                  <a:cubicBezTo>
                    <a:pt x="443" y="895"/>
                    <a:pt x="433" y="859"/>
                    <a:pt x="433" y="821"/>
                  </a:cubicBezTo>
                  <a:cubicBezTo>
                    <a:pt x="432" y="819"/>
                    <a:pt x="429" y="819"/>
                    <a:pt x="426" y="818"/>
                  </a:cubicBezTo>
                  <a:cubicBezTo>
                    <a:pt x="756" y="679"/>
                    <a:pt x="756" y="679"/>
                    <a:pt x="757" y="680"/>
                  </a:cubicBezTo>
                  <a:cubicBezTo>
                    <a:pt x="757" y="679"/>
                    <a:pt x="758" y="678"/>
                    <a:pt x="759" y="678"/>
                  </a:cubicBezTo>
                  <a:cubicBezTo>
                    <a:pt x="759" y="678"/>
                    <a:pt x="760" y="677"/>
                    <a:pt x="760" y="677"/>
                  </a:cubicBezTo>
                  <a:cubicBezTo>
                    <a:pt x="759" y="677"/>
                    <a:pt x="758" y="677"/>
                    <a:pt x="757" y="676"/>
                  </a:cubicBezTo>
                  <a:cubicBezTo>
                    <a:pt x="757" y="677"/>
                    <a:pt x="756" y="678"/>
                    <a:pt x="755" y="678"/>
                  </a:cubicBezTo>
                  <a:cubicBezTo>
                    <a:pt x="677" y="674"/>
                    <a:pt x="677" y="674"/>
                    <a:pt x="676" y="675"/>
                  </a:cubicBezTo>
                  <a:cubicBezTo>
                    <a:pt x="678" y="675"/>
                    <a:pt x="679" y="674"/>
                    <a:pt x="680" y="674"/>
                  </a:cubicBezTo>
                  <a:cubicBezTo>
                    <a:pt x="680" y="674"/>
                    <a:pt x="680" y="673"/>
                    <a:pt x="680" y="673"/>
                  </a:cubicBezTo>
                  <a:cubicBezTo>
                    <a:pt x="682" y="673"/>
                    <a:pt x="683" y="673"/>
                    <a:pt x="684" y="674"/>
                  </a:cubicBezTo>
                  <a:cubicBezTo>
                    <a:pt x="686" y="674"/>
                    <a:pt x="688" y="674"/>
                    <a:pt x="690" y="675"/>
                  </a:cubicBezTo>
                  <a:cubicBezTo>
                    <a:pt x="691" y="674"/>
                    <a:pt x="691" y="673"/>
                    <a:pt x="691" y="672"/>
                  </a:cubicBezTo>
                  <a:cubicBezTo>
                    <a:pt x="691" y="671"/>
                    <a:pt x="690" y="669"/>
                    <a:pt x="689" y="668"/>
                  </a:cubicBezTo>
                  <a:cubicBezTo>
                    <a:pt x="688" y="668"/>
                    <a:pt x="687" y="668"/>
                    <a:pt x="686" y="668"/>
                  </a:cubicBezTo>
                  <a:cubicBezTo>
                    <a:pt x="687" y="669"/>
                    <a:pt x="686" y="670"/>
                    <a:pt x="685" y="671"/>
                  </a:cubicBezTo>
                  <a:cubicBezTo>
                    <a:pt x="681" y="671"/>
                    <a:pt x="677" y="671"/>
                    <a:pt x="673" y="671"/>
                  </a:cubicBezTo>
                  <a:cubicBezTo>
                    <a:pt x="673" y="669"/>
                    <a:pt x="673" y="668"/>
                    <a:pt x="673" y="666"/>
                  </a:cubicBezTo>
                  <a:cubicBezTo>
                    <a:pt x="672" y="665"/>
                    <a:pt x="672" y="665"/>
                    <a:pt x="671" y="665"/>
                  </a:cubicBezTo>
                  <a:cubicBezTo>
                    <a:pt x="650" y="662"/>
                    <a:pt x="628" y="662"/>
                    <a:pt x="606" y="666"/>
                  </a:cubicBezTo>
                  <a:cubicBezTo>
                    <a:pt x="607" y="666"/>
                    <a:pt x="607" y="666"/>
                    <a:pt x="607" y="666"/>
                  </a:cubicBezTo>
                  <a:cubicBezTo>
                    <a:pt x="607" y="667"/>
                    <a:pt x="607" y="668"/>
                    <a:pt x="607" y="669"/>
                  </a:cubicBezTo>
                  <a:cubicBezTo>
                    <a:pt x="604" y="669"/>
                    <a:pt x="602" y="668"/>
                    <a:pt x="599" y="668"/>
                  </a:cubicBezTo>
                  <a:cubicBezTo>
                    <a:pt x="599" y="668"/>
                    <a:pt x="599" y="668"/>
                    <a:pt x="599" y="667"/>
                  </a:cubicBezTo>
                  <a:cubicBezTo>
                    <a:pt x="589" y="670"/>
                    <a:pt x="580" y="672"/>
                    <a:pt x="570" y="676"/>
                  </a:cubicBezTo>
                  <a:cubicBezTo>
                    <a:pt x="571" y="676"/>
                    <a:pt x="571" y="676"/>
                    <a:pt x="572" y="677"/>
                  </a:cubicBezTo>
                  <a:cubicBezTo>
                    <a:pt x="572" y="678"/>
                    <a:pt x="570" y="681"/>
                    <a:pt x="572" y="681"/>
                  </a:cubicBezTo>
                  <a:cubicBezTo>
                    <a:pt x="572" y="679"/>
                    <a:pt x="573" y="678"/>
                    <a:pt x="574" y="677"/>
                  </a:cubicBezTo>
                  <a:cubicBezTo>
                    <a:pt x="574" y="677"/>
                    <a:pt x="575" y="677"/>
                    <a:pt x="576" y="677"/>
                  </a:cubicBezTo>
                  <a:cubicBezTo>
                    <a:pt x="576" y="676"/>
                    <a:pt x="576" y="676"/>
                    <a:pt x="576" y="676"/>
                  </a:cubicBezTo>
                  <a:cubicBezTo>
                    <a:pt x="579" y="675"/>
                    <a:pt x="580" y="677"/>
                    <a:pt x="581" y="677"/>
                  </a:cubicBezTo>
                  <a:cubicBezTo>
                    <a:pt x="581" y="678"/>
                    <a:pt x="581" y="678"/>
                    <a:pt x="581" y="679"/>
                  </a:cubicBezTo>
                  <a:cubicBezTo>
                    <a:pt x="586" y="678"/>
                    <a:pt x="591" y="676"/>
                    <a:pt x="596" y="675"/>
                  </a:cubicBezTo>
                  <a:cubicBezTo>
                    <a:pt x="595" y="675"/>
                    <a:pt x="595" y="674"/>
                    <a:pt x="595" y="674"/>
                  </a:cubicBezTo>
                  <a:cubicBezTo>
                    <a:pt x="597" y="674"/>
                    <a:pt x="596" y="672"/>
                    <a:pt x="596" y="670"/>
                  </a:cubicBezTo>
                  <a:cubicBezTo>
                    <a:pt x="599" y="670"/>
                    <a:pt x="600" y="669"/>
                    <a:pt x="604" y="669"/>
                  </a:cubicBezTo>
                  <a:cubicBezTo>
                    <a:pt x="603" y="671"/>
                    <a:pt x="604" y="672"/>
                    <a:pt x="604" y="673"/>
                  </a:cubicBezTo>
                  <a:cubicBezTo>
                    <a:pt x="608" y="673"/>
                    <a:pt x="611" y="672"/>
                    <a:pt x="614" y="672"/>
                  </a:cubicBezTo>
                  <a:cubicBezTo>
                    <a:pt x="613" y="672"/>
                    <a:pt x="612" y="672"/>
                    <a:pt x="611" y="671"/>
                  </a:cubicBezTo>
                  <a:cubicBezTo>
                    <a:pt x="612" y="669"/>
                    <a:pt x="612" y="668"/>
                    <a:pt x="611" y="666"/>
                  </a:cubicBezTo>
                  <a:cubicBezTo>
                    <a:pt x="617" y="666"/>
                    <a:pt x="617" y="666"/>
                    <a:pt x="617" y="666"/>
                  </a:cubicBezTo>
                  <a:cubicBezTo>
                    <a:pt x="616" y="667"/>
                    <a:pt x="614" y="668"/>
                    <a:pt x="615" y="672"/>
                  </a:cubicBezTo>
                  <a:cubicBezTo>
                    <a:pt x="617" y="671"/>
                    <a:pt x="618" y="671"/>
                    <a:pt x="620" y="671"/>
                  </a:cubicBezTo>
                  <a:cubicBezTo>
                    <a:pt x="620" y="670"/>
                    <a:pt x="619" y="670"/>
                    <a:pt x="620" y="668"/>
                  </a:cubicBezTo>
                  <a:cubicBezTo>
                    <a:pt x="622" y="668"/>
                    <a:pt x="624" y="668"/>
                    <a:pt x="625" y="669"/>
                  </a:cubicBezTo>
                  <a:cubicBezTo>
                    <a:pt x="625" y="670"/>
                    <a:pt x="625" y="670"/>
                    <a:pt x="625" y="670"/>
                  </a:cubicBezTo>
                  <a:cubicBezTo>
                    <a:pt x="626" y="670"/>
                    <a:pt x="627" y="670"/>
                    <a:pt x="629" y="670"/>
                  </a:cubicBezTo>
                  <a:cubicBezTo>
                    <a:pt x="629" y="670"/>
                    <a:pt x="630" y="670"/>
                    <a:pt x="630" y="670"/>
                  </a:cubicBezTo>
                  <a:cubicBezTo>
                    <a:pt x="630" y="670"/>
                    <a:pt x="630" y="670"/>
                    <a:pt x="630" y="669"/>
                  </a:cubicBezTo>
                  <a:cubicBezTo>
                    <a:pt x="628" y="669"/>
                    <a:pt x="627" y="668"/>
                    <a:pt x="625" y="666"/>
                  </a:cubicBezTo>
                  <a:cubicBezTo>
                    <a:pt x="634" y="666"/>
                    <a:pt x="634" y="666"/>
                    <a:pt x="634" y="666"/>
                  </a:cubicBezTo>
                  <a:cubicBezTo>
                    <a:pt x="633" y="667"/>
                    <a:pt x="633" y="669"/>
                    <a:pt x="632" y="670"/>
                  </a:cubicBezTo>
                  <a:cubicBezTo>
                    <a:pt x="635" y="670"/>
                    <a:pt x="638" y="670"/>
                    <a:pt x="641" y="670"/>
                  </a:cubicBezTo>
                  <a:cubicBezTo>
                    <a:pt x="639" y="668"/>
                    <a:pt x="639" y="670"/>
                    <a:pt x="635" y="670"/>
                  </a:cubicBezTo>
                  <a:cubicBezTo>
                    <a:pt x="635" y="668"/>
                    <a:pt x="637" y="667"/>
                    <a:pt x="637" y="666"/>
                  </a:cubicBezTo>
                  <a:cubicBezTo>
                    <a:pt x="648" y="666"/>
                    <a:pt x="648" y="666"/>
                    <a:pt x="648" y="666"/>
                  </a:cubicBezTo>
                  <a:cubicBezTo>
                    <a:pt x="648" y="667"/>
                    <a:pt x="648" y="669"/>
                    <a:pt x="648" y="670"/>
                  </a:cubicBezTo>
                  <a:cubicBezTo>
                    <a:pt x="649" y="670"/>
                    <a:pt x="649" y="670"/>
                    <a:pt x="650" y="670"/>
                  </a:cubicBezTo>
                  <a:cubicBezTo>
                    <a:pt x="649" y="670"/>
                    <a:pt x="649" y="670"/>
                    <a:pt x="648" y="670"/>
                  </a:cubicBezTo>
                  <a:cubicBezTo>
                    <a:pt x="648" y="670"/>
                    <a:pt x="648" y="671"/>
                    <a:pt x="648" y="671"/>
                  </a:cubicBezTo>
                  <a:cubicBezTo>
                    <a:pt x="646" y="672"/>
                    <a:pt x="641" y="675"/>
                    <a:pt x="639" y="672"/>
                  </a:cubicBezTo>
                  <a:cubicBezTo>
                    <a:pt x="640" y="673"/>
                    <a:pt x="641" y="672"/>
                    <a:pt x="641" y="671"/>
                  </a:cubicBezTo>
                  <a:cubicBezTo>
                    <a:pt x="638" y="672"/>
                    <a:pt x="636" y="672"/>
                    <a:pt x="633" y="673"/>
                  </a:cubicBezTo>
                  <a:cubicBezTo>
                    <a:pt x="633" y="673"/>
                    <a:pt x="633" y="674"/>
                    <a:pt x="633" y="674"/>
                  </a:cubicBezTo>
                  <a:cubicBezTo>
                    <a:pt x="633" y="674"/>
                    <a:pt x="633" y="674"/>
                    <a:pt x="633" y="674"/>
                  </a:cubicBezTo>
                  <a:cubicBezTo>
                    <a:pt x="633" y="675"/>
                    <a:pt x="633" y="676"/>
                    <a:pt x="633" y="676"/>
                  </a:cubicBezTo>
                  <a:cubicBezTo>
                    <a:pt x="632" y="676"/>
                    <a:pt x="631" y="676"/>
                    <a:pt x="629" y="676"/>
                  </a:cubicBezTo>
                  <a:cubicBezTo>
                    <a:pt x="630" y="677"/>
                    <a:pt x="630" y="679"/>
                    <a:pt x="630" y="680"/>
                  </a:cubicBezTo>
                  <a:cubicBezTo>
                    <a:pt x="636" y="679"/>
                    <a:pt x="641" y="678"/>
                    <a:pt x="647" y="677"/>
                  </a:cubicBezTo>
                  <a:cubicBezTo>
                    <a:pt x="648" y="677"/>
                    <a:pt x="650" y="677"/>
                    <a:pt x="651" y="676"/>
                  </a:cubicBezTo>
                  <a:cubicBezTo>
                    <a:pt x="651" y="674"/>
                    <a:pt x="654" y="673"/>
                    <a:pt x="657" y="674"/>
                  </a:cubicBezTo>
                  <a:cubicBezTo>
                    <a:pt x="657" y="673"/>
                    <a:pt x="658" y="673"/>
                    <a:pt x="660" y="672"/>
                  </a:cubicBezTo>
                  <a:cubicBezTo>
                    <a:pt x="660" y="673"/>
                    <a:pt x="660" y="674"/>
                    <a:pt x="660" y="675"/>
                  </a:cubicBezTo>
                  <a:cubicBezTo>
                    <a:pt x="661" y="674"/>
                    <a:pt x="665" y="675"/>
                    <a:pt x="665" y="673"/>
                  </a:cubicBezTo>
                  <a:cubicBezTo>
                    <a:pt x="659" y="673"/>
                    <a:pt x="659" y="668"/>
                    <a:pt x="656" y="666"/>
                  </a:cubicBezTo>
                  <a:cubicBezTo>
                    <a:pt x="661" y="666"/>
                    <a:pt x="661" y="666"/>
                    <a:pt x="661" y="666"/>
                  </a:cubicBezTo>
                  <a:cubicBezTo>
                    <a:pt x="662" y="668"/>
                    <a:pt x="665" y="669"/>
                    <a:pt x="668" y="669"/>
                  </a:cubicBezTo>
                  <a:cubicBezTo>
                    <a:pt x="669" y="672"/>
                    <a:pt x="668" y="673"/>
                    <a:pt x="667" y="675"/>
                  </a:cubicBezTo>
                  <a:cubicBezTo>
                    <a:pt x="668" y="675"/>
                    <a:pt x="670" y="675"/>
                    <a:pt x="671" y="675"/>
                  </a:cubicBezTo>
                  <a:cubicBezTo>
                    <a:pt x="672" y="674"/>
                    <a:pt x="672" y="674"/>
                    <a:pt x="673" y="674"/>
                  </a:cubicBezTo>
                  <a:cubicBezTo>
                    <a:pt x="673" y="673"/>
                    <a:pt x="673" y="672"/>
                    <a:pt x="673" y="671"/>
                  </a:cubicBezTo>
                  <a:cubicBezTo>
                    <a:pt x="674" y="672"/>
                    <a:pt x="676" y="672"/>
                    <a:pt x="677" y="673"/>
                  </a:cubicBezTo>
                  <a:cubicBezTo>
                    <a:pt x="677" y="674"/>
                    <a:pt x="677" y="674"/>
                    <a:pt x="677" y="674"/>
                  </a:cubicBezTo>
                  <a:cubicBezTo>
                    <a:pt x="650" y="672"/>
                    <a:pt x="650" y="669"/>
                    <a:pt x="651" y="668"/>
                  </a:cubicBezTo>
                  <a:cubicBezTo>
                    <a:pt x="654" y="667"/>
                    <a:pt x="654" y="670"/>
                    <a:pt x="656" y="671"/>
                  </a:cubicBezTo>
                  <a:cubicBezTo>
                    <a:pt x="655" y="673"/>
                    <a:pt x="654" y="673"/>
                    <a:pt x="651" y="673"/>
                  </a:cubicBezTo>
                  <a:cubicBezTo>
                    <a:pt x="924" y="636"/>
                    <a:pt x="923" y="636"/>
                    <a:pt x="923" y="635"/>
                  </a:cubicBezTo>
                  <a:cubicBezTo>
                    <a:pt x="905" y="627"/>
                    <a:pt x="887" y="619"/>
                    <a:pt x="870" y="611"/>
                  </a:cubicBezTo>
                  <a:cubicBezTo>
                    <a:pt x="868" y="611"/>
                    <a:pt x="868" y="611"/>
                    <a:pt x="868" y="611"/>
                  </a:cubicBezTo>
                  <a:cubicBezTo>
                    <a:pt x="868" y="611"/>
                    <a:pt x="867" y="610"/>
                    <a:pt x="866" y="610"/>
                  </a:cubicBezTo>
                  <a:cubicBezTo>
                    <a:pt x="866" y="610"/>
                    <a:pt x="866" y="611"/>
                    <a:pt x="866" y="611"/>
                  </a:cubicBezTo>
                  <a:cubicBezTo>
                    <a:pt x="854" y="611"/>
                    <a:pt x="854" y="611"/>
                    <a:pt x="854" y="611"/>
                  </a:cubicBezTo>
                  <a:cubicBezTo>
                    <a:pt x="866" y="617"/>
                    <a:pt x="879" y="623"/>
                    <a:pt x="892" y="629"/>
                  </a:cubicBezTo>
                  <a:cubicBezTo>
                    <a:pt x="892" y="628"/>
                    <a:pt x="892" y="628"/>
                    <a:pt x="892" y="628"/>
                  </a:cubicBezTo>
                  <a:cubicBezTo>
                    <a:pt x="896" y="628"/>
                    <a:pt x="896" y="628"/>
                    <a:pt x="896" y="628"/>
                  </a:cubicBezTo>
                  <a:cubicBezTo>
                    <a:pt x="896" y="629"/>
                    <a:pt x="896" y="629"/>
                    <a:pt x="896" y="630"/>
                  </a:cubicBezTo>
                  <a:cubicBezTo>
                    <a:pt x="896" y="630"/>
                    <a:pt x="896" y="630"/>
                    <a:pt x="896" y="631"/>
                  </a:cubicBezTo>
                  <a:cubicBezTo>
                    <a:pt x="899" y="632"/>
                    <a:pt x="901" y="633"/>
                    <a:pt x="904" y="634"/>
                  </a:cubicBezTo>
                  <a:cubicBezTo>
                    <a:pt x="904" y="634"/>
                    <a:pt x="904" y="634"/>
                    <a:pt x="904" y="633"/>
                  </a:cubicBezTo>
                  <a:cubicBezTo>
                    <a:pt x="903" y="633"/>
                    <a:pt x="902" y="632"/>
                    <a:pt x="903" y="631"/>
                  </a:cubicBezTo>
                  <a:cubicBezTo>
                    <a:pt x="903" y="630"/>
                    <a:pt x="903" y="629"/>
                    <a:pt x="903" y="628"/>
                  </a:cubicBezTo>
                  <a:cubicBezTo>
                    <a:pt x="905" y="628"/>
                    <a:pt x="905" y="628"/>
                    <a:pt x="905" y="628"/>
                  </a:cubicBezTo>
                  <a:cubicBezTo>
                    <a:pt x="905" y="629"/>
                    <a:pt x="905" y="629"/>
                    <a:pt x="906" y="630"/>
                  </a:cubicBezTo>
                  <a:cubicBezTo>
                    <a:pt x="906" y="630"/>
                    <a:pt x="906" y="630"/>
                    <a:pt x="907" y="630"/>
                  </a:cubicBezTo>
                  <a:cubicBezTo>
                    <a:pt x="907" y="630"/>
                    <a:pt x="907" y="631"/>
                    <a:pt x="907" y="631"/>
                  </a:cubicBezTo>
                  <a:cubicBezTo>
                    <a:pt x="908" y="632"/>
                    <a:pt x="911" y="633"/>
                    <a:pt x="911" y="635"/>
                  </a:cubicBezTo>
                  <a:cubicBezTo>
                    <a:pt x="910" y="635"/>
                    <a:pt x="910" y="636"/>
                    <a:pt x="909" y="636"/>
                  </a:cubicBezTo>
                  <a:cubicBezTo>
                    <a:pt x="913" y="639"/>
                    <a:pt x="918" y="641"/>
                    <a:pt x="923" y="643"/>
                  </a:cubicBezTo>
                  <a:cubicBezTo>
                    <a:pt x="924" y="641"/>
                    <a:pt x="925" y="639"/>
                    <a:pt x="924" y="637"/>
                  </a:cubicBezTo>
                  <a:cubicBezTo>
                    <a:pt x="883" y="540"/>
                    <a:pt x="883" y="540"/>
                    <a:pt x="883" y="540"/>
                  </a:cubicBezTo>
                  <a:cubicBezTo>
                    <a:pt x="883" y="539"/>
                    <a:pt x="883" y="538"/>
                    <a:pt x="883" y="537"/>
                  </a:cubicBezTo>
                  <a:cubicBezTo>
                    <a:pt x="882" y="537"/>
                    <a:pt x="882" y="537"/>
                    <a:pt x="882" y="537"/>
                  </a:cubicBezTo>
                  <a:cubicBezTo>
                    <a:pt x="882" y="538"/>
                    <a:pt x="882" y="539"/>
                    <a:pt x="882" y="540"/>
                  </a:cubicBezTo>
                  <a:cubicBezTo>
                    <a:pt x="876" y="540"/>
                    <a:pt x="876" y="540"/>
                    <a:pt x="876" y="540"/>
                  </a:cubicBezTo>
                  <a:cubicBezTo>
                    <a:pt x="874" y="539"/>
                    <a:pt x="874" y="537"/>
                    <a:pt x="874" y="534"/>
                  </a:cubicBezTo>
                  <a:cubicBezTo>
                    <a:pt x="874" y="534"/>
                    <a:pt x="873" y="533"/>
                    <a:pt x="872" y="533"/>
                  </a:cubicBezTo>
                  <a:cubicBezTo>
                    <a:pt x="872" y="534"/>
                    <a:pt x="872" y="536"/>
                    <a:pt x="871" y="536"/>
                  </a:cubicBezTo>
                  <a:cubicBezTo>
                    <a:pt x="871" y="537"/>
                    <a:pt x="872" y="538"/>
                    <a:pt x="873" y="540"/>
                  </a:cubicBezTo>
                  <a:cubicBezTo>
                    <a:pt x="888" y="546"/>
                    <a:pt x="903" y="551"/>
                    <a:pt x="918" y="557"/>
                  </a:cubicBezTo>
                  <a:cubicBezTo>
                    <a:pt x="918" y="557"/>
                    <a:pt x="918" y="557"/>
                    <a:pt x="918" y="557"/>
                  </a:cubicBezTo>
                  <a:cubicBezTo>
                    <a:pt x="938" y="556"/>
                    <a:pt x="938" y="556"/>
                    <a:pt x="938" y="556"/>
                  </a:cubicBezTo>
                  <a:cubicBezTo>
                    <a:pt x="921" y="551"/>
                    <a:pt x="905" y="546"/>
                    <a:pt x="889" y="539"/>
                  </a:cubicBezTo>
                  <a:cubicBezTo>
                    <a:pt x="889" y="539"/>
                    <a:pt x="889" y="539"/>
                    <a:pt x="889" y="539"/>
                  </a:cubicBezTo>
                  <a:cubicBezTo>
                    <a:pt x="875" y="540"/>
                    <a:pt x="875" y="540"/>
                    <a:pt x="875" y="540"/>
                  </a:cubicBezTo>
                  <a:cubicBezTo>
                    <a:pt x="875" y="540"/>
                    <a:pt x="875" y="540"/>
                    <a:pt x="875" y="540"/>
                  </a:cubicBezTo>
                  <a:cubicBezTo>
                    <a:pt x="626" y="675"/>
                    <a:pt x="626" y="675"/>
                    <a:pt x="626" y="675"/>
                  </a:cubicBezTo>
                  <a:cubicBezTo>
                    <a:pt x="626" y="675"/>
                    <a:pt x="626" y="674"/>
                    <a:pt x="626" y="674"/>
                  </a:cubicBezTo>
                  <a:cubicBezTo>
                    <a:pt x="607" y="679"/>
                    <a:pt x="589" y="686"/>
                    <a:pt x="573" y="697"/>
                  </a:cubicBezTo>
                  <a:cubicBezTo>
                    <a:pt x="570" y="699"/>
                    <a:pt x="568" y="700"/>
                    <a:pt x="565" y="702"/>
                  </a:cubicBezTo>
                  <a:cubicBezTo>
                    <a:pt x="567" y="702"/>
                    <a:pt x="567" y="702"/>
                    <a:pt x="567" y="702"/>
                  </a:cubicBezTo>
                  <a:cubicBezTo>
                    <a:pt x="567" y="702"/>
                    <a:pt x="567" y="703"/>
                    <a:pt x="567" y="703"/>
                  </a:cubicBezTo>
                  <a:cubicBezTo>
                    <a:pt x="568" y="703"/>
                    <a:pt x="568" y="703"/>
                    <a:pt x="569" y="703"/>
                  </a:cubicBezTo>
                  <a:cubicBezTo>
                    <a:pt x="568" y="703"/>
                    <a:pt x="568" y="703"/>
                    <a:pt x="568" y="702"/>
                  </a:cubicBezTo>
                  <a:cubicBezTo>
                    <a:pt x="577" y="702"/>
                    <a:pt x="577" y="702"/>
                    <a:pt x="577" y="702"/>
                  </a:cubicBezTo>
                  <a:cubicBezTo>
                    <a:pt x="577" y="702"/>
                    <a:pt x="577" y="702"/>
                    <a:pt x="577" y="703"/>
                  </a:cubicBezTo>
                  <a:cubicBezTo>
                    <a:pt x="589" y="695"/>
                    <a:pt x="602" y="689"/>
                    <a:pt x="615" y="685"/>
                  </a:cubicBezTo>
                  <a:cubicBezTo>
                    <a:pt x="614" y="685"/>
                    <a:pt x="614" y="685"/>
                    <a:pt x="614" y="685"/>
                  </a:cubicBezTo>
                  <a:cubicBezTo>
                    <a:pt x="614" y="684"/>
                    <a:pt x="614" y="684"/>
                    <a:pt x="614" y="684"/>
                  </a:cubicBezTo>
                  <a:cubicBezTo>
                    <a:pt x="614" y="684"/>
                    <a:pt x="613" y="684"/>
                    <a:pt x="612" y="684"/>
                  </a:cubicBezTo>
                  <a:cubicBezTo>
                    <a:pt x="613" y="683"/>
                    <a:pt x="613" y="682"/>
                    <a:pt x="613" y="681"/>
                  </a:cubicBezTo>
                  <a:cubicBezTo>
                    <a:pt x="613" y="681"/>
                    <a:pt x="614" y="681"/>
                    <a:pt x="614" y="681"/>
                  </a:cubicBezTo>
                  <a:cubicBezTo>
                    <a:pt x="614" y="680"/>
                    <a:pt x="614" y="679"/>
                    <a:pt x="614" y="678"/>
                  </a:cubicBezTo>
                  <a:cubicBezTo>
                    <a:pt x="618" y="678"/>
                    <a:pt x="618" y="677"/>
                    <a:pt x="621" y="678"/>
                  </a:cubicBezTo>
                  <a:cubicBezTo>
                    <a:pt x="621" y="680"/>
                    <a:pt x="621" y="681"/>
                    <a:pt x="621" y="683"/>
                  </a:cubicBezTo>
                  <a:cubicBezTo>
                    <a:pt x="622" y="682"/>
                    <a:pt x="623" y="682"/>
                    <a:pt x="623" y="682"/>
                  </a:cubicBezTo>
                  <a:cubicBezTo>
                    <a:pt x="623" y="682"/>
                    <a:pt x="623" y="682"/>
                    <a:pt x="622" y="682"/>
                  </a:cubicBezTo>
                  <a:cubicBezTo>
                    <a:pt x="622" y="680"/>
                    <a:pt x="622" y="678"/>
                    <a:pt x="623" y="676"/>
                  </a:cubicBezTo>
                  <a:cubicBezTo>
                    <a:pt x="624" y="676"/>
                    <a:pt x="625" y="676"/>
                    <a:pt x="626" y="676"/>
                  </a:cubicBezTo>
                  <a:cubicBezTo>
                    <a:pt x="576" y="928"/>
                    <a:pt x="577" y="929"/>
                    <a:pt x="578" y="930"/>
                  </a:cubicBezTo>
                  <a:cubicBezTo>
                    <a:pt x="578" y="930"/>
                    <a:pt x="578" y="930"/>
                    <a:pt x="579" y="931"/>
                  </a:cubicBezTo>
                  <a:cubicBezTo>
                    <a:pt x="579" y="931"/>
                    <a:pt x="579" y="931"/>
                    <a:pt x="579" y="931"/>
                  </a:cubicBezTo>
                  <a:cubicBezTo>
                    <a:pt x="581" y="934"/>
                    <a:pt x="584" y="937"/>
                    <a:pt x="586" y="939"/>
                  </a:cubicBezTo>
                  <a:cubicBezTo>
                    <a:pt x="591" y="944"/>
                    <a:pt x="596" y="949"/>
                    <a:pt x="601" y="953"/>
                  </a:cubicBezTo>
                  <a:cubicBezTo>
                    <a:pt x="601" y="953"/>
                    <a:pt x="601" y="953"/>
                    <a:pt x="601" y="953"/>
                  </a:cubicBezTo>
                  <a:cubicBezTo>
                    <a:pt x="600" y="952"/>
                    <a:pt x="600" y="952"/>
                    <a:pt x="599" y="952"/>
                  </a:cubicBezTo>
                  <a:cubicBezTo>
                    <a:pt x="606" y="951"/>
                    <a:pt x="606" y="951"/>
                    <a:pt x="606" y="951"/>
                  </a:cubicBezTo>
                  <a:cubicBezTo>
                    <a:pt x="606" y="952"/>
                    <a:pt x="606" y="952"/>
                    <a:pt x="606" y="952"/>
                  </a:cubicBezTo>
                  <a:cubicBezTo>
                    <a:pt x="606" y="952"/>
                    <a:pt x="606" y="952"/>
                    <a:pt x="607" y="952"/>
                  </a:cubicBezTo>
                  <a:cubicBezTo>
                    <a:pt x="608" y="952"/>
                    <a:pt x="609" y="952"/>
                    <a:pt x="610" y="952"/>
                  </a:cubicBezTo>
                  <a:cubicBezTo>
                    <a:pt x="599" y="943"/>
                    <a:pt x="588" y="932"/>
                    <a:pt x="579" y="921"/>
                  </a:cubicBezTo>
                  <a:cubicBezTo>
                    <a:pt x="578" y="923"/>
                    <a:pt x="577" y="926"/>
                    <a:pt x="575" y="927"/>
                  </a:cubicBezTo>
                  <a:cubicBezTo>
                    <a:pt x="601" y="991"/>
                    <a:pt x="600" y="992"/>
                    <a:pt x="600" y="994"/>
                  </a:cubicBezTo>
                  <a:cubicBezTo>
                    <a:pt x="601" y="995"/>
                    <a:pt x="603" y="996"/>
                    <a:pt x="605" y="998"/>
                  </a:cubicBezTo>
                  <a:cubicBezTo>
                    <a:pt x="606" y="997"/>
                    <a:pt x="607" y="996"/>
                    <a:pt x="608" y="994"/>
                  </a:cubicBezTo>
                  <a:cubicBezTo>
                    <a:pt x="606" y="994"/>
                    <a:pt x="605" y="993"/>
                    <a:pt x="605" y="993"/>
                  </a:cubicBezTo>
                  <a:cubicBezTo>
                    <a:pt x="604" y="993"/>
                    <a:pt x="603" y="993"/>
                    <a:pt x="602" y="992"/>
                  </a:cubicBezTo>
                  <a:cubicBezTo>
                    <a:pt x="602" y="991"/>
                    <a:pt x="602" y="990"/>
                    <a:pt x="601" y="990"/>
                  </a:cubicBezTo>
                  <a:cubicBezTo>
                    <a:pt x="518" y="994"/>
                    <a:pt x="519" y="992"/>
                    <a:pt x="521" y="991"/>
                  </a:cubicBezTo>
                  <a:cubicBezTo>
                    <a:pt x="516" y="984"/>
                    <a:pt x="512" y="978"/>
                    <a:pt x="508" y="971"/>
                  </a:cubicBezTo>
                  <a:cubicBezTo>
                    <a:pt x="505" y="971"/>
                    <a:pt x="505" y="971"/>
                    <a:pt x="505" y="971"/>
                  </a:cubicBezTo>
                  <a:cubicBezTo>
                    <a:pt x="505" y="970"/>
                    <a:pt x="506" y="969"/>
                    <a:pt x="507" y="969"/>
                  </a:cubicBezTo>
                  <a:cubicBezTo>
                    <a:pt x="505" y="966"/>
                    <a:pt x="504" y="963"/>
                    <a:pt x="502" y="961"/>
                  </a:cubicBezTo>
                  <a:cubicBezTo>
                    <a:pt x="499" y="961"/>
                    <a:pt x="500" y="961"/>
                    <a:pt x="496" y="961"/>
                  </a:cubicBezTo>
                  <a:cubicBezTo>
                    <a:pt x="495" y="959"/>
                    <a:pt x="496" y="958"/>
                    <a:pt x="496" y="958"/>
                  </a:cubicBezTo>
                  <a:cubicBezTo>
                    <a:pt x="496" y="958"/>
                    <a:pt x="496" y="958"/>
                    <a:pt x="496" y="958"/>
                  </a:cubicBezTo>
                  <a:cubicBezTo>
                    <a:pt x="496" y="956"/>
                    <a:pt x="497" y="953"/>
                    <a:pt x="498" y="953"/>
                  </a:cubicBezTo>
                  <a:cubicBezTo>
                    <a:pt x="494" y="944"/>
                    <a:pt x="490" y="935"/>
                    <a:pt x="486" y="926"/>
                  </a:cubicBezTo>
                  <a:cubicBezTo>
                    <a:pt x="486" y="926"/>
                    <a:pt x="486" y="925"/>
                    <a:pt x="486" y="925"/>
                  </a:cubicBezTo>
                  <a:cubicBezTo>
                    <a:pt x="486" y="925"/>
                    <a:pt x="486" y="925"/>
                    <a:pt x="486" y="925"/>
                  </a:cubicBezTo>
                  <a:cubicBezTo>
                    <a:pt x="485" y="924"/>
                    <a:pt x="485" y="924"/>
                    <a:pt x="485" y="923"/>
                  </a:cubicBezTo>
                  <a:cubicBezTo>
                    <a:pt x="482" y="915"/>
                    <a:pt x="480" y="908"/>
                    <a:pt x="477" y="900"/>
                  </a:cubicBezTo>
                  <a:cubicBezTo>
                    <a:pt x="476" y="900"/>
                    <a:pt x="476" y="900"/>
                    <a:pt x="476" y="900"/>
                  </a:cubicBezTo>
                  <a:cubicBezTo>
                    <a:pt x="475" y="899"/>
                    <a:pt x="475" y="898"/>
                    <a:pt x="475" y="898"/>
                  </a:cubicBezTo>
                  <a:cubicBezTo>
                    <a:pt x="475" y="898"/>
                    <a:pt x="476" y="897"/>
                    <a:pt x="476" y="897"/>
                  </a:cubicBezTo>
                  <a:cubicBezTo>
                    <a:pt x="475" y="893"/>
                    <a:pt x="474" y="889"/>
                    <a:pt x="473" y="885"/>
                  </a:cubicBezTo>
                  <a:cubicBezTo>
                    <a:pt x="473" y="885"/>
                    <a:pt x="473" y="885"/>
                    <a:pt x="473" y="885"/>
                  </a:cubicBezTo>
                  <a:cubicBezTo>
                    <a:pt x="473" y="884"/>
                    <a:pt x="473" y="884"/>
                    <a:pt x="473" y="884"/>
                  </a:cubicBezTo>
                  <a:cubicBezTo>
                    <a:pt x="471" y="877"/>
                    <a:pt x="470" y="871"/>
                    <a:pt x="468" y="864"/>
                  </a:cubicBezTo>
                  <a:cubicBezTo>
                    <a:pt x="462" y="864"/>
                    <a:pt x="462" y="864"/>
                    <a:pt x="462" y="864"/>
                  </a:cubicBezTo>
                  <a:cubicBezTo>
                    <a:pt x="462" y="863"/>
                    <a:pt x="463" y="861"/>
                    <a:pt x="463" y="860"/>
                  </a:cubicBezTo>
                  <a:cubicBezTo>
                    <a:pt x="463" y="858"/>
                    <a:pt x="462" y="857"/>
                    <a:pt x="461" y="856"/>
                  </a:cubicBezTo>
                  <a:cubicBezTo>
                    <a:pt x="462" y="870"/>
                    <a:pt x="465" y="883"/>
                    <a:pt x="469" y="897"/>
                  </a:cubicBezTo>
                  <a:cubicBezTo>
                    <a:pt x="470" y="897"/>
                    <a:pt x="471" y="898"/>
                    <a:pt x="470" y="899"/>
                  </a:cubicBezTo>
                  <a:cubicBezTo>
                    <a:pt x="470" y="899"/>
                    <a:pt x="470" y="899"/>
                    <a:pt x="470" y="899"/>
                  </a:cubicBezTo>
                  <a:cubicBezTo>
                    <a:pt x="472" y="907"/>
                    <a:pt x="474" y="914"/>
                    <a:pt x="477" y="921"/>
                  </a:cubicBezTo>
                  <a:cubicBezTo>
                    <a:pt x="477" y="921"/>
                    <a:pt x="477" y="921"/>
                    <a:pt x="477" y="921"/>
                  </a:cubicBezTo>
                  <a:cubicBezTo>
                    <a:pt x="486" y="944"/>
                    <a:pt x="496" y="966"/>
                    <a:pt x="509" y="985"/>
                  </a:cubicBezTo>
                  <a:cubicBezTo>
                    <a:pt x="511" y="989"/>
                    <a:pt x="514" y="992"/>
                    <a:pt x="516" y="996"/>
                  </a:cubicBezTo>
                  <a:cubicBezTo>
                    <a:pt x="466" y="853"/>
                    <a:pt x="465" y="853"/>
                    <a:pt x="465" y="853"/>
                  </a:cubicBezTo>
                  <a:cubicBezTo>
                    <a:pt x="466" y="854"/>
                    <a:pt x="466" y="855"/>
                    <a:pt x="467" y="856"/>
                  </a:cubicBezTo>
                  <a:cubicBezTo>
                    <a:pt x="467" y="855"/>
                    <a:pt x="467" y="854"/>
                    <a:pt x="467" y="853"/>
                  </a:cubicBezTo>
                  <a:cubicBezTo>
                    <a:pt x="467" y="853"/>
                    <a:pt x="467" y="853"/>
                    <a:pt x="466" y="853"/>
                  </a:cubicBezTo>
                  <a:cubicBezTo>
                    <a:pt x="862" y="529"/>
                    <a:pt x="862" y="529"/>
                    <a:pt x="862" y="529"/>
                  </a:cubicBezTo>
                  <a:cubicBezTo>
                    <a:pt x="862" y="529"/>
                    <a:pt x="862" y="529"/>
                    <a:pt x="861" y="529"/>
                  </a:cubicBezTo>
                  <a:cubicBezTo>
                    <a:pt x="861" y="529"/>
                    <a:pt x="861" y="529"/>
                    <a:pt x="861" y="529"/>
                  </a:cubicBezTo>
                  <a:cubicBezTo>
                    <a:pt x="542" y="782"/>
                    <a:pt x="542" y="783"/>
                    <a:pt x="542" y="785"/>
                  </a:cubicBezTo>
                  <a:cubicBezTo>
                    <a:pt x="544" y="785"/>
                    <a:pt x="546" y="785"/>
                    <a:pt x="548" y="787"/>
                  </a:cubicBezTo>
                  <a:cubicBezTo>
                    <a:pt x="548" y="785"/>
                    <a:pt x="548" y="783"/>
                    <a:pt x="549" y="781"/>
                  </a:cubicBezTo>
                  <a:cubicBezTo>
                    <a:pt x="548" y="780"/>
                    <a:pt x="548" y="780"/>
                    <a:pt x="548" y="779"/>
                  </a:cubicBezTo>
                  <a:cubicBezTo>
                    <a:pt x="546" y="780"/>
                    <a:pt x="544" y="780"/>
                    <a:pt x="543" y="780"/>
                  </a:cubicBezTo>
                  <a:cubicBezTo>
                    <a:pt x="433" y="501"/>
                    <a:pt x="436" y="499"/>
                    <a:pt x="440" y="498"/>
                  </a:cubicBezTo>
                  <a:cubicBezTo>
                    <a:pt x="438" y="497"/>
                    <a:pt x="439" y="493"/>
                    <a:pt x="439" y="491"/>
                  </a:cubicBezTo>
                  <a:cubicBezTo>
                    <a:pt x="438" y="491"/>
                    <a:pt x="436" y="492"/>
                    <a:pt x="435" y="492"/>
                  </a:cubicBezTo>
                  <a:cubicBezTo>
                    <a:pt x="435" y="493"/>
                    <a:pt x="436" y="494"/>
                    <a:pt x="436" y="495"/>
                  </a:cubicBezTo>
                  <a:cubicBezTo>
                    <a:pt x="434" y="496"/>
                    <a:pt x="431" y="495"/>
                    <a:pt x="429" y="495"/>
                  </a:cubicBezTo>
                  <a:cubicBezTo>
                    <a:pt x="429" y="495"/>
                    <a:pt x="428" y="495"/>
                    <a:pt x="428" y="495"/>
                  </a:cubicBezTo>
                  <a:cubicBezTo>
                    <a:pt x="428" y="496"/>
                    <a:pt x="429" y="497"/>
                    <a:pt x="429" y="498"/>
                  </a:cubicBezTo>
                  <a:cubicBezTo>
                    <a:pt x="429" y="498"/>
                    <a:pt x="429" y="498"/>
                    <a:pt x="429" y="498"/>
                  </a:cubicBezTo>
                  <a:cubicBezTo>
                    <a:pt x="430" y="499"/>
                    <a:pt x="429" y="500"/>
                    <a:pt x="429" y="501"/>
                  </a:cubicBezTo>
                  <a:cubicBezTo>
                    <a:pt x="429" y="501"/>
                    <a:pt x="429" y="502"/>
                    <a:pt x="429" y="502"/>
                  </a:cubicBezTo>
                  <a:cubicBezTo>
                    <a:pt x="238" y="485"/>
                    <a:pt x="245" y="479"/>
                    <a:pt x="251" y="474"/>
                  </a:cubicBezTo>
                  <a:cubicBezTo>
                    <a:pt x="241" y="474"/>
                    <a:pt x="241" y="474"/>
                    <a:pt x="241" y="474"/>
                  </a:cubicBezTo>
                  <a:cubicBezTo>
                    <a:pt x="234" y="479"/>
                    <a:pt x="228" y="485"/>
                    <a:pt x="222" y="491"/>
                  </a:cubicBezTo>
                  <a:cubicBezTo>
                    <a:pt x="980" y="741"/>
                    <a:pt x="981" y="744"/>
                    <a:pt x="980" y="747"/>
                  </a:cubicBezTo>
                  <a:cubicBezTo>
                    <a:pt x="981" y="747"/>
                    <a:pt x="982" y="747"/>
                    <a:pt x="982" y="747"/>
                  </a:cubicBezTo>
                  <a:cubicBezTo>
                    <a:pt x="983" y="745"/>
                    <a:pt x="985" y="743"/>
                    <a:pt x="984" y="742"/>
                  </a:cubicBezTo>
                  <a:cubicBezTo>
                    <a:pt x="494" y="572"/>
                    <a:pt x="494" y="572"/>
                    <a:pt x="494" y="572"/>
                  </a:cubicBezTo>
                  <a:cubicBezTo>
                    <a:pt x="494" y="572"/>
                    <a:pt x="494" y="572"/>
                    <a:pt x="494" y="572"/>
                  </a:cubicBezTo>
                  <a:cubicBezTo>
                    <a:pt x="494" y="572"/>
                    <a:pt x="494" y="572"/>
                    <a:pt x="494" y="572"/>
                  </a:cubicBezTo>
                  <a:cubicBezTo>
                    <a:pt x="503" y="574"/>
                    <a:pt x="504" y="573"/>
                    <a:pt x="506" y="572"/>
                  </a:cubicBezTo>
                  <a:cubicBezTo>
                    <a:pt x="504" y="572"/>
                    <a:pt x="503" y="571"/>
                    <a:pt x="502" y="570"/>
                  </a:cubicBezTo>
                  <a:cubicBezTo>
                    <a:pt x="501" y="570"/>
                    <a:pt x="500" y="570"/>
                    <a:pt x="499" y="570"/>
                  </a:cubicBezTo>
                  <a:cubicBezTo>
                    <a:pt x="501" y="571"/>
                    <a:pt x="501" y="572"/>
                    <a:pt x="501" y="574"/>
                  </a:cubicBezTo>
                  <a:cubicBezTo>
                    <a:pt x="499" y="575"/>
                    <a:pt x="497" y="575"/>
                    <a:pt x="496" y="574"/>
                  </a:cubicBezTo>
                  <a:cubicBezTo>
                    <a:pt x="496" y="575"/>
                    <a:pt x="497" y="575"/>
                    <a:pt x="497" y="575"/>
                  </a:cubicBezTo>
                  <a:cubicBezTo>
                    <a:pt x="497" y="576"/>
                    <a:pt x="496" y="577"/>
                    <a:pt x="496" y="578"/>
                  </a:cubicBezTo>
                  <a:cubicBezTo>
                    <a:pt x="498" y="578"/>
                    <a:pt x="500" y="577"/>
                    <a:pt x="502" y="576"/>
                  </a:cubicBezTo>
                  <a:cubicBezTo>
                    <a:pt x="515" y="571"/>
                    <a:pt x="515" y="571"/>
                    <a:pt x="514" y="572"/>
                  </a:cubicBezTo>
                  <a:cubicBezTo>
                    <a:pt x="515" y="573"/>
                    <a:pt x="515" y="573"/>
                    <a:pt x="515" y="573"/>
                  </a:cubicBezTo>
                  <a:cubicBezTo>
                    <a:pt x="522" y="572"/>
                    <a:pt x="528" y="570"/>
                    <a:pt x="535" y="570"/>
                  </a:cubicBezTo>
                  <a:cubicBezTo>
                    <a:pt x="535" y="568"/>
                    <a:pt x="535" y="567"/>
                    <a:pt x="536" y="566"/>
                  </a:cubicBezTo>
                  <a:cubicBezTo>
                    <a:pt x="537" y="566"/>
                    <a:pt x="538" y="567"/>
                    <a:pt x="540" y="567"/>
                  </a:cubicBezTo>
                  <a:cubicBezTo>
                    <a:pt x="540" y="567"/>
                    <a:pt x="541" y="568"/>
                    <a:pt x="541" y="569"/>
                  </a:cubicBezTo>
                  <a:cubicBezTo>
                    <a:pt x="546" y="568"/>
                    <a:pt x="551" y="568"/>
                    <a:pt x="556" y="568"/>
                  </a:cubicBezTo>
                  <a:cubicBezTo>
                    <a:pt x="555" y="565"/>
                    <a:pt x="554" y="563"/>
                    <a:pt x="556" y="561"/>
                  </a:cubicBezTo>
                  <a:cubicBezTo>
                    <a:pt x="548" y="561"/>
                    <a:pt x="541" y="562"/>
                    <a:pt x="533" y="563"/>
                  </a:cubicBezTo>
                  <a:cubicBezTo>
                    <a:pt x="533" y="566"/>
                    <a:pt x="530" y="568"/>
                    <a:pt x="524" y="566"/>
                  </a:cubicBezTo>
                  <a:cubicBezTo>
                    <a:pt x="524" y="566"/>
                    <a:pt x="524" y="565"/>
                    <a:pt x="523" y="565"/>
                  </a:cubicBezTo>
                  <a:cubicBezTo>
                    <a:pt x="520" y="565"/>
                    <a:pt x="517" y="566"/>
                    <a:pt x="515" y="566"/>
                  </a:cubicBezTo>
                  <a:cubicBezTo>
                    <a:pt x="516" y="567"/>
                    <a:pt x="517" y="568"/>
                    <a:pt x="519" y="568"/>
                  </a:cubicBezTo>
                  <a:cubicBezTo>
                    <a:pt x="519" y="570"/>
                    <a:pt x="518" y="570"/>
                    <a:pt x="516" y="570"/>
                  </a:cubicBezTo>
                  <a:cubicBezTo>
                    <a:pt x="511" y="572"/>
                    <a:pt x="512" y="570"/>
                    <a:pt x="513" y="569"/>
                  </a:cubicBezTo>
                  <a:cubicBezTo>
                    <a:pt x="513" y="568"/>
                    <a:pt x="513" y="568"/>
                    <a:pt x="513" y="567"/>
                  </a:cubicBezTo>
                  <a:cubicBezTo>
                    <a:pt x="512" y="567"/>
                    <a:pt x="510" y="567"/>
                    <a:pt x="509" y="568"/>
                  </a:cubicBezTo>
                  <a:cubicBezTo>
                    <a:pt x="509" y="569"/>
                    <a:pt x="509" y="570"/>
                    <a:pt x="509" y="571"/>
                  </a:cubicBezTo>
                  <a:cubicBezTo>
                    <a:pt x="652" y="558"/>
                    <a:pt x="647" y="557"/>
                    <a:pt x="641" y="556"/>
                  </a:cubicBezTo>
                  <a:cubicBezTo>
                    <a:pt x="637" y="555"/>
                    <a:pt x="636" y="561"/>
                    <a:pt x="640" y="562"/>
                  </a:cubicBezTo>
                  <a:cubicBezTo>
                    <a:pt x="643" y="563"/>
                    <a:pt x="645" y="564"/>
                    <a:pt x="648" y="565"/>
                  </a:cubicBezTo>
                  <a:cubicBezTo>
                    <a:pt x="648" y="564"/>
                    <a:pt x="648" y="564"/>
                    <a:pt x="648" y="564"/>
                  </a:cubicBezTo>
                  <a:cubicBezTo>
                    <a:pt x="651" y="564"/>
                    <a:pt x="653" y="564"/>
                    <a:pt x="655" y="565"/>
                  </a:cubicBezTo>
                  <a:cubicBezTo>
                    <a:pt x="655" y="566"/>
                    <a:pt x="655" y="566"/>
                    <a:pt x="655" y="566"/>
                  </a:cubicBezTo>
                  <a:cubicBezTo>
                    <a:pt x="656" y="567"/>
                    <a:pt x="658" y="567"/>
                    <a:pt x="660" y="568"/>
                  </a:cubicBezTo>
                  <a:cubicBezTo>
                    <a:pt x="662" y="566"/>
                    <a:pt x="663" y="565"/>
                    <a:pt x="665" y="564"/>
                  </a:cubicBezTo>
                  <a:cubicBezTo>
                    <a:pt x="665" y="564"/>
                    <a:pt x="665" y="563"/>
                    <a:pt x="665" y="562"/>
                  </a:cubicBezTo>
                  <a:cubicBezTo>
                    <a:pt x="664" y="562"/>
                    <a:pt x="664" y="562"/>
                    <a:pt x="663" y="562"/>
                  </a:cubicBezTo>
                  <a:cubicBezTo>
                    <a:pt x="663" y="563"/>
                    <a:pt x="662" y="565"/>
                    <a:pt x="660" y="564"/>
                  </a:cubicBezTo>
                  <a:cubicBezTo>
                    <a:pt x="661" y="562"/>
                    <a:pt x="658" y="561"/>
                    <a:pt x="657" y="560"/>
                  </a:cubicBezTo>
                  <a:cubicBezTo>
                    <a:pt x="648" y="561"/>
                    <a:pt x="646" y="560"/>
                    <a:pt x="642" y="559"/>
                  </a:cubicBezTo>
                  <a:cubicBezTo>
                    <a:pt x="642" y="559"/>
                    <a:pt x="642" y="559"/>
                    <a:pt x="642" y="559"/>
                  </a:cubicBezTo>
                  <a:cubicBezTo>
                    <a:pt x="650" y="559"/>
                    <a:pt x="650" y="559"/>
                    <a:pt x="650" y="559"/>
                  </a:cubicBezTo>
                  <a:cubicBezTo>
                    <a:pt x="650" y="560"/>
                    <a:pt x="651" y="561"/>
                    <a:pt x="652" y="562"/>
                  </a:cubicBezTo>
                  <a:cubicBezTo>
                    <a:pt x="495" y="563"/>
                    <a:pt x="495" y="563"/>
                    <a:pt x="495" y="562"/>
                  </a:cubicBezTo>
                  <a:cubicBezTo>
                    <a:pt x="495" y="562"/>
                    <a:pt x="495" y="562"/>
                    <a:pt x="494" y="562"/>
                  </a:cubicBezTo>
                  <a:cubicBezTo>
                    <a:pt x="494" y="562"/>
                    <a:pt x="494" y="563"/>
                    <a:pt x="495" y="563"/>
                  </a:cubicBezTo>
                  <a:cubicBezTo>
                    <a:pt x="508" y="1061"/>
                    <a:pt x="509" y="1061"/>
                    <a:pt x="510" y="1061"/>
                  </a:cubicBezTo>
                  <a:cubicBezTo>
                    <a:pt x="510" y="1061"/>
                    <a:pt x="510" y="1060"/>
                    <a:pt x="510" y="1060"/>
                  </a:cubicBezTo>
                  <a:cubicBezTo>
                    <a:pt x="511" y="1060"/>
                    <a:pt x="512" y="1060"/>
                    <a:pt x="513" y="1060"/>
                  </a:cubicBezTo>
                  <a:cubicBezTo>
                    <a:pt x="513" y="1060"/>
                    <a:pt x="513" y="1060"/>
                    <a:pt x="513" y="1059"/>
                  </a:cubicBezTo>
                  <a:cubicBezTo>
                    <a:pt x="514" y="1059"/>
                    <a:pt x="514" y="1059"/>
                    <a:pt x="514" y="1059"/>
                  </a:cubicBezTo>
                  <a:cubicBezTo>
                    <a:pt x="505" y="1051"/>
                    <a:pt x="495" y="1042"/>
                    <a:pt x="487" y="1033"/>
                  </a:cubicBezTo>
                  <a:cubicBezTo>
                    <a:pt x="486" y="1033"/>
                    <a:pt x="486" y="1033"/>
                    <a:pt x="486" y="1033"/>
                  </a:cubicBezTo>
                  <a:cubicBezTo>
                    <a:pt x="484" y="1033"/>
                    <a:pt x="483" y="1033"/>
                    <a:pt x="482" y="1032"/>
                  </a:cubicBezTo>
                  <a:cubicBezTo>
                    <a:pt x="482" y="1032"/>
                    <a:pt x="482" y="1032"/>
                    <a:pt x="482" y="1032"/>
                  </a:cubicBezTo>
                  <a:cubicBezTo>
                    <a:pt x="482" y="1032"/>
                    <a:pt x="482" y="1033"/>
                    <a:pt x="482" y="1034"/>
                  </a:cubicBezTo>
                  <a:cubicBezTo>
                    <a:pt x="481" y="1034"/>
                    <a:pt x="480" y="1034"/>
                    <a:pt x="479" y="1035"/>
                  </a:cubicBezTo>
                  <a:cubicBezTo>
                    <a:pt x="487" y="1044"/>
                    <a:pt x="496" y="1053"/>
                    <a:pt x="506" y="1061"/>
                  </a:cubicBezTo>
                  <a:cubicBezTo>
                    <a:pt x="506" y="1061"/>
                    <a:pt x="506" y="1061"/>
                    <a:pt x="506" y="1061"/>
                  </a:cubicBezTo>
                  <a:cubicBezTo>
                    <a:pt x="234" y="395"/>
                    <a:pt x="235" y="395"/>
                    <a:pt x="236" y="394"/>
                  </a:cubicBezTo>
                  <a:cubicBezTo>
                    <a:pt x="234" y="393"/>
                    <a:pt x="233" y="391"/>
                    <a:pt x="231" y="392"/>
                  </a:cubicBezTo>
                  <a:cubicBezTo>
                    <a:pt x="229" y="395"/>
                    <a:pt x="233" y="394"/>
                    <a:pt x="233" y="396"/>
                  </a:cubicBezTo>
                  <a:cubicBezTo>
                    <a:pt x="233" y="396"/>
                    <a:pt x="233" y="396"/>
                    <a:pt x="233" y="396"/>
                  </a:cubicBezTo>
                  <a:cubicBezTo>
                    <a:pt x="253" y="466"/>
                    <a:pt x="254" y="468"/>
                    <a:pt x="257" y="467"/>
                  </a:cubicBezTo>
                  <a:cubicBezTo>
                    <a:pt x="259" y="464"/>
                    <a:pt x="254" y="463"/>
                    <a:pt x="252" y="464"/>
                  </a:cubicBezTo>
                  <a:cubicBezTo>
                    <a:pt x="523" y="1070"/>
                    <a:pt x="523" y="1070"/>
                    <a:pt x="523" y="1070"/>
                  </a:cubicBezTo>
                  <a:cubicBezTo>
                    <a:pt x="524" y="1070"/>
                    <a:pt x="525" y="1069"/>
                    <a:pt x="526" y="1068"/>
                  </a:cubicBezTo>
                  <a:cubicBezTo>
                    <a:pt x="525" y="1067"/>
                    <a:pt x="523" y="1066"/>
                    <a:pt x="521" y="1064"/>
                  </a:cubicBezTo>
                  <a:cubicBezTo>
                    <a:pt x="521" y="1066"/>
                    <a:pt x="522" y="1068"/>
                    <a:pt x="523" y="1070"/>
                  </a:cubicBezTo>
                  <a:cubicBezTo>
                    <a:pt x="271" y="507"/>
                    <a:pt x="272" y="507"/>
                    <a:pt x="273" y="508"/>
                  </a:cubicBezTo>
                  <a:cubicBezTo>
                    <a:pt x="274" y="507"/>
                    <a:pt x="275" y="506"/>
                    <a:pt x="276" y="505"/>
                  </a:cubicBezTo>
                  <a:cubicBezTo>
                    <a:pt x="274" y="505"/>
                    <a:pt x="272" y="506"/>
                    <a:pt x="270" y="508"/>
                  </a:cubicBezTo>
                  <a:cubicBezTo>
                    <a:pt x="391" y="739"/>
                    <a:pt x="391" y="739"/>
                    <a:pt x="391" y="739"/>
                  </a:cubicBezTo>
                  <a:cubicBezTo>
                    <a:pt x="393" y="734"/>
                    <a:pt x="396" y="728"/>
                    <a:pt x="398" y="722"/>
                  </a:cubicBezTo>
                  <a:cubicBezTo>
                    <a:pt x="391" y="722"/>
                    <a:pt x="391" y="722"/>
                    <a:pt x="391" y="722"/>
                  </a:cubicBezTo>
                  <a:cubicBezTo>
                    <a:pt x="388" y="729"/>
                    <a:pt x="385" y="735"/>
                    <a:pt x="383" y="742"/>
                  </a:cubicBezTo>
                  <a:cubicBezTo>
                    <a:pt x="384" y="742"/>
                    <a:pt x="384" y="742"/>
                    <a:pt x="385" y="742"/>
                  </a:cubicBezTo>
                  <a:cubicBezTo>
                    <a:pt x="385" y="740"/>
                    <a:pt x="386" y="740"/>
                    <a:pt x="387" y="739"/>
                  </a:cubicBezTo>
                  <a:cubicBezTo>
                    <a:pt x="485" y="596"/>
                    <a:pt x="485" y="596"/>
                    <a:pt x="485" y="596"/>
                  </a:cubicBezTo>
                  <a:cubicBezTo>
                    <a:pt x="485" y="596"/>
                    <a:pt x="485" y="596"/>
                    <a:pt x="484" y="597"/>
                  </a:cubicBezTo>
                  <a:cubicBezTo>
                    <a:pt x="484" y="597"/>
                    <a:pt x="483" y="597"/>
                    <a:pt x="483" y="597"/>
                  </a:cubicBezTo>
                  <a:cubicBezTo>
                    <a:pt x="482" y="598"/>
                    <a:pt x="481" y="599"/>
                    <a:pt x="481" y="600"/>
                  </a:cubicBezTo>
                  <a:cubicBezTo>
                    <a:pt x="481" y="599"/>
                    <a:pt x="482" y="599"/>
                    <a:pt x="483" y="600"/>
                  </a:cubicBezTo>
                  <a:cubicBezTo>
                    <a:pt x="499" y="591"/>
                    <a:pt x="516" y="584"/>
                    <a:pt x="534" y="579"/>
                  </a:cubicBezTo>
                  <a:cubicBezTo>
                    <a:pt x="536" y="579"/>
                    <a:pt x="538" y="579"/>
                    <a:pt x="539" y="578"/>
                  </a:cubicBezTo>
                  <a:cubicBezTo>
                    <a:pt x="538" y="578"/>
                    <a:pt x="538" y="578"/>
                    <a:pt x="538" y="578"/>
                  </a:cubicBezTo>
                  <a:cubicBezTo>
                    <a:pt x="538" y="578"/>
                    <a:pt x="537" y="578"/>
                    <a:pt x="537" y="578"/>
                  </a:cubicBezTo>
                  <a:cubicBezTo>
                    <a:pt x="538" y="575"/>
                    <a:pt x="542" y="574"/>
                    <a:pt x="543" y="577"/>
                  </a:cubicBezTo>
                  <a:cubicBezTo>
                    <a:pt x="543" y="577"/>
                    <a:pt x="543" y="577"/>
                    <a:pt x="543" y="577"/>
                  </a:cubicBezTo>
                  <a:cubicBezTo>
                    <a:pt x="548" y="576"/>
                    <a:pt x="553" y="575"/>
                    <a:pt x="558" y="575"/>
                  </a:cubicBezTo>
                  <a:cubicBezTo>
                    <a:pt x="557" y="574"/>
                    <a:pt x="558" y="572"/>
                    <a:pt x="558" y="571"/>
                  </a:cubicBezTo>
                  <a:cubicBezTo>
                    <a:pt x="557" y="570"/>
                    <a:pt x="557" y="569"/>
                    <a:pt x="556" y="568"/>
                  </a:cubicBezTo>
                  <a:cubicBezTo>
                    <a:pt x="551" y="569"/>
                    <a:pt x="546" y="570"/>
                    <a:pt x="541" y="571"/>
                  </a:cubicBezTo>
                  <a:cubicBezTo>
                    <a:pt x="541" y="572"/>
                    <a:pt x="540" y="573"/>
                    <a:pt x="540" y="574"/>
                  </a:cubicBezTo>
                  <a:cubicBezTo>
                    <a:pt x="539" y="574"/>
                    <a:pt x="538" y="574"/>
                    <a:pt x="536" y="574"/>
                  </a:cubicBezTo>
                  <a:cubicBezTo>
                    <a:pt x="536" y="573"/>
                    <a:pt x="536" y="573"/>
                    <a:pt x="536" y="572"/>
                  </a:cubicBezTo>
                  <a:cubicBezTo>
                    <a:pt x="530" y="573"/>
                    <a:pt x="524" y="575"/>
                    <a:pt x="518" y="577"/>
                  </a:cubicBezTo>
                  <a:cubicBezTo>
                    <a:pt x="525" y="579"/>
                    <a:pt x="530" y="572"/>
                    <a:pt x="531" y="576"/>
                  </a:cubicBezTo>
                  <a:cubicBezTo>
                    <a:pt x="533" y="576"/>
                    <a:pt x="535" y="576"/>
                    <a:pt x="536" y="577"/>
                  </a:cubicBezTo>
                  <a:cubicBezTo>
                    <a:pt x="536" y="577"/>
                    <a:pt x="536" y="578"/>
                    <a:pt x="535" y="578"/>
                  </a:cubicBezTo>
                  <a:cubicBezTo>
                    <a:pt x="528" y="578"/>
                    <a:pt x="528" y="578"/>
                    <a:pt x="528" y="578"/>
                  </a:cubicBezTo>
                  <a:cubicBezTo>
                    <a:pt x="527" y="578"/>
                    <a:pt x="526" y="577"/>
                    <a:pt x="526" y="578"/>
                  </a:cubicBezTo>
                  <a:cubicBezTo>
                    <a:pt x="526" y="578"/>
                    <a:pt x="526" y="578"/>
                    <a:pt x="527" y="578"/>
                  </a:cubicBezTo>
                  <a:cubicBezTo>
                    <a:pt x="518" y="578"/>
                    <a:pt x="518" y="578"/>
                    <a:pt x="518" y="578"/>
                  </a:cubicBezTo>
                  <a:cubicBezTo>
                    <a:pt x="517" y="578"/>
                    <a:pt x="517" y="578"/>
                    <a:pt x="517" y="578"/>
                  </a:cubicBezTo>
                  <a:cubicBezTo>
                    <a:pt x="517" y="578"/>
                    <a:pt x="517" y="578"/>
                    <a:pt x="516" y="578"/>
                  </a:cubicBezTo>
                  <a:cubicBezTo>
                    <a:pt x="514" y="578"/>
                    <a:pt x="514" y="578"/>
                    <a:pt x="514" y="578"/>
                  </a:cubicBezTo>
                  <a:cubicBezTo>
                    <a:pt x="507" y="581"/>
                    <a:pt x="501" y="583"/>
                    <a:pt x="494" y="586"/>
                  </a:cubicBezTo>
                  <a:cubicBezTo>
                    <a:pt x="487" y="589"/>
                    <a:pt x="481" y="592"/>
                    <a:pt x="474" y="596"/>
                  </a:cubicBezTo>
                  <a:cubicBezTo>
                    <a:pt x="82" y="538"/>
                    <a:pt x="80" y="538"/>
                    <a:pt x="80" y="540"/>
                  </a:cubicBezTo>
                  <a:cubicBezTo>
                    <a:pt x="79" y="540"/>
                    <a:pt x="78" y="540"/>
                    <a:pt x="76" y="540"/>
                  </a:cubicBezTo>
                  <a:cubicBezTo>
                    <a:pt x="71" y="547"/>
                    <a:pt x="66" y="554"/>
                    <a:pt x="61" y="561"/>
                  </a:cubicBezTo>
                  <a:cubicBezTo>
                    <a:pt x="60" y="562"/>
                    <a:pt x="60" y="563"/>
                    <a:pt x="59" y="564"/>
                  </a:cubicBezTo>
                  <a:cubicBezTo>
                    <a:pt x="66" y="564"/>
                    <a:pt x="66" y="564"/>
                    <a:pt x="66" y="564"/>
                  </a:cubicBezTo>
                  <a:cubicBezTo>
                    <a:pt x="66" y="565"/>
                    <a:pt x="66" y="565"/>
                    <a:pt x="66" y="566"/>
                  </a:cubicBezTo>
                  <a:cubicBezTo>
                    <a:pt x="70" y="559"/>
                    <a:pt x="75" y="553"/>
                    <a:pt x="80" y="546"/>
                  </a:cubicBezTo>
                  <a:cubicBezTo>
                    <a:pt x="81" y="545"/>
                    <a:pt x="81" y="544"/>
                    <a:pt x="82" y="543"/>
                  </a:cubicBezTo>
                  <a:cubicBezTo>
                    <a:pt x="82" y="542"/>
                    <a:pt x="81" y="541"/>
                    <a:pt x="82" y="540"/>
                  </a:cubicBezTo>
                  <a:cubicBezTo>
                    <a:pt x="83" y="540"/>
                    <a:pt x="83" y="541"/>
                    <a:pt x="84" y="541"/>
                  </a:cubicBezTo>
                  <a:cubicBezTo>
                    <a:pt x="83" y="540"/>
                    <a:pt x="83" y="539"/>
                    <a:pt x="83" y="537"/>
                  </a:cubicBezTo>
                  <a:cubicBezTo>
                    <a:pt x="83" y="537"/>
                    <a:pt x="82" y="536"/>
                    <a:pt x="82" y="536"/>
                  </a:cubicBezTo>
                  <a:cubicBezTo>
                    <a:pt x="366" y="533"/>
                    <a:pt x="367" y="535"/>
                    <a:pt x="367" y="538"/>
                  </a:cubicBezTo>
                  <a:cubicBezTo>
                    <a:pt x="369" y="536"/>
                    <a:pt x="371" y="535"/>
                    <a:pt x="374" y="533"/>
                  </a:cubicBezTo>
                  <a:cubicBezTo>
                    <a:pt x="373" y="533"/>
                    <a:pt x="373" y="533"/>
                    <a:pt x="372" y="533"/>
                  </a:cubicBezTo>
                  <a:cubicBezTo>
                    <a:pt x="372" y="531"/>
                    <a:pt x="373" y="530"/>
                    <a:pt x="376" y="530"/>
                  </a:cubicBezTo>
                  <a:cubicBezTo>
                    <a:pt x="374" y="529"/>
                    <a:pt x="373" y="528"/>
                    <a:pt x="371" y="527"/>
                  </a:cubicBezTo>
                  <a:cubicBezTo>
                    <a:pt x="368" y="529"/>
                    <a:pt x="366" y="531"/>
                    <a:pt x="363" y="532"/>
                  </a:cubicBezTo>
                  <a:cubicBezTo>
                    <a:pt x="713" y="648"/>
                    <a:pt x="713" y="648"/>
                    <a:pt x="713" y="648"/>
                  </a:cubicBezTo>
                  <a:cubicBezTo>
                    <a:pt x="713" y="648"/>
                    <a:pt x="713" y="648"/>
                    <a:pt x="714" y="647"/>
                  </a:cubicBezTo>
                  <a:cubicBezTo>
                    <a:pt x="713" y="647"/>
                    <a:pt x="712" y="647"/>
                    <a:pt x="710" y="647"/>
                  </a:cubicBezTo>
                  <a:cubicBezTo>
                    <a:pt x="710" y="647"/>
                    <a:pt x="710" y="648"/>
                    <a:pt x="710" y="648"/>
                  </a:cubicBezTo>
                  <a:cubicBezTo>
                    <a:pt x="698" y="648"/>
                    <a:pt x="698" y="648"/>
                    <a:pt x="698" y="648"/>
                  </a:cubicBezTo>
                  <a:cubicBezTo>
                    <a:pt x="698" y="648"/>
                    <a:pt x="698" y="648"/>
                    <a:pt x="699" y="648"/>
                  </a:cubicBezTo>
                  <a:cubicBezTo>
                    <a:pt x="698" y="648"/>
                    <a:pt x="698" y="647"/>
                    <a:pt x="698" y="647"/>
                  </a:cubicBezTo>
                  <a:cubicBezTo>
                    <a:pt x="698" y="647"/>
                    <a:pt x="697" y="648"/>
                    <a:pt x="697" y="648"/>
                  </a:cubicBezTo>
                  <a:cubicBezTo>
                    <a:pt x="689" y="648"/>
                    <a:pt x="689" y="648"/>
                    <a:pt x="689" y="648"/>
                  </a:cubicBezTo>
                  <a:cubicBezTo>
                    <a:pt x="689" y="648"/>
                    <a:pt x="689" y="648"/>
                    <a:pt x="689" y="648"/>
                  </a:cubicBezTo>
                  <a:cubicBezTo>
                    <a:pt x="690" y="648"/>
                    <a:pt x="690" y="648"/>
                    <a:pt x="690" y="648"/>
                  </a:cubicBezTo>
                  <a:cubicBezTo>
                    <a:pt x="688" y="646"/>
                    <a:pt x="687" y="644"/>
                    <a:pt x="692" y="643"/>
                  </a:cubicBezTo>
                  <a:cubicBezTo>
                    <a:pt x="692" y="646"/>
                    <a:pt x="691" y="648"/>
                    <a:pt x="694" y="648"/>
                  </a:cubicBezTo>
                  <a:cubicBezTo>
                    <a:pt x="694" y="646"/>
                    <a:pt x="697" y="646"/>
                    <a:pt x="697" y="644"/>
                  </a:cubicBezTo>
                  <a:cubicBezTo>
                    <a:pt x="693" y="643"/>
                    <a:pt x="689" y="642"/>
                    <a:pt x="685" y="642"/>
                  </a:cubicBezTo>
                  <a:cubicBezTo>
                    <a:pt x="683" y="643"/>
                    <a:pt x="683" y="645"/>
                    <a:pt x="683" y="647"/>
                  </a:cubicBezTo>
                  <a:cubicBezTo>
                    <a:pt x="683" y="647"/>
                    <a:pt x="684" y="648"/>
                    <a:pt x="684" y="648"/>
                  </a:cubicBezTo>
                  <a:cubicBezTo>
                    <a:pt x="684" y="648"/>
                    <a:pt x="684" y="648"/>
                    <a:pt x="684" y="648"/>
                  </a:cubicBezTo>
                  <a:cubicBezTo>
                    <a:pt x="708" y="652"/>
                    <a:pt x="732" y="658"/>
                    <a:pt x="754" y="667"/>
                  </a:cubicBezTo>
                  <a:cubicBezTo>
                    <a:pt x="754" y="667"/>
                    <a:pt x="754" y="666"/>
                    <a:pt x="754" y="666"/>
                  </a:cubicBezTo>
                  <a:cubicBezTo>
                    <a:pt x="754" y="666"/>
                    <a:pt x="754" y="665"/>
                    <a:pt x="754" y="665"/>
                  </a:cubicBezTo>
                  <a:cubicBezTo>
                    <a:pt x="766" y="665"/>
                    <a:pt x="766" y="665"/>
                    <a:pt x="766" y="665"/>
                  </a:cubicBezTo>
                  <a:cubicBezTo>
                    <a:pt x="750" y="658"/>
                    <a:pt x="733" y="652"/>
                    <a:pt x="716" y="648"/>
                  </a:cubicBezTo>
                  <a:cubicBezTo>
                    <a:pt x="860" y="705"/>
                    <a:pt x="853" y="703"/>
                    <a:pt x="845" y="700"/>
                  </a:cubicBezTo>
                  <a:cubicBezTo>
                    <a:pt x="845" y="701"/>
                    <a:pt x="845" y="702"/>
                    <a:pt x="845" y="702"/>
                  </a:cubicBezTo>
                  <a:cubicBezTo>
                    <a:pt x="844" y="702"/>
                    <a:pt x="843" y="702"/>
                    <a:pt x="843" y="702"/>
                  </a:cubicBezTo>
                  <a:cubicBezTo>
                    <a:pt x="841" y="703"/>
                    <a:pt x="840" y="704"/>
                    <a:pt x="838" y="705"/>
                  </a:cubicBezTo>
                  <a:cubicBezTo>
                    <a:pt x="840" y="705"/>
                    <a:pt x="841" y="706"/>
                    <a:pt x="842" y="706"/>
                  </a:cubicBezTo>
                  <a:cubicBezTo>
                    <a:pt x="842" y="706"/>
                    <a:pt x="842" y="705"/>
                    <a:pt x="842" y="704"/>
                  </a:cubicBezTo>
                  <a:cubicBezTo>
                    <a:pt x="846" y="704"/>
                    <a:pt x="846" y="706"/>
                    <a:pt x="847" y="708"/>
                  </a:cubicBezTo>
                  <a:cubicBezTo>
                    <a:pt x="852" y="710"/>
                    <a:pt x="858" y="711"/>
                    <a:pt x="863" y="713"/>
                  </a:cubicBezTo>
                  <a:cubicBezTo>
                    <a:pt x="863" y="713"/>
                    <a:pt x="863" y="713"/>
                    <a:pt x="863" y="713"/>
                  </a:cubicBezTo>
                  <a:cubicBezTo>
                    <a:pt x="862" y="712"/>
                    <a:pt x="861" y="712"/>
                    <a:pt x="861" y="709"/>
                  </a:cubicBezTo>
                  <a:cubicBezTo>
                    <a:pt x="862" y="707"/>
                    <a:pt x="865" y="707"/>
                    <a:pt x="868" y="708"/>
                  </a:cubicBezTo>
                  <a:cubicBezTo>
                    <a:pt x="874" y="710"/>
                    <a:pt x="872" y="709"/>
                    <a:pt x="870" y="709"/>
                  </a:cubicBezTo>
                  <a:cubicBezTo>
                    <a:pt x="871" y="710"/>
                    <a:pt x="871" y="711"/>
                    <a:pt x="871" y="713"/>
                  </a:cubicBezTo>
                  <a:cubicBezTo>
                    <a:pt x="872" y="712"/>
                    <a:pt x="873" y="711"/>
                    <a:pt x="875" y="710"/>
                  </a:cubicBezTo>
                  <a:cubicBezTo>
                    <a:pt x="1039" y="1002"/>
                    <a:pt x="1039" y="1002"/>
                    <a:pt x="1039" y="1002"/>
                  </a:cubicBezTo>
                  <a:cubicBezTo>
                    <a:pt x="1039" y="1001"/>
                    <a:pt x="1039" y="1000"/>
                    <a:pt x="1039" y="1000"/>
                  </a:cubicBezTo>
                  <a:cubicBezTo>
                    <a:pt x="1033" y="1004"/>
                    <a:pt x="1026" y="1008"/>
                    <a:pt x="1020" y="1012"/>
                  </a:cubicBezTo>
                  <a:cubicBezTo>
                    <a:pt x="1016" y="1014"/>
                    <a:pt x="1013" y="1017"/>
                    <a:pt x="1009" y="1019"/>
                  </a:cubicBezTo>
                  <a:cubicBezTo>
                    <a:pt x="1022" y="1019"/>
                    <a:pt x="1022" y="1019"/>
                    <a:pt x="1022" y="1019"/>
                  </a:cubicBezTo>
                  <a:cubicBezTo>
                    <a:pt x="1031" y="1013"/>
                    <a:pt x="1041" y="1007"/>
                    <a:pt x="1051" y="1000"/>
                  </a:cubicBezTo>
                  <a:cubicBezTo>
                    <a:pt x="1051" y="998"/>
                    <a:pt x="1050" y="995"/>
                    <a:pt x="1049" y="993"/>
                  </a:cubicBezTo>
                  <a:cubicBezTo>
                    <a:pt x="1047" y="994"/>
                    <a:pt x="1045" y="996"/>
                    <a:pt x="1042" y="997"/>
                  </a:cubicBezTo>
                  <a:cubicBezTo>
                    <a:pt x="1046" y="997"/>
                    <a:pt x="1047" y="999"/>
                    <a:pt x="1047" y="1002"/>
                  </a:cubicBezTo>
                  <a:cubicBezTo>
                    <a:pt x="284" y="573"/>
                    <a:pt x="283" y="572"/>
                    <a:pt x="282" y="571"/>
                  </a:cubicBezTo>
                  <a:cubicBezTo>
                    <a:pt x="281" y="570"/>
                    <a:pt x="281" y="570"/>
                    <a:pt x="281" y="570"/>
                  </a:cubicBezTo>
                  <a:cubicBezTo>
                    <a:pt x="279" y="572"/>
                    <a:pt x="278" y="574"/>
                    <a:pt x="276" y="575"/>
                  </a:cubicBezTo>
                  <a:cubicBezTo>
                    <a:pt x="276" y="576"/>
                    <a:pt x="276" y="577"/>
                    <a:pt x="275" y="578"/>
                  </a:cubicBezTo>
                  <a:cubicBezTo>
                    <a:pt x="275" y="578"/>
                    <a:pt x="275" y="578"/>
                    <a:pt x="274" y="578"/>
                  </a:cubicBezTo>
                  <a:cubicBezTo>
                    <a:pt x="269" y="584"/>
                    <a:pt x="263" y="591"/>
                    <a:pt x="258" y="598"/>
                  </a:cubicBezTo>
                  <a:cubicBezTo>
                    <a:pt x="264" y="598"/>
                    <a:pt x="264" y="598"/>
                    <a:pt x="264" y="598"/>
                  </a:cubicBezTo>
                  <a:cubicBezTo>
                    <a:pt x="264" y="599"/>
                    <a:pt x="264" y="600"/>
                    <a:pt x="264" y="601"/>
                  </a:cubicBezTo>
                  <a:cubicBezTo>
                    <a:pt x="271" y="592"/>
                    <a:pt x="278" y="583"/>
                    <a:pt x="286" y="574"/>
                  </a:cubicBezTo>
                  <a:cubicBezTo>
                    <a:pt x="817" y="709"/>
                    <a:pt x="814" y="711"/>
                    <a:pt x="812" y="713"/>
                  </a:cubicBezTo>
                  <a:cubicBezTo>
                    <a:pt x="814" y="714"/>
                    <a:pt x="816" y="714"/>
                    <a:pt x="819" y="715"/>
                  </a:cubicBezTo>
                  <a:cubicBezTo>
                    <a:pt x="818" y="715"/>
                    <a:pt x="817" y="714"/>
                    <a:pt x="816" y="713"/>
                  </a:cubicBezTo>
                  <a:cubicBezTo>
                    <a:pt x="818" y="712"/>
                    <a:pt x="819" y="712"/>
                    <a:pt x="819" y="709"/>
                  </a:cubicBezTo>
                  <a:cubicBezTo>
                    <a:pt x="160" y="528"/>
                    <a:pt x="160" y="528"/>
                    <a:pt x="160" y="529"/>
                  </a:cubicBezTo>
                  <a:cubicBezTo>
                    <a:pt x="160" y="528"/>
                    <a:pt x="160" y="528"/>
                    <a:pt x="160" y="528"/>
                  </a:cubicBezTo>
                  <a:cubicBezTo>
                    <a:pt x="164" y="527"/>
                    <a:pt x="164" y="527"/>
                    <a:pt x="164" y="527"/>
                  </a:cubicBezTo>
                  <a:cubicBezTo>
                    <a:pt x="169" y="521"/>
                    <a:pt x="175" y="514"/>
                    <a:pt x="180" y="508"/>
                  </a:cubicBezTo>
                  <a:cubicBezTo>
                    <a:pt x="178" y="508"/>
                    <a:pt x="178" y="507"/>
                    <a:pt x="176" y="507"/>
                  </a:cubicBezTo>
                  <a:cubicBezTo>
                    <a:pt x="177" y="505"/>
                    <a:pt x="175" y="501"/>
                    <a:pt x="177" y="501"/>
                  </a:cubicBezTo>
                  <a:cubicBezTo>
                    <a:pt x="178" y="503"/>
                    <a:pt x="182" y="505"/>
                    <a:pt x="181" y="507"/>
                  </a:cubicBezTo>
                  <a:cubicBezTo>
                    <a:pt x="183" y="505"/>
                    <a:pt x="185" y="503"/>
                    <a:pt x="187" y="501"/>
                  </a:cubicBezTo>
                  <a:cubicBezTo>
                    <a:pt x="186" y="500"/>
                    <a:pt x="186" y="500"/>
                    <a:pt x="186" y="498"/>
                  </a:cubicBezTo>
                  <a:cubicBezTo>
                    <a:pt x="184" y="499"/>
                    <a:pt x="181" y="500"/>
                    <a:pt x="179" y="499"/>
                  </a:cubicBezTo>
                  <a:cubicBezTo>
                    <a:pt x="177" y="501"/>
                    <a:pt x="174" y="504"/>
                    <a:pt x="172" y="506"/>
                  </a:cubicBezTo>
                  <a:cubicBezTo>
                    <a:pt x="173" y="507"/>
                    <a:pt x="174" y="509"/>
                    <a:pt x="175" y="510"/>
                  </a:cubicBezTo>
                  <a:cubicBezTo>
                    <a:pt x="169" y="510"/>
                    <a:pt x="169" y="510"/>
                    <a:pt x="169" y="510"/>
                  </a:cubicBezTo>
                  <a:cubicBezTo>
                    <a:pt x="164" y="516"/>
                    <a:pt x="160" y="522"/>
                    <a:pt x="155" y="528"/>
                  </a:cubicBezTo>
                  <a:cubicBezTo>
                    <a:pt x="744" y="537"/>
                    <a:pt x="743" y="539"/>
                    <a:pt x="741" y="541"/>
                  </a:cubicBezTo>
                  <a:cubicBezTo>
                    <a:pt x="737" y="541"/>
                    <a:pt x="737" y="541"/>
                    <a:pt x="737" y="541"/>
                  </a:cubicBezTo>
                  <a:cubicBezTo>
                    <a:pt x="757" y="547"/>
                    <a:pt x="776" y="553"/>
                    <a:pt x="795" y="561"/>
                  </a:cubicBezTo>
                  <a:cubicBezTo>
                    <a:pt x="797" y="561"/>
                    <a:pt x="799" y="562"/>
                    <a:pt x="800" y="563"/>
                  </a:cubicBezTo>
                  <a:cubicBezTo>
                    <a:pt x="801" y="560"/>
                    <a:pt x="806" y="561"/>
                    <a:pt x="806" y="564"/>
                  </a:cubicBezTo>
                  <a:cubicBezTo>
                    <a:pt x="806" y="564"/>
                    <a:pt x="805" y="564"/>
                    <a:pt x="805" y="565"/>
                  </a:cubicBezTo>
                  <a:cubicBezTo>
                    <a:pt x="811" y="567"/>
                    <a:pt x="817" y="570"/>
                    <a:pt x="823" y="572"/>
                  </a:cubicBezTo>
                  <a:cubicBezTo>
                    <a:pt x="824" y="572"/>
                    <a:pt x="825" y="572"/>
                    <a:pt x="825" y="572"/>
                  </a:cubicBezTo>
                  <a:cubicBezTo>
                    <a:pt x="825" y="571"/>
                    <a:pt x="822" y="572"/>
                    <a:pt x="821" y="571"/>
                  </a:cubicBezTo>
                  <a:cubicBezTo>
                    <a:pt x="822" y="568"/>
                    <a:pt x="820" y="567"/>
                    <a:pt x="821" y="566"/>
                  </a:cubicBezTo>
                  <a:cubicBezTo>
                    <a:pt x="825" y="567"/>
                    <a:pt x="830" y="569"/>
                    <a:pt x="832" y="572"/>
                  </a:cubicBezTo>
                  <a:cubicBezTo>
                    <a:pt x="832" y="571"/>
                    <a:pt x="833" y="570"/>
                    <a:pt x="833" y="570"/>
                  </a:cubicBezTo>
                  <a:cubicBezTo>
                    <a:pt x="829" y="568"/>
                    <a:pt x="825" y="566"/>
                    <a:pt x="821" y="564"/>
                  </a:cubicBezTo>
                  <a:cubicBezTo>
                    <a:pt x="818" y="566"/>
                    <a:pt x="816" y="568"/>
                    <a:pt x="814" y="568"/>
                  </a:cubicBezTo>
                  <a:cubicBezTo>
                    <a:pt x="814" y="565"/>
                    <a:pt x="816" y="564"/>
                    <a:pt x="817" y="563"/>
                  </a:cubicBezTo>
                  <a:cubicBezTo>
                    <a:pt x="811" y="560"/>
                    <a:pt x="805" y="557"/>
                    <a:pt x="798" y="555"/>
                  </a:cubicBezTo>
                  <a:cubicBezTo>
                    <a:pt x="782" y="548"/>
                    <a:pt x="766" y="543"/>
                    <a:pt x="750" y="538"/>
                  </a:cubicBezTo>
                  <a:cubicBezTo>
                    <a:pt x="750" y="538"/>
                    <a:pt x="750" y="538"/>
                    <a:pt x="750" y="538"/>
                  </a:cubicBezTo>
                  <a:cubicBezTo>
                    <a:pt x="748" y="538"/>
                    <a:pt x="747" y="538"/>
                    <a:pt x="745" y="538"/>
                  </a:cubicBezTo>
                  <a:cubicBezTo>
                    <a:pt x="745" y="537"/>
                    <a:pt x="745" y="537"/>
                    <a:pt x="745" y="536"/>
                  </a:cubicBezTo>
                  <a:cubicBezTo>
                    <a:pt x="745" y="536"/>
                    <a:pt x="744" y="536"/>
                    <a:pt x="744" y="536"/>
                  </a:cubicBezTo>
                  <a:cubicBezTo>
                    <a:pt x="675" y="565"/>
                    <a:pt x="674" y="565"/>
                    <a:pt x="673" y="565"/>
                  </a:cubicBezTo>
                  <a:cubicBezTo>
                    <a:pt x="672" y="565"/>
                    <a:pt x="672" y="566"/>
                    <a:pt x="672" y="566"/>
                  </a:cubicBezTo>
                  <a:cubicBezTo>
                    <a:pt x="669" y="567"/>
                    <a:pt x="669" y="565"/>
                    <a:pt x="666" y="565"/>
                  </a:cubicBezTo>
                  <a:cubicBezTo>
                    <a:pt x="667" y="566"/>
                    <a:pt x="667" y="568"/>
                    <a:pt x="666" y="569"/>
                  </a:cubicBezTo>
                  <a:cubicBezTo>
                    <a:pt x="669" y="569"/>
                    <a:pt x="670" y="570"/>
                    <a:pt x="671" y="571"/>
                  </a:cubicBezTo>
                  <a:cubicBezTo>
                    <a:pt x="672" y="572"/>
                    <a:pt x="674" y="572"/>
                    <a:pt x="676" y="573"/>
                  </a:cubicBezTo>
                  <a:cubicBezTo>
                    <a:pt x="675" y="572"/>
                    <a:pt x="675" y="572"/>
                    <a:pt x="676" y="570"/>
                  </a:cubicBezTo>
                  <a:cubicBezTo>
                    <a:pt x="675" y="569"/>
                    <a:pt x="674" y="567"/>
                    <a:pt x="676" y="566"/>
                  </a:cubicBezTo>
                  <a:cubicBezTo>
                    <a:pt x="1005" y="743"/>
                    <a:pt x="1002" y="743"/>
                    <a:pt x="1000" y="742"/>
                  </a:cubicBezTo>
                  <a:cubicBezTo>
                    <a:pt x="1001" y="745"/>
                    <a:pt x="1003" y="747"/>
                    <a:pt x="1004" y="750"/>
                  </a:cubicBezTo>
                  <a:cubicBezTo>
                    <a:pt x="1008" y="750"/>
                    <a:pt x="1012" y="750"/>
                    <a:pt x="1016" y="750"/>
                  </a:cubicBezTo>
                  <a:cubicBezTo>
                    <a:pt x="1016" y="750"/>
                    <a:pt x="1016" y="749"/>
                    <a:pt x="1016" y="748"/>
                  </a:cubicBezTo>
                  <a:cubicBezTo>
                    <a:pt x="1018" y="747"/>
                    <a:pt x="1024" y="744"/>
                    <a:pt x="1027" y="745"/>
                  </a:cubicBezTo>
                  <a:cubicBezTo>
                    <a:pt x="1029" y="744"/>
                    <a:pt x="1028" y="748"/>
                    <a:pt x="1029" y="748"/>
                  </a:cubicBezTo>
                  <a:cubicBezTo>
                    <a:pt x="1030" y="748"/>
                    <a:pt x="1031" y="747"/>
                    <a:pt x="1032" y="747"/>
                  </a:cubicBezTo>
                  <a:cubicBezTo>
                    <a:pt x="1035" y="746"/>
                    <a:pt x="1029" y="745"/>
                    <a:pt x="1032" y="743"/>
                  </a:cubicBezTo>
                  <a:cubicBezTo>
                    <a:pt x="1032" y="743"/>
                    <a:pt x="1032" y="743"/>
                    <a:pt x="1032" y="743"/>
                  </a:cubicBezTo>
                  <a:cubicBezTo>
                    <a:pt x="1025" y="743"/>
                    <a:pt x="1019" y="743"/>
                    <a:pt x="1012" y="743"/>
                  </a:cubicBezTo>
                  <a:cubicBezTo>
                    <a:pt x="1013" y="745"/>
                    <a:pt x="1014" y="746"/>
                    <a:pt x="1014" y="748"/>
                  </a:cubicBezTo>
                  <a:cubicBezTo>
                    <a:pt x="1013" y="750"/>
                    <a:pt x="1008" y="750"/>
                    <a:pt x="1006" y="749"/>
                  </a:cubicBezTo>
                  <a:cubicBezTo>
                    <a:pt x="1006" y="746"/>
                    <a:pt x="1007" y="744"/>
                    <a:pt x="1008" y="743"/>
                  </a:cubicBezTo>
                  <a:cubicBezTo>
                    <a:pt x="379" y="526"/>
                    <a:pt x="379" y="526"/>
                    <a:pt x="379" y="526"/>
                  </a:cubicBezTo>
                  <a:cubicBezTo>
                    <a:pt x="380" y="526"/>
                    <a:pt x="381" y="527"/>
                    <a:pt x="382" y="528"/>
                  </a:cubicBezTo>
                  <a:cubicBezTo>
                    <a:pt x="393" y="520"/>
                    <a:pt x="405" y="514"/>
                    <a:pt x="417" y="508"/>
                  </a:cubicBezTo>
                  <a:cubicBezTo>
                    <a:pt x="413" y="508"/>
                    <a:pt x="413" y="508"/>
                    <a:pt x="413" y="508"/>
                  </a:cubicBezTo>
                  <a:cubicBezTo>
                    <a:pt x="412" y="506"/>
                    <a:pt x="412" y="504"/>
                    <a:pt x="414" y="502"/>
                  </a:cubicBezTo>
                  <a:cubicBezTo>
                    <a:pt x="410" y="503"/>
                    <a:pt x="407" y="505"/>
                    <a:pt x="404" y="507"/>
                  </a:cubicBezTo>
                  <a:cubicBezTo>
                    <a:pt x="405" y="507"/>
                    <a:pt x="405" y="508"/>
                    <a:pt x="405" y="508"/>
                  </a:cubicBezTo>
                  <a:cubicBezTo>
                    <a:pt x="402" y="508"/>
                    <a:pt x="402" y="508"/>
                    <a:pt x="402" y="508"/>
                  </a:cubicBezTo>
                  <a:cubicBezTo>
                    <a:pt x="392" y="513"/>
                    <a:pt x="382" y="519"/>
                    <a:pt x="373" y="526"/>
                  </a:cubicBezTo>
                  <a:cubicBezTo>
                    <a:pt x="840" y="1025"/>
                    <a:pt x="841" y="1026"/>
                    <a:pt x="843" y="1026"/>
                  </a:cubicBezTo>
                  <a:cubicBezTo>
                    <a:pt x="844" y="1028"/>
                    <a:pt x="843" y="1030"/>
                    <a:pt x="842" y="1031"/>
                  </a:cubicBezTo>
                  <a:cubicBezTo>
                    <a:pt x="844" y="1031"/>
                    <a:pt x="845" y="1030"/>
                    <a:pt x="847" y="1030"/>
                  </a:cubicBezTo>
                  <a:cubicBezTo>
                    <a:pt x="846" y="1028"/>
                    <a:pt x="847" y="1023"/>
                    <a:pt x="851" y="1023"/>
                  </a:cubicBezTo>
                  <a:cubicBezTo>
                    <a:pt x="854" y="1024"/>
                    <a:pt x="855" y="1026"/>
                    <a:pt x="855" y="1029"/>
                  </a:cubicBezTo>
                  <a:cubicBezTo>
                    <a:pt x="855" y="1029"/>
                    <a:pt x="856" y="1029"/>
                    <a:pt x="856" y="1028"/>
                  </a:cubicBezTo>
                  <a:cubicBezTo>
                    <a:pt x="856" y="1028"/>
                    <a:pt x="856" y="1028"/>
                    <a:pt x="856" y="1028"/>
                  </a:cubicBezTo>
                  <a:cubicBezTo>
                    <a:pt x="856" y="1024"/>
                    <a:pt x="856" y="1024"/>
                    <a:pt x="856" y="1024"/>
                  </a:cubicBezTo>
                  <a:cubicBezTo>
                    <a:pt x="857" y="1022"/>
                    <a:pt x="861" y="1022"/>
                    <a:pt x="862" y="1021"/>
                  </a:cubicBezTo>
                  <a:cubicBezTo>
                    <a:pt x="862" y="1021"/>
                    <a:pt x="862" y="1021"/>
                    <a:pt x="862" y="1021"/>
                  </a:cubicBezTo>
                  <a:cubicBezTo>
                    <a:pt x="854" y="1022"/>
                    <a:pt x="847" y="1024"/>
                    <a:pt x="839" y="1025"/>
                  </a:cubicBezTo>
                  <a:cubicBezTo>
                    <a:pt x="121" y="528"/>
                    <a:pt x="121" y="529"/>
                    <a:pt x="122" y="529"/>
                  </a:cubicBezTo>
                  <a:cubicBezTo>
                    <a:pt x="127" y="523"/>
                    <a:pt x="131" y="516"/>
                    <a:pt x="136" y="510"/>
                  </a:cubicBezTo>
                  <a:cubicBezTo>
                    <a:pt x="132" y="510"/>
                    <a:pt x="132" y="510"/>
                    <a:pt x="132" y="510"/>
                  </a:cubicBezTo>
                  <a:cubicBezTo>
                    <a:pt x="133" y="509"/>
                    <a:pt x="136" y="509"/>
                    <a:pt x="136" y="506"/>
                  </a:cubicBezTo>
                  <a:cubicBezTo>
                    <a:pt x="131" y="504"/>
                    <a:pt x="134" y="509"/>
                    <a:pt x="130" y="509"/>
                  </a:cubicBezTo>
                  <a:cubicBezTo>
                    <a:pt x="130" y="509"/>
                    <a:pt x="130" y="509"/>
                    <a:pt x="130" y="509"/>
                  </a:cubicBezTo>
                  <a:cubicBezTo>
                    <a:pt x="125" y="515"/>
                    <a:pt x="120" y="522"/>
                    <a:pt x="115" y="528"/>
                  </a:cubicBezTo>
                  <a:cubicBezTo>
                    <a:pt x="122" y="579"/>
                    <a:pt x="121" y="581"/>
                    <a:pt x="119" y="582"/>
                  </a:cubicBezTo>
                  <a:cubicBezTo>
                    <a:pt x="117" y="582"/>
                    <a:pt x="117" y="582"/>
                    <a:pt x="117" y="582"/>
                  </a:cubicBezTo>
                  <a:cubicBezTo>
                    <a:pt x="113" y="588"/>
                    <a:pt x="110" y="593"/>
                    <a:pt x="106" y="599"/>
                  </a:cubicBezTo>
                  <a:cubicBezTo>
                    <a:pt x="112" y="599"/>
                    <a:pt x="112" y="599"/>
                    <a:pt x="112" y="599"/>
                  </a:cubicBezTo>
                  <a:cubicBezTo>
                    <a:pt x="112" y="600"/>
                    <a:pt x="112" y="600"/>
                    <a:pt x="112" y="600"/>
                  </a:cubicBezTo>
                  <a:cubicBezTo>
                    <a:pt x="113" y="600"/>
                    <a:pt x="113" y="600"/>
                    <a:pt x="114" y="600"/>
                  </a:cubicBezTo>
                  <a:cubicBezTo>
                    <a:pt x="118" y="594"/>
                    <a:pt x="121" y="588"/>
                    <a:pt x="125" y="582"/>
                  </a:cubicBezTo>
                  <a:cubicBezTo>
                    <a:pt x="125" y="582"/>
                    <a:pt x="125" y="582"/>
                    <a:pt x="125" y="582"/>
                  </a:cubicBezTo>
                  <a:cubicBezTo>
                    <a:pt x="125" y="580"/>
                    <a:pt x="126" y="578"/>
                    <a:pt x="123" y="577"/>
                  </a:cubicBezTo>
                  <a:cubicBezTo>
                    <a:pt x="788" y="928"/>
                    <a:pt x="787" y="928"/>
                    <a:pt x="786" y="927"/>
                  </a:cubicBezTo>
                  <a:cubicBezTo>
                    <a:pt x="785" y="930"/>
                    <a:pt x="784" y="931"/>
                    <a:pt x="785" y="933"/>
                  </a:cubicBezTo>
                  <a:cubicBezTo>
                    <a:pt x="778" y="933"/>
                    <a:pt x="778" y="933"/>
                    <a:pt x="778" y="933"/>
                  </a:cubicBezTo>
                  <a:cubicBezTo>
                    <a:pt x="778" y="932"/>
                    <a:pt x="777" y="931"/>
                    <a:pt x="777" y="930"/>
                  </a:cubicBezTo>
                  <a:cubicBezTo>
                    <a:pt x="775" y="930"/>
                    <a:pt x="774" y="930"/>
                    <a:pt x="773" y="929"/>
                  </a:cubicBezTo>
                  <a:cubicBezTo>
                    <a:pt x="774" y="930"/>
                    <a:pt x="775" y="931"/>
                    <a:pt x="775" y="932"/>
                  </a:cubicBezTo>
                  <a:cubicBezTo>
                    <a:pt x="775" y="932"/>
                    <a:pt x="775" y="933"/>
                    <a:pt x="776" y="933"/>
                  </a:cubicBezTo>
                  <a:cubicBezTo>
                    <a:pt x="796" y="935"/>
                    <a:pt x="817" y="935"/>
                    <a:pt x="838" y="932"/>
                  </a:cubicBezTo>
                  <a:cubicBezTo>
                    <a:pt x="837" y="932"/>
                    <a:pt x="837" y="932"/>
                    <a:pt x="837" y="932"/>
                  </a:cubicBezTo>
                  <a:cubicBezTo>
                    <a:pt x="836" y="932"/>
                    <a:pt x="835" y="932"/>
                    <a:pt x="835" y="931"/>
                  </a:cubicBezTo>
                  <a:cubicBezTo>
                    <a:pt x="835" y="932"/>
                    <a:pt x="835" y="932"/>
                    <a:pt x="835" y="932"/>
                  </a:cubicBezTo>
                  <a:cubicBezTo>
                    <a:pt x="828" y="932"/>
                    <a:pt x="828" y="932"/>
                    <a:pt x="828" y="932"/>
                  </a:cubicBezTo>
                  <a:cubicBezTo>
                    <a:pt x="828" y="932"/>
                    <a:pt x="828" y="932"/>
                    <a:pt x="828" y="932"/>
                  </a:cubicBezTo>
                  <a:cubicBezTo>
                    <a:pt x="827" y="932"/>
                    <a:pt x="827" y="932"/>
                    <a:pt x="827" y="932"/>
                  </a:cubicBezTo>
                  <a:cubicBezTo>
                    <a:pt x="812" y="932"/>
                    <a:pt x="812" y="932"/>
                    <a:pt x="812" y="932"/>
                  </a:cubicBezTo>
                  <a:cubicBezTo>
                    <a:pt x="812" y="932"/>
                    <a:pt x="812" y="932"/>
                    <a:pt x="812" y="932"/>
                  </a:cubicBezTo>
                  <a:cubicBezTo>
                    <a:pt x="811" y="931"/>
                    <a:pt x="810" y="931"/>
                    <a:pt x="809" y="930"/>
                  </a:cubicBezTo>
                  <a:cubicBezTo>
                    <a:pt x="809" y="931"/>
                    <a:pt x="808" y="931"/>
                    <a:pt x="807" y="932"/>
                  </a:cubicBezTo>
                  <a:cubicBezTo>
                    <a:pt x="802" y="932"/>
                    <a:pt x="802" y="932"/>
                    <a:pt x="802" y="932"/>
                  </a:cubicBezTo>
                  <a:cubicBezTo>
                    <a:pt x="802" y="932"/>
                    <a:pt x="802" y="932"/>
                    <a:pt x="802" y="932"/>
                  </a:cubicBezTo>
                  <a:cubicBezTo>
                    <a:pt x="802" y="932"/>
                    <a:pt x="802" y="932"/>
                    <a:pt x="802" y="932"/>
                  </a:cubicBezTo>
                  <a:cubicBezTo>
                    <a:pt x="790" y="933"/>
                    <a:pt x="790" y="933"/>
                    <a:pt x="790" y="933"/>
                  </a:cubicBezTo>
                  <a:cubicBezTo>
                    <a:pt x="790" y="931"/>
                    <a:pt x="789" y="930"/>
                    <a:pt x="789" y="929"/>
                  </a:cubicBezTo>
                  <a:cubicBezTo>
                    <a:pt x="669" y="920"/>
                    <a:pt x="669" y="920"/>
                    <a:pt x="669" y="920"/>
                  </a:cubicBezTo>
                  <a:cubicBezTo>
                    <a:pt x="669" y="920"/>
                    <a:pt x="669" y="920"/>
                    <a:pt x="669" y="920"/>
                  </a:cubicBezTo>
                  <a:cubicBezTo>
                    <a:pt x="669" y="920"/>
                    <a:pt x="669" y="920"/>
                    <a:pt x="669" y="920"/>
                  </a:cubicBezTo>
                  <a:cubicBezTo>
                    <a:pt x="738" y="892"/>
                    <a:pt x="739" y="893"/>
                    <a:pt x="740" y="893"/>
                  </a:cubicBezTo>
                  <a:cubicBezTo>
                    <a:pt x="739" y="892"/>
                    <a:pt x="739" y="892"/>
                    <a:pt x="738" y="892"/>
                  </a:cubicBezTo>
                  <a:cubicBezTo>
                    <a:pt x="738" y="892"/>
                    <a:pt x="738" y="892"/>
                    <a:pt x="738" y="892"/>
                  </a:cubicBezTo>
                  <a:cubicBezTo>
                    <a:pt x="814" y="928"/>
                    <a:pt x="815" y="927"/>
                    <a:pt x="815" y="927"/>
                  </a:cubicBezTo>
                  <a:cubicBezTo>
                    <a:pt x="814" y="927"/>
                    <a:pt x="812" y="927"/>
                    <a:pt x="811" y="927"/>
                  </a:cubicBezTo>
                  <a:cubicBezTo>
                    <a:pt x="811" y="928"/>
                    <a:pt x="811" y="928"/>
                    <a:pt x="811" y="928"/>
                  </a:cubicBezTo>
                  <a:cubicBezTo>
                    <a:pt x="811" y="928"/>
                    <a:pt x="812" y="928"/>
                    <a:pt x="813" y="929"/>
                  </a:cubicBezTo>
                  <a:cubicBezTo>
                    <a:pt x="813" y="928"/>
                    <a:pt x="813" y="928"/>
                    <a:pt x="813" y="928"/>
                  </a:cubicBezTo>
                  <a:cubicBezTo>
                    <a:pt x="683" y="919"/>
                    <a:pt x="683" y="919"/>
                    <a:pt x="683" y="919"/>
                  </a:cubicBezTo>
                  <a:cubicBezTo>
                    <a:pt x="682" y="919"/>
                    <a:pt x="681" y="919"/>
                    <a:pt x="680" y="918"/>
                  </a:cubicBezTo>
                  <a:cubicBezTo>
                    <a:pt x="679" y="918"/>
                    <a:pt x="679" y="918"/>
                    <a:pt x="678" y="918"/>
                  </a:cubicBezTo>
                  <a:cubicBezTo>
                    <a:pt x="679" y="919"/>
                    <a:pt x="680" y="921"/>
                    <a:pt x="680" y="922"/>
                  </a:cubicBezTo>
                  <a:cubicBezTo>
                    <a:pt x="683" y="923"/>
                    <a:pt x="685" y="925"/>
                    <a:pt x="687" y="927"/>
                  </a:cubicBezTo>
                  <a:cubicBezTo>
                    <a:pt x="687" y="925"/>
                    <a:pt x="689" y="924"/>
                    <a:pt x="690" y="923"/>
                  </a:cubicBezTo>
                  <a:cubicBezTo>
                    <a:pt x="689" y="923"/>
                    <a:pt x="689" y="923"/>
                    <a:pt x="688" y="922"/>
                  </a:cubicBezTo>
                  <a:cubicBezTo>
                    <a:pt x="687" y="923"/>
                    <a:pt x="686" y="923"/>
                    <a:pt x="684" y="923"/>
                  </a:cubicBezTo>
                  <a:cubicBezTo>
                    <a:pt x="684" y="922"/>
                    <a:pt x="684" y="921"/>
                    <a:pt x="684" y="920"/>
                  </a:cubicBezTo>
                  <a:cubicBezTo>
                    <a:pt x="683" y="920"/>
                    <a:pt x="683" y="920"/>
                    <a:pt x="683" y="919"/>
                  </a:cubicBezTo>
                  <a:cubicBezTo>
                    <a:pt x="819" y="927"/>
                    <a:pt x="819" y="927"/>
                    <a:pt x="819" y="927"/>
                  </a:cubicBezTo>
                  <a:cubicBezTo>
                    <a:pt x="819" y="927"/>
                    <a:pt x="819" y="927"/>
                    <a:pt x="819" y="927"/>
                  </a:cubicBezTo>
                  <a:cubicBezTo>
                    <a:pt x="819" y="927"/>
                    <a:pt x="819" y="927"/>
                    <a:pt x="819" y="927"/>
                  </a:cubicBezTo>
                  <a:cubicBezTo>
                    <a:pt x="886" y="370"/>
                    <a:pt x="887" y="363"/>
                    <a:pt x="883" y="362"/>
                  </a:cubicBezTo>
                  <a:cubicBezTo>
                    <a:pt x="881" y="362"/>
                    <a:pt x="880" y="362"/>
                    <a:pt x="878" y="361"/>
                  </a:cubicBezTo>
                  <a:cubicBezTo>
                    <a:pt x="845" y="362"/>
                    <a:pt x="845" y="362"/>
                    <a:pt x="845" y="362"/>
                  </a:cubicBezTo>
                  <a:cubicBezTo>
                    <a:pt x="857" y="364"/>
                    <a:pt x="869" y="366"/>
                    <a:pt x="882" y="369"/>
                  </a:cubicBezTo>
                  <a:cubicBezTo>
                    <a:pt x="1088" y="733"/>
                    <a:pt x="1088" y="733"/>
                    <a:pt x="1088" y="733"/>
                  </a:cubicBezTo>
                  <a:cubicBezTo>
                    <a:pt x="1089" y="734"/>
                    <a:pt x="1090" y="735"/>
                    <a:pt x="1091" y="735"/>
                  </a:cubicBezTo>
                  <a:cubicBezTo>
                    <a:pt x="1092" y="733"/>
                    <a:pt x="1090" y="730"/>
                    <a:pt x="1087" y="731"/>
                  </a:cubicBezTo>
                  <a:cubicBezTo>
                    <a:pt x="1085" y="732"/>
                    <a:pt x="1083" y="733"/>
                    <a:pt x="1081" y="733"/>
                  </a:cubicBezTo>
                  <a:cubicBezTo>
                    <a:pt x="792" y="398"/>
                    <a:pt x="792" y="397"/>
                    <a:pt x="792" y="397"/>
                  </a:cubicBezTo>
                  <a:cubicBezTo>
                    <a:pt x="789" y="397"/>
                    <a:pt x="786" y="396"/>
                    <a:pt x="783" y="395"/>
                  </a:cubicBezTo>
                  <a:cubicBezTo>
                    <a:pt x="783" y="395"/>
                    <a:pt x="783" y="395"/>
                    <a:pt x="783" y="395"/>
                  </a:cubicBezTo>
                  <a:cubicBezTo>
                    <a:pt x="785" y="395"/>
                    <a:pt x="786" y="396"/>
                    <a:pt x="786" y="398"/>
                  </a:cubicBezTo>
                  <a:cubicBezTo>
                    <a:pt x="767" y="398"/>
                    <a:pt x="767" y="398"/>
                    <a:pt x="767" y="398"/>
                  </a:cubicBezTo>
                  <a:cubicBezTo>
                    <a:pt x="787" y="403"/>
                    <a:pt x="808" y="409"/>
                    <a:pt x="828" y="415"/>
                  </a:cubicBezTo>
                  <a:cubicBezTo>
                    <a:pt x="850" y="415"/>
                    <a:pt x="850" y="415"/>
                    <a:pt x="850" y="415"/>
                  </a:cubicBezTo>
                  <a:cubicBezTo>
                    <a:pt x="831" y="409"/>
                    <a:pt x="813" y="403"/>
                    <a:pt x="793" y="398"/>
                  </a:cubicBezTo>
                  <a:cubicBezTo>
                    <a:pt x="338" y="387"/>
                    <a:pt x="338" y="387"/>
                    <a:pt x="338" y="386"/>
                  </a:cubicBezTo>
                  <a:cubicBezTo>
                    <a:pt x="338" y="387"/>
                    <a:pt x="338" y="387"/>
                    <a:pt x="337" y="387"/>
                  </a:cubicBezTo>
                  <a:cubicBezTo>
                    <a:pt x="338" y="387"/>
                    <a:pt x="338" y="387"/>
                    <a:pt x="338" y="387"/>
                  </a:cubicBezTo>
                  <a:cubicBezTo>
                    <a:pt x="112" y="672"/>
                    <a:pt x="116" y="662"/>
                    <a:pt x="121" y="653"/>
                  </a:cubicBezTo>
                  <a:cubicBezTo>
                    <a:pt x="113" y="653"/>
                    <a:pt x="113" y="653"/>
                    <a:pt x="113" y="653"/>
                  </a:cubicBezTo>
                  <a:cubicBezTo>
                    <a:pt x="109" y="661"/>
                    <a:pt x="106" y="669"/>
                    <a:pt x="102" y="677"/>
                  </a:cubicBezTo>
                  <a:cubicBezTo>
                    <a:pt x="104" y="678"/>
                    <a:pt x="106" y="680"/>
                    <a:pt x="107" y="681"/>
                  </a:cubicBezTo>
                  <a:cubicBezTo>
                    <a:pt x="872" y="397"/>
                    <a:pt x="871" y="395"/>
                    <a:pt x="874" y="395"/>
                  </a:cubicBezTo>
                  <a:cubicBezTo>
                    <a:pt x="872" y="393"/>
                    <a:pt x="868" y="392"/>
                    <a:pt x="866" y="390"/>
                  </a:cubicBezTo>
                  <a:cubicBezTo>
                    <a:pt x="866" y="389"/>
                    <a:pt x="865" y="389"/>
                    <a:pt x="864" y="389"/>
                  </a:cubicBezTo>
                  <a:cubicBezTo>
                    <a:pt x="864" y="391"/>
                    <a:pt x="865" y="394"/>
                    <a:pt x="864" y="396"/>
                  </a:cubicBezTo>
                  <a:cubicBezTo>
                    <a:pt x="866" y="395"/>
                    <a:pt x="870" y="393"/>
                    <a:pt x="870" y="397"/>
                  </a:cubicBezTo>
                  <a:cubicBezTo>
                    <a:pt x="868" y="397"/>
                    <a:pt x="868" y="397"/>
                    <a:pt x="868" y="397"/>
                  </a:cubicBezTo>
                  <a:cubicBezTo>
                    <a:pt x="879" y="400"/>
                    <a:pt x="889" y="403"/>
                    <a:pt x="900" y="406"/>
                  </a:cubicBezTo>
                  <a:cubicBezTo>
                    <a:pt x="904" y="407"/>
                    <a:pt x="905" y="400"/>
                    <a:pt x="901" y="399"/>
                  </a:cubicBezTo>
                  <a:cubicBezTo>
                    <a:pt x="898" y="398"/>
                    <a:pt x="895" y="398"/>
                    <a:pt x="892" y="397"/>
                  </a:cubicBezTo>
                  <a:cubicBezTo>
                    <a:pt x="876" y="718"/>
                    <a:pt x="876" y="718"/>
                    <a:pt x="876" y="718"/>
                  </a:cubicBezTo>
                  <a:cubicBezTo>
                    <a:pt x="893" y="724"/>
                    <a:pt x="911" y="730"/>
                    <a:pt x="928" y="735"/>
                  </a:cubicBezTo>
                  <a:cubicBezTo>
                    <a:pt x="941" y="735"/>
                    <a:pt x="941" y="735"/>
                    <a:pt x="941" y="735"/>
                  </a:cubicBezTo>
                  <a:cubicBezTo>
                    <a:pt x="943" y="736"/>
                    <a:pt x="944" y="738"/>
                    <a:pt x="945" y="739"/>
                  </a:cubicBezTo>
                  <a:cubicBezTo>
                    <a:pt x="955" y="742"/>
                    <a:pt x="965" y="744"/>
                    <a:pt x="975" y="746"/>
                  </a:cubicBezTo>
                  <a:cubicBezTo>
                    <a:pt x="974" y="744"/>
                    <a:pt x="976" y="742"/>
                    <a:pt x="977" y="740"/>
                  </a:cubicBezTo>
                  <a:cubicBezTo>
                    <a:pt x="974" y="739"/>
                    <a:pt x="971" y="739"/>
                    <a:pt x="968" y="738"/>
                  </a:cubicBezTo>
                  <a:cubicBezTo>
                    <a:pt x="968" y="739"/>
                    <a:pt x="968" y="740"/>
                    <a:pt x="968" y="741"/>
                  </a:cubicBezTo>
                  <a:cubicBezTo>
                    <a:pt x="964" y="743"/>
                    <a:pt x="959" y="741"/>
                    <a:pt x="959" y="737"/>
                  </a:cubicBezTo>
                  <a:cubicBezTo>
                    <a:pt x="958" y="737"/>
                    <a:pt x="956" y="736"/>
                    <a:pt x="955" y="735"/>
                  </a:cubicBezTo>
                  <a:cubicBezTo>
                    <a:pt x="955" y="735"/>
                    <a:pt x="955" y="735"/>
                    <a:pt x="955" y="735"/>
                  </a:cubicBezTo>
                  <a:cubicBezTo>
                    <a:pt x="944" y="733"/>
                    <a:pt x="933" y="730"/>
                    <a:pt x="923" y="726"/>
                  </a:cubicBezTo>
                  <a:cubicBezTo>
                    <a:pt x="908" y="721"/>
                    <a:pt x="893" y="716"/>
                    <a:pt x="878" y="711"/>
                  </a:cubicBezTo>
                  <a:cubicBezTo>
                    <a:pt x="879" y="714"/>
                    <a:pt x="879" y="716"/>
                    <a:pt x="877" y="718"/>
                  </a:cubicBezTo>
                  <a:cubicBezTo>
                    <a:pt x="839" y="388"/>
                    <a:pt x="836" y="388"/>
                    <a:pt x="833" y="388"/>
                  </a:cubicBezTo>
                  <a:cubicBezTo>
                    <a:pt x="835" y="389"/>
                    <a:pt x="838" y="389"/>
                    <a:pt x="840" y="390"/>
                  </a:cubicBezTo>
                  <a:cubicBezTo>
                    <a:pt x="83" y="531"/>
                    <a:pt x="83" y="531"/>
                    <a:pt x="83" y="531"/>
                  </a:cubicBezTo>
                  <a:cubicBezTo>
                    <a:pt x="83" y="531"/>
                    <a:pt x="83" y="531"/>
                    <a:pt x="83" y="531"/>
                  </a:cubicBezTo>
                  <a:cubicBezTo>
                    <a:pt x="83" y="531"/>
                    <a:pt x="83" y="531"/>
                    <a:pt x="83" y="531"/>
                  </a:cubicBezTo>
                  <a:cubicBezTo>
                    <a:pt x="1141" y="963"/>
                    <a:pt x="1142" y="963"/>
                    <a:pt x="1142" y="962"/>
                  </a:cubicBezTo>
                  <a:cubicBezTo>
                    <a:pt x="1142" y="962"/>
                    <a:pt x="1141" y="962"/>
                    <a:pt x="1141" y="962"/>
                  </a:cubicBezTo>
                  <a:cubicBezTo>
                    <a:pt x="1141" y="963"/>
                    <a:pt x="1141" y="963"/>
                    <a:pt x="1141" y="964"/>
                  </a:cubicBezTo>
                  <a:cubicBezTo>
                    <a:pt x="1015" y="959"/>
                    <a:pt x="1015" y="959"/>
                    <a:pt x="1015" y="959"/>
                  </a:cubicBezTo>
                  <a:cubicBezTo>
                    <a:pt x="1013" y="960"/>
                    <a:pt x="1011" y="961"/>
                    <a:pt x="1009" y="962"/>
                  </a:cubicBezTo>
                  <a:cubicBezTo>
                    <a:pt x="1008" y="963"/>
                    <a:pt x="1008" y="965"/>
                    <a:pt x="1007" y="966"/>
                  </a:cubicBezTo>
                  <a:cubicBezTo>
                    <a:pt x="1007" y="966"/>
                    <a:pt x="1007" y="966"/>
                    <a:pt x="1007" y="966"/>
                  </a:cubicBezTo>
                  <a:cubicBezTo>
                    <a:pt x="1000" y="966"/>
                    <a:pt x="1000" y="966"/>
                    <a:pt x="1000" y="966"/>
                  </a:cubicBezTo>
                  <a:cubicBezTo>
                    <a:pt x="989" y="972"/>
                    <a:pt x="977" y="978"/>
                    <a:pt x="965" y="984"/>
                  </a:cubicBezTo>
                  <a:cubicBezTo>
                    <a:pt x="981" y="984"/>
                    <a:pt x="981" y="984"/>
                    <a:pt x="981" y="984"/>
                  </a:cubicBezTo>
                  <a:cubicBezTo>
                    <a:pt x="994" y="978"/>
                    <a:pt x="1006" y="971"/>
                    <a:pt x="1019" y="965"/>
                  </a:cubicBezTo>
                  <a:cubicBezTo>
                    <a:pt x="1018" y="962"/>
                    <a:pt x="1018" y="960"/>
                    <a:pt x="1018" y="957"/>
                  </a:cubicBezTo>
                  <a:cubicBezTo>
                    <a:pt x="1017" y="958"/>
                    <a:pt x="1016" y="958"/>
                    <a:pt x="1015" y="959"/>
                  </a:cubicBezTo>
                  <a:cubicBezTo>
                    <a:pt x="1015" y="959"/>
                    <a:pt x="1015" y="959"/>
                    <a:pt x="1015" y="959"/>
                  </a:cubicBezTo>
                  <a:cubicBezTo>
                    <a:pt x="1080" y="999"/>
                    <a:pt x="1079" y="999"/>
                    <a:pt x="1078" y="1000"/>
                  </a:cubicBezTo>
                  <a:cubicBezTo>
                    <a:pt x="1079" y="1000"/>
                    <a:pt x="1079" y="1000"/>
                    <a:pt x="1080" y="1000"/>
                  </a:cubicBezTo>
                  <a:cubicBezTo>
                    <a:pt x="1080" y="1000"/>
                    <a:pt x="1080" y="999"/>
                    <a:pt x="1080" y="998"/>
                  </a:cubicBezTo>
                  <a:cubicBezTo>
                    <a:pt x="231" y="541"/>
                    <a:pt x="231" y="541"/>
                    <a:pt x="231" y="542"/>
                  </a:cubicBezTo>
                  <a:cubicBezTo>
                    <a:pt x="231" y="543"/>
                    <a:pt x="230" y="543"/>
                    <a:pt x="228" y="543"/>
                  </a:cubicBezTo>
                  <a:cubicBezTo>
                    <a:pt x="228" y="544"/>
                    <a:pt x="228" y="544"/>
                    <a:pt x="227" y="544"/>
                  </a:cubicBezTo>
                  <a:cubicBezTo>
                    <a:pt x="230" y="544"/>
                    <a:pt x="232" y="544"/>
                    <a:pt x="234" y="544"/>
                  </a:cubicBezTo>
                  <a:cubicBezTo>
                    <a:pt x="233" y="541"/>
                    <a:pt x="235" y="539"/>
                    <a:pt x="238" y="538"/>
                  </a:cubicBezTo>
                  <a:cubicBezTo>
                    <a:pt x="237" y="537"/>
                    <a:pt x="236" y="536"/>
                    <a:pt x="235" y="535"/>
                  </a:cubicBezTo>
                  <a:cubicBezTo>
                    <a:pt x="234" y="537"/>
                    <a:pt x="232" y="539"/>
                    <a:pt x="230" y="541"/>
                  </a:cubicBezTo>
                  <a:cubicBezTo>
                    <a:pt x="654" y="937"/>
                    <a:pt x="667" y="945"/>
                    <a:pt x="681" y="951"/>
                  </a:cubicBezTo>
                  <a:cubicBezTo>
                    <a:pt x="683" y="951"/>
                    <a:pt x="683" y="951"/>
                    <a:pt x="683" y="951"/>
                  </a:cubicBezTo>
                  <a:cubicBezTo>
                    <a:pt x="683" y="951"/>
                    <a:pt x="684" y="952"/>
                    <a:pt x="684" y="952"/>
                  </a:cubicBezTo>
                  <a:cubicBezTo>
                    <a:pt x="686" y="953"/>
                    <a:pt x="687" y="953"/>
                    <a:pt x="689" y="954"/>
                  </a:cubicBezTo>
                  <a:cubicBezTo>
                    <a:pt x="689" y="954"/>
                    <a:pt x="690" y="954"/>
                    <a:pt x="691" y="954"/>
                  </a:cubicBezTo>
                  <a:cubicBezTo>
                    <a:pt x="691" y="954"/>
                    <a:pt x="691" y="955"/>
                    <a:pt x="691" y="955"/>
                  </a:cubicBezTo>
                  <a:cubicBezTo>
                    <a:pt x="695" y="957"/>
                    <a:pt x="699" y="958"/>
                    <a:pt x="703" y="959"/>
                  </a:cubicBezTo>
                  <a:cubicBezTo>
                    <a:pt x="703" y="958"/>
                    <a:pt x="704" y="956"/>
                    <a:pt x="704" y="954"/>
                  </a:cubicBezTo>
                  <a:cubicBezTo>
                    <a:pt x="703" y="954"/>
                    <a:pt x="702" y="953"/>
                    <a:pt x="701" y="953"/>
                  </a:cubicBezTo>
                  <a:cubicBezTo>
                    <a:pt x="701" y="952"/>
                    <a:pt x="701" y="952"/>
                    <a:pt x="701" y="951"/>
                  </a:cubicBezTo>
                  <a:cubicBezTo>
                    <a:pt x="681" y="944"/>
                    <a:pt x="662" y="934"/>
                    <a:pt x="645" y="921"/>
                  </a:cubicBezTo>
                  <a:cubicBezTo>
                    <a:pt x="646" y="923"/>
                    <a:pt x="644" y="926"/>
                    <a:pt x="642" y="928"/>
                  </a:cubicBezTo>
                  <a:cubicBezTo>
                    <a:pt x="1127" y="933"/>
                    <a:pt x="1115" y="943"/>
                    <a:pt x="1103" y="953"/>
                  </a:cubicBezTo>
                  <a:cubicBezTo>
                    <a:pt x="1104" y="954"/>
                    <a:pt x="1103" y="956"/>
                    <a:pt x="1101" y="956"/>
                  </a:cubicBezTo>
                  <a:cubicBezTo>
                    <a:pt x="1102" y="957"/>
                    <a:pt x="1102" y="959"/>
                    <a:pt x="1101" y="960"/>
                  </a:cubicBezTo>
                  <a:cubicBezTo>
                    <a:pt x="1100" y="960"/>
                    <a:pt x="1099" y="960"/>
                    <a:pt x="1098" y="959"/>
                  </a:cubicBezTo>
                  <a:cubicBezTo>
                    <a:pt x="1098" y="960"/>
                    <a:pt x="1098" y="962"/>
                    <a:pt x="1097" y="964"/>
                  </a:cubicBezTo>
                  <a:cubicBezTo>
                    <a:pt x="1095" y="964"/>
                    <a:pt x="1093" y="965"/>
                    <a:pt x="1090" y="964"/>
                  </a:cubicBezTo>
                  <a:cubicBezTo>
                    <a:pt x="1090" y="964"/>
                    <a:pt x="1090" y="963"/>
                    <a:pt x="1090" y="963"/>
                  </a:cubicBezTo>
                  <a:cubicBezTo>
                    <a:pt x="1078" y="972"/>
                    <a:pt x="1066" y="981"/>
                    <a:pt x="1054" y="989"/>
                  </a:cubicBezTo>
                  <a:cubicBezTo>
                    <a:pt x="1055" y="990"/>
                    <a:pt x="1056" y="991"/>
                    <a:pt x="1057" y="992"/>
                  </a:cubicBezTo>
                  <a:cubicBezTo>
                    <a:pt x="1058" y="990"/>
                    <a:pt x="1058" y="988"/>
                    <a:pt x="1060" y="987"/>
                  </a:cubicBezTo>
                  <a:cubicBezTo>
                    <a:pt x="1062" y="988"/>
                    <a:pt x="1064" y="989"/>
                    <a:pt x="1065" y="990"/>
                  </a:cubicBezTo>
                  <a:cubicBezTo>
                    <a:pt x="1067" y="989"/>
                    <a:pt x="1070" y="987"/>
                    <a:pt x="1072" y="986"/>
                  </a:cubicBezTo>
                  <a:cubicBezTo>
                    <a:pt x="1070" y="985"/>
                    <a:pt x="1068" y="985"/>
                    <a:pt x="1066" y="983"/>
                  </a:cubicBezTo>
                  <a:cubicBezTo>
                    <a:pt x="1075" y="983"/>
                    <a:pt x="1075" y="983"/>
                    <a:pt x="1075" y="983"/>
                  </a:cubicBezTo>
                  <a:cubicBezTo>
                    <a:pt x="1089" y="973"/>
                    <a:pt x="1103" y="962"/>
                    <a:pt x="1117" y="950"/>
                  </a:cubicBezTo>
                  <a:cubicBezTo>
                    <a:pt x="1114" y="951"/>
                    <a:pt x="1110" y="950"/>
                    <a:pt x="1111" y="947"/>
                  </a:cubicBezTo>
                  <a:cubicBezTo>
                    <a:pt x="1111" y="947"/>
                    <a:pt x="1111" y="947"/>
                    <a:pt x="1111" y="947"/>
                  </a:cubicBezTo>
                  <a:cubicBezTo>
                    <a:pt x="1120" y="947"/>
                    <a:pt x="1120" y="947"/>
                    <a:pt x="1120" y="947"/>
                  </a:cubicBezTo>
                  <a:cubicBezTo>
                    <a:pt x="1120" y="947"/>
                    <a:pt x="1120" y="947"/>
                    <a:pt x="1120" y="948"/>
                  </a:cubicBezTo>
                  <a:cubicBezTo>
                    <a:pt x="1127" y="941"/>
                    <a:pt x="1135" y="935"/>
                    <a:pt x="1142" y="929"/>
                  </a:cubicBezTo>
                  <a:cubicBezTo>
                    <a:pt x="1145" y="926"/>
                    <a:pt x="1141" y="920"/>
                    <a:pt x="1138" y="923"/>
                  </a:cubicBezTo>
                  <a:cubicBezTo>
                    <a:pt x="1107" y="955"/>
                    <a:pt x="1108" y="957"/>
                    <a:pt x="1105" y="956"/>
                  </a:cubicBezTo>
                  <a:cubicBezTo>
                    <a:pt x="1103" y="952"/>
                    <a:pt x="1110" y="953"/>
                    <a:pt x="1110" y="955"/>
                  </a:cubicBezTo>
                  <a:cubicBezTo>
                    <a:pt x="1050" y="747"/>
                    <a:pt x="1050" y="745"/>
                    <a:pt x="1050" y="744"/>
                  </a:cubicBezTo>
                  <a:cubicBezTo>
                    <a:pt x="1050" y="744"/>
                    <a:pt x="1051" y="744"/>
                    <a:pt x="1051" y="744"/>
                  </a:cubicBezTo>
                  <a:cubicBezTo>
                    <a:pt x="1051" y="743"/>
                    <a:pt x="1050" y="742"/>
                    <a:pt x="1050" y="741"/>
                  </a:cubicBezTo>
                  <a:cubicBezTo>
                    <a:pt x="1045" y="742"/>
                    <a:pt x="1041" y="742"/>
                    <a:pt x="1036" y="743"/>
                  </a:cubicBezTo>
                  <a:cubicBezTo>
                    <a:pt x="1036" y="743"/>
                    <a:pt x="1036" y="743"/>
                    <a:pt x="1037" y="743"/>
                  </a:cubicBezTo>
                  <a:cubicBezTo>
                    <a:pt x="1036" y="746"/>
                    <a:pt x="1034" y="748"/>
                    <a:pt x="1033" y="750"/>
                  </a:cubicBezTo>
                  <a:cubicBezTo>
                    <a:pt x="1039" y="750"/>
                    <a:pt x="1045" y="749"/>
                    <a:pt x="1050" y="748"/>
                  </a:cubicBezTo>
                  <a:cubicBezTo>
                    <a:pt x="985" y="957"/>
                    <a:pt x="985" y="955"/>
                    <a:pt x="986" y="952"/>
                  </a:cubicBezTo>
                  <a:cubicBezTo>
                    <a:pt x="985" y="953"/>
                    <a:pt x="984" y="953"/>
                    <a:pt x="983" y="953"/>
                  </a:cubicBezTo>
                  <a:cubicBezTo>
                    <a:pt x="984" y="955"/>
                    <a:pt x="985" y="957"/>
                    <a:pt x="984" y="960"/>
                  </a:cubicBezTo>
                  <a:cubicBezTo>
                    <a:pt x="177" y="557"/>
                    <a:pt x="181" y="551"/>
                    <a:pt x="185" y="546"/>
                  </a:cubicBezTo>
                  <a:cubicBezTo>
                    <a:pt x="181" y="546"/>
                    <a:pt x="181" y="546"/>
                    <a:pt x="181" y="546"/>
                  </a:cubicBezTo>
                  <a:cubicBezTo>
                    <a:pt x="181" y="544"/>
                    <a:pt x="181" y="543"/>
                    <a:pt x="180" y="542"/>
                  </a:cubicBezTo>
                  <a:cubicBezTo>
                    <a:pt x="175" y="549"/>
                    <a:pt x="170" y="556"/>
                    <a:pt x="165" y="563"/>
                  </a:cubicBezTo>
                  <a:cubicBezTo>
                    <a:pt x="707" y="953"/>
                    <a:pt x="707" y="953"/>
                    <a:pt x="707" y="953"/>
                  </a:cubicBezTo>
                  <a:cubicBezTo>
                    <a:pt x="707" y="953"/>
                    <a:pt x="707" y="953"/>
                    <a:pt x="707" y="953"/>
                  </a:cubicBezTo>
                  <a:cubicBezTo>
                    <a:pt x="707" y="953"/>
                    <a:pt x="707" y="953"/>
                    <a:pt x="707" y="953"/>
                  </a:cubicBezTo>
                  <a:cubicBezTo>
                    <a:pt x="716" y="963"/>
                    <a:pt x="718" y="963"/>
                    <a:pt x="719" y="963"/>
                  </a:cubicBezTo>
                  <a:cubicBezTo>
                    <a:pt x="720" y="963"/>
                    <a:pt x="721" y="963"/>
                    <a:pt x="722" y="963"/>
                  </a:cubicBezTo>
                  <a:cubicBezTo>
                    <a:pt x="722" y="964"/>
                    <a:pt x="723" y="964"/>
                    <a:pt x="723" y="965"/>
                  </a:cubicBezTo>
                  <a:cubicBezTo>
                    <a:pt x="729" y="966"/>
                    <a:pt x="735" y="967"/>
                    <a:pt x="741" y="968"/>
                  </a:cubicBezTo>
                  <a:cubicBezTo>
                    <a:pt x="739" y="967"/>
                    <a:pt x="738" y="966"/>
                    <a:pt x="738" y="964"/>
                  </a:cubicBezTo>
                  <a:cubicBezTo>
                    <a:pt x="736" y="965"/>
                    <a:pt x="734" y="964"/>
                    <a:pt x="732" y="965"/>
                  </a:cubicBezTo>
                  <a:cubicBezTo>
                    <a:pt x="731" y="964"/>
                    <a:pt x="731" y="962"/>
                    <a:pt x="732" y="959"/>
                  </a:cubicBezTo>
                  <a:cubicBezTo>
                    <a:pt x="725" y="958"/>
                    <a:pt x="719" y="956"/>
                    <a:pt x="712" y="954"/>
                  </a:cubicBezTo>
                  <a:cubicBezTo>
                    <a:pt x="712" y="955"/>
                    <a:pt x="712" y="955"/>
                    <a:pt x="712" y="955"/>
                  </a:cubicBezTo>
                  <a:cubicBezTo>
                    <a:pt x="712" y="957"/>
                    <a:pt x="711" y="958"/>
                    <a:pt x="711" y="960"/>
                  </a:cubicBezTo>
                  <a:cubicBezTo>
                    <a:pt x="709" y="960"/>
                    <a:pt x="708" y="960"/>
                    <a:pt x="707" y="960"/>
                  </a:cubicBezTo>
                  <a:cubicBezTo>
                    <a:pt x="709" y="961"/>
                    <a:pt x="712" y="962"/>
                    <a:pt x="715" y="963"/>
                  </a:cubicBezTo>
                  <a:cubicBezTo>
                    <a:pt x="737" y="961"/>
                    <a:pt x="738" y="962"/>
                    <a:pt x="738" y="962"/>
                  </a:cubicBezTo>
                  <a:cubicBezTo>
                    <a:pt x="738" y="962"/>
                    <a:pt x="738" y="961"/>
                    <a:pt x="738" y="961"/>
                  </a:cubicBezTo>
                  <a:cubicBezTo>
                    <a:pt x="738" y="961"/>
                    <a:pt x="738" y="960"/>
                    <a:pt x="737" y="960"/>
                  </a:cubicBezTo>
                  <a:cubicBezTo>
                    <a:pt x="913" y="956"/>
                    <a:pt x="913" y="956"/>
                    <a:pt x="914" y="956"/>
                  </a:cubicBezTo>
                  <a:cubicBezTo>
                    <a:pt x="913" y="956"/>
                    <a:pt x="913" y="956"/>
                    <a:pt x="913" y="956"/>
                  </a:cubicBezTo>
                  <a:cubicBezTo>
                    <a:pt x="913" y="956"/>
                    <a:pt x="913" y="956"/>
                    <a:pt x="913" y="956"/>
                  </a:cubicBezTo>
                  <a:cubicBezTo>
                    <a:pt x="880" y="959"/>
                    <a:pt x="880" y="959"/>
                    <a:pt x="879" y="960"/>
                  </a:cubicBezTo>
                  <a:cubicBezTo>
                    <a:pt x="878" y="960"/>
                    <a:pt x="877" y="959"/>
                    <a:pt x="877" y="958"/>
                  </a:cubicBezTo>
                  <a:cubicBezTo>
                    <a:pt x="876" y="958"/>
                    <a:pt x="875" y="959"/>
                    <a:pt x="874" y="959"/>
                  </a:cubicBezTo>
                  <a:cubicBezTo>
                    <a:pt x="872" y="962"/>
                    <a:pt x="867" y="961"/>
                    <a:pt x="867" y="966"/>
                  </a:cubicBezTo>
                  <a:cubicBezTo>
                    <a:pt x="869" y="966"/>
                    <a:pt x="871" y="965"/>
                    <a:pt x="874" y="965"/>
                  </a:cubicBezTo>
                  <a:cubicBezTo>
                    <a:pt x="875" y="961"/>
                    <a:pt x="879" y="961"/>
                    <a:pt x="882" y="963"/>
                  </a:cubicBezTo>
                  <a:cubicBezTo>
                    <a:pt x="884" y="963"/>
                    <a:pt x="887" y="962"/>
                    <a:pt x="889" y="962"/>
                  </a:cubicBezTo>
                  <a:cubicBezTo>
                    <a:pt x="888" y="960"/>
                    <a:pt x="886" y="959"/>
                    <a:pt x="886" y="956"/>
                  </a:cubicBezTo>
                  <a:cubicBezTo>
                    <a:pt x="885" y="957"/>
                    <a:pt x="883" y="957"/>
                    <a:pt x="881" y="958"/>
                  </a:cubicBezTo>
                  <a:cubicBezTo>
                    <a:pt x="315" y="543"/>
                    <a:pt x="315" y="544"/>
                    <a:pt x="315" y="544"/>
                  </a:cubicBezTo>
                  <a:cubicBezTo>
                    <a:pt x="312" y="545"/>
                    <a:pt x="312" y="545"/>
                    <a:pt x="312" y="545"/>
                  </a:cubicBezTo>
                  <a:cubicBezTo>
                    <a:pt x="311" y="544"/>
                    <a:pt x="309" y="543"/>
                    <a:pt x="308" y="542"/>
                  </a:cubicBezTo>
                  <a:cubicBezTo>
                    <a:pt x="301" y="549"/>
                    <a:pt x="294" y="555"/>
                    <a:pt x="288" y="562"/>
                  </a:cubicBezTo>
                  <a:cubicBezTo>
                    <a:pt x="290" y="562"/>
                    <a:pt x="290" y="562"/>
                    <a:pt x="290" y="562"/>
                  </a:cubicBezTo>
                  <a:cubicBezTo>
                    <a:pt x="291" y="564"/>
                    <a:pt x="292" y="565"/>
                    <a:pt x="293" y="567"/>
                  </a:cubicBezTo>
                  <a:cubicBezTo>
                    <a:pt x="301" y="558"/>
                    <a:pt x="309" y="551"/>
                    <a:pt x="317" y="543"/>
                  </a:cubicBezTo>
                  <a:cubicBezTo>
                    <a:pt x="317" y="543"/>
                    <a:pt x="316" y="543"/>
                    <a:pt x="316" y="543"/>
                  </a:cubicBezTo>
                  <a:cubicBezTo>
                    <a:pt x="714" y="712"/>
                    <a:pt x="714" y="712"/>
                    <a:pt x="714" y="712"/>
                  </a:cubicBezTo>
                  <a:cubicBezTo>
                    <a:pt x="714" y="711"/>
                    <a:pt x="714" y="711"/>
                    <a:pt x="714" y="711"/>
                  </a:cubicBezTo>
                  <a:cubicBezTo>
                    <a:pt x="714" y="711"/>
                    <a:pt x="714" y="711"/>
                    <a:pt x="713" y="711"/>
                  </a:cubicBezTo>
                  <a:cubicBezTo>
                    <a:pt x="713" y="711"/>
                    <a:pt x="713" y="711"/>
                    <a:pt x="713" y="711"/>
                  </a:cubicBezTo>
                  <a:cubicBezTo>
                    <a:pt x="631" y="744"/>
                    <a:pt x="631" y="744"/>
                    <a:pt x="631" y="744"/>
                  </a:cubicBezTo>
                  <a:cubicBezTo>
                    <a:pt x="631" y="744"/>
                    <a:pt x="631" y="744"/>
                    <a:pt x="631" y="744"/>
                  </a:cubicBezTo>
                  <a:cubicBezTo>
                    <a:pt x="631" y="744"/>
                    <a:pt x="631" y="744"/>
                    <a:pt x="631" y="744"/>
                  </a:cubicBezTo>
                  <a:cubicBezTo>
                    <a:pt x="649" y="740"/>
                    <a:pt x="648" y="740"/>
                    <a:pt x="647" y="740"/>
                  </a:cubicBezTo>
                  <a:cubicBezTo>
                    <a:pt x="647" y="741"/>
                    <a:pt x="648" y="741"/>
                    <a:pt x="648" y="741"/>
                  </a:cubicBezTo>
                  <a:cubicBezTo>
                    <a:pt x="648" y="741"/>
                    <a:pt x="649" y="741"/>
                    <a:pt x="649" y="741"/>
                  </a:cubicBezTo>
                  <a:cubicBezTo>
                    <a:pt x="693" y="980"/>
                    <a:pt x="675" y="971"/>
                    <a:pt x="658" y="961"/>
                  </a:cubicBezTo>
                  <a:cubicBezTo>
                    <a:pt x="658" y="962"/>
                    <a:pt x="657" y="964"/>
                    <a:pt x="656" y="965"/>
                  </a:cubicBezTo>
                  <a:cubicBezTo>
                    <a:pt x="656" y="966"/>
                    <a:pt x="656" y="967"/>
                    <a:pt x="656" y="967"/>
                  </a:cubicBezTo>
                  <a:cubicBezTo>
                    <a:pt x="668" y="975"/>
                    <a:pt x="680" y="981"/>
                    <a:pt x="692" y="986"/>
                  </a:cubicBezTo>
                  <a:cubicBezTo>
                    <a:pt x="702" y="986"/>
                    <a:pt x="702" y="986"/>
                    <a:pt x="702" y="986"/>
                  </a:cubicBezTo>
                  <a:cubicBezTo>
                    <a:pt x="703" y="988"/>
                    <a:pt x="704" y="990"/>
                    <a:pt x="705" y="992"/>
                  </a:cubicBezTo>
                  <a:cubicBezTo>
                    <a:pt x="708" y="993"/>
                    <a:pt x="711" y="994"/>
                    <a:pt x="714" y="995"/>
                  </a:cubicBezTo>
                  <a:cubicBezTo>
                    <a:pt x="714" y="995"/>
                    <a:pt x="714" y="994"/>
                    <a:pt x="714" y="994"/>
                  </a:cubicBezTo>
                  <a:cubicBezTo>
                    <a:pt x="714" y="994"/>
                    <a:pt x="715" y="994"/>
                    <a:pt x="715" y="994"/>
                  </a:cubicBezTo>
                  <a:cubicBezTo>
                    <a:pt x="715" y="993"/>
                    <a:pt x="715" y="992"/>
                    <a:pt x="715" y="992"/>
                  </a:cubicBezTo>
                  <a:cubicBezTo>
                    <a:pt x="716" y="992"/>
                    <a:pt x="718" y="992"/>
                    <a:pt x="719" y="992"/>
                  </a:cubicBezTo>
                  <a:cubicBezTo>
                    <a:pt x="719" y="992"/>
                    <a:pt x="719" y="992"/>
                    <a:pt x="719" y="992"/>
                  </a:cubicBezTo>
                  <a:cubicBezTo>
                    <a:pt x="718" y="991"/>
                    <a:pt x="716" y="990"/>
                    <a:pt x="715" y="989"/>
                  </a:cubicBezTo>
                  <a:cubicBezTo>
                    <a:pt x="715" y="989"/>
                    <a:pt x="714" y="989"/>
                    <a:pt x="714" y="988"/>
                  </a:cubicBezTo>
                  <a:cubicBezTo>
                    <a:pt x="713" y="989"/>
                    <a:pt x="713" y="992"/>
                    <a:pt x="711" y="992"/>
                  </a:cubicBezTo>
                  <a:cubicBezTo>
                    <a:pt x="709" y="992"/>
                    <a:pt x="707" y="992"/>
                    <a:pt x="707" y="990"/>
                  </a:cubicBezTo>
                  <a:cubicBezTo>
                    <a:pt x="707" y="988"/>
                    <a:pt x="709" y="987"/>
                    <a:pt x="711" y="987"/>
                  </a:cubicBezTo>
                  <a:cubicBezTo>
                    <a:pt x="794" y="747"/>
                    <a:pt x="796" y="744"/>
                    <a:pt x="798" y="743"/>
                  </a:cubicBezTo>
                  <a:cubicBezTo>
                    <a:pt x="796" y="742"/>
                    <a:pt x="794" y="742"/>
                    <a:pt x="793" y="741"/>
                  </a:cubicBezTo>
                  <a:cubicBezTo>
                    <a:pt x="792" y="742"/>
                    <a:pt x="792" y="743"/>
                    <a:pt x="791" y="744"/>
                  </a:cubicBezTo>
                  <a:cubicBezTo>
                    <a:pt x="617" y="929"/>
                    <a:pt x="615" y="927"/>
                    <a:pt x="612" y="925"/>
                  </a:cubicBezTo>
                  <a:cubicBezTo>
                    <a:pt x="611" y="926"/>
                    <a:pt x="609" y="928"/>
                    <a:pt x="607" y="929"/>
                  </a:cubicBezTo>
                  <a:cubicBezTo>
                    <a:pt x="613" y="934"/>
                    <a:pt x="618" y="939"/>
                    <a:pt x="624" y="944"/>
                  </a:cubicBezTo>
                  <a:cubicBezTo>
                    <a:pt x="627" y="947"/>
                    <a:pt x="630" y="949"/>
                    <a:pt x="633" y="951"/>
                  </a:cubicBezTo>
                  <a:cubicBezTo>
                    <a:pt x="634" y="951"/>
                    <a:pt x="634" y="951"/>
                    <a:pt x="634" y="951"/>
                  </a:cubicBezTo>
                  <a:cubicBezTo>
                    <a:pt x="634" y="952"/>
                    <a:pt x="634" y="952"/>
                    <a:pt x="635" y="952"/>
                  </a:cubicBezTo>
                  <a:cubicBezTo>
                    <a:pt x="635" y="952"/>
                    <a:pt x="635" y="952"/>
                    <a:pt x="635" y="951"/>
                  </a:cubicBezTo>
                  <a:cubicBezTo>
                    <a:pt x="640" y="951"/>
                    <a:pt x="640" y="951"/>
                    <a:pt x="640" y="951"/>
                  </a:cubicBezTo>
                  <a:cubicBezTo>
                    <a:pt x="641" y="952"/>
                    <a:pt x="641" y="953"/>
                    <a:pt x="641" y="955"/>
                  </a:cubicBezTo>
                  <a:cubicBezTo>
                    <a:pt x="638" y="955"/>
                    <a:pt x="639" y="952"/>
                    <a:pt x="636" y="953"/>
                  </a:cubicBezTo>
                  <a:cubicBezTo>
                    <a:pt x="636" y="953"/>
                    <a:pt x="636" y="953"/>
                    <a:pt x="636" y="954"/>
                  </a:cubicBezTo>
                  <a:cubicBezTo>
                    <a:pt x="640" y="956"/>
                    <a:pt x="644" y="959"/>
                    <a:pt x="647" y="962"/>
                  </a:cubicBezTo>
                  <a:cubicBezTo>
                    <a:pt x="649" y="960"/>
                    <a:pt x="651" y="958"/>
                    <a:pt x="653" y="958"/>
                  </a:cubicBezTo>
                  <a:cubicBezTo>
                    <a:pt x="652" y="957"/>
                    <a:pt x="651" y="956"/>
                    <a:pt x="651" y="956"/>
                  </a:cubicBezTo>
                  <a:cubicBezTo>
                    <a:pt x="650" y="958"/>
                    <a:pt x="649" y="959"/>
                    <a:pt x="647" y="959"/>
                  </a:cubicBezTo>
                  <a:cubicBezTo>
                    <a:pt x="646" y="957"/>
                    <a:pt x="646" y="955"/>
                    <a:pt x="647" y="953"/>
                  </a:cubicBezTo>
                  <a:cubicBezTo>
                    <a:pt x="638" y="947"/>
                    <a:pt x="630" y="941"/>
                    <a:pt x="622" y="934"/>
                  </a:cubicBezTo>
                  <a:cubicBezTo>
                    <a:pt x="619" y="934"/>
                    <a:pt x="619" y="934"/>
                    <a:pt x="619" y="934"/>
                  </a:cubicBezTo>
                  <a:cubicBezTo>
                    <a:pt x="619" y="933"/>
                    <a:pt x="619" y="933"/>
                    <a:pt x="620" y="932"/>
                  </a:cubicBezTo>
                  <a:cubicBezTo>
                    <a:pt x="928" y="1037"/>
                    <a:pt x="929" y="1036"/>
                    <a:pt x="930" y="1036"/>
                  </a:cubicBezTo>
                  <a:cubicBezTo>
                    <a:pt x="928" y="1035"/>
                    <a:pt x="927" y="1033"/>
                    <a:pt x="925" y="1032"/>
                  </a:cubicBezTo>
                  <a:cubicBezTo>
                    <a:pt x="923" y="1032"/>
                    <a:pt x="922" y="1033"/>
                    <a:pt x="921" y="1033"/>
                  </a:cubicBezTo>
                  <a:cubicBezTo>
                    <a:pt x="921" y="1034"/>
                    <a:pt x="921" y="1034"/>
                    <a:pt x="921" y="1035"/>
                  </a:cubicBezTo>
                  <a:cubicBezTo>
                    <a:pt x="923" y="1035"/>
                    <a:pt x="925" y="1037"/>
                    <a:pt x="928" y="1037"/>
                  </a:cubicBezTo>
                  <a:cubicBezTo>
                    <a:pt x="574" y="827"/>
                    <a:pt x="574" y="827"/>
                    <a:pt x="574" y="827"/>
                  </a:cubicBezTo>
                  <a:cubicBezTo>
                    <a:pt x="574" y="829"/>
                    <a:pt x="575" y="831"/>
                    <a:pt x="575" y="833"/>
                  </a:cubicBezTo>
                  <a:cubicBezTo>
                    <a:pt x="577" y="840"/>
                    <a:pt x="580" y="847"/>
                    <a:pt x="583" y="854"/>
                  </a:cubicBezTo>
                  <a:cubicBezTo>
                    <a:pt x="583" y="854"/>
                    <a:pt x="583" y="854"/>
                    <a:pt x="584" y="854"/>
                  </a:cubicBezTo>
                  <a:cubicBezTo>
                    <a:pt x="585" y="852"/>
                    <a:pt x="586" y="850"/>
                    <a:pt x="587" y="848"/>
                  </a:cubicBezTo>
                  <a:cubicBezTo>
                    <a:pt x="586" y="850"/>
                    <a:pt x="585" y="852"/>
                    <a:pt x="585" y="854"/>
                  </a:cubicBezTo>
                  <a:cubicBezTo>
                    <a:pt x="586" y="855"/>
                    <a:pt x="586" y="855"/>
                    <a:pt x="587" y="855"/>
                  </a:cubicBezTo>
                  <a:cubicBezTo>
                    <a:pt x="587" y="857"/>
                    <a:pt x="588" y="860"/>
                    <a:pt x="587" y="862"/>
                  </a:cubicBezTo>
                  <a:cubicBezTo>
                    <a:pt x="591" y="868"/>
                    <a:pt x="594" y="874"/>
                    <a:pt x="598" y="880"/>
                  </a:cubicBezTo>
                  <a:cubicBezTo>
                    <a:pt x="602" y="880"/>
                    <a:pt x="602" y="880"/>
                    <a:pt x="602" y="880"/>
                  </a:cubicBezTo>
                  <a:cubicBezTo>
                    <a:pt x="602" y="880"/>
                    <a:pt x="603" y="881"/>
                    <a:pt x="604" y="881"/>
                  </a:cubicBezTo>
                  <a:cubicBezTo>
                    <a:pt x="604" y="884"/>
                    <a:pt x="603" y="884"/>
                    <a:pt x="601" y="884"/>
                  </a:cubicBezTo>
                  <a:cubicBezTo>
                    <a:pt x="607" y="893"/>
                    <a:pt x="614" y="902"/>
                    <a:pt x="622" y="910"/>
                  </a:cubicBezTo>
                  <a:cubicBezTo>
                    <a:pt x="624" y="912"/>
                    <a:pt x="626" y="914"/>
                    <a:pt x="628" y="916"/>
                  </a:cubicBezTo>
                  <a:cubicBezTo>
                    <a:pt x="631" y="916"/>
                    <a:pt x="631" y="916"/>
                    <a:pt x="631" y="916"/>
                  </a:cubicBezTo>
                  <a:cubicBezTo>
                    <a:pt x="632" y="917"/>
                    <a:pt x="632" y="918"/>
                    <a:pt x="633" y="920"/>
                  </a:cubicBezTo>
                  <a:cubicBezTo>
                    <a:pt x="635" y="922"/>
                    <a:pt x="637" y="923"/>
                    <a:pt x="639" y="925"/>
                  </a:cubicBezTo>
                  <a:cubicBezTo>
                    <a:pt x="639" y="925"/>
                    <a:pt x="639" y="924"/>
                    <a:pt x="639" y="924"/>
                  </a:cubicBezTo>
                  <a:cubicBezTo>
                    <a:pt x="642" y="924"/>
                    <a:pt x="642" y="921"/>
                    <a:pt x="644" y="920"/>
                  </a:cubicBezTo>
                  <a:cubicBezTo>
                    <a:pt x="642" y="919"/>
                    <a:pt x="641" y="917"/>
                    <a:pt x="639" y="916"/>
                  </a:cubicBezTo>
                  <a:cubicBezTo>
                    <a:pt x="639" y="917"/>
                    <a:pt x="638" y="919"/>
                    <a:pt x="637" y="920"/>
                  </a:cubicBezTo>
                  <a:cubicBezTo>
                    <a:pt x="636" y="920"/>
                    <a:pt x="635" y="920"/>
                    <a:pt x="633" y="920"/>
                  </a:cubicBezTo>
                  <a:cubicBezTo>
                    <a:pt x="633" y="919"/>
                    <a:pt x="634" y="917"/>
                    <a:pt x="635" y="916"/>
                  </a:cubicBezTo>
                  <a:cubicBezTo>
                    <a:pt x="639" y="916"/>
                    <a:pt x="639" y="916"/>
                    <a:pt x="639" y="916"/>
                  </a:cubicBezTo>
                  <a:cubicBezTo>
                    <a:pt x="630" y="908"/>
                    <a:pt x="622" y="900"/>
                    <a:pt x="614" y="891"/>
                  </a:cubicBezTo>
                  <a:cubicBezTo>
                    <a:pt x="613" y="889"/>
                    <a:pt x="611" y="887"/>
                    <a:pt x="610" y="885"/>
                  </a:cubicBezTo>
                  <a:cubicBezTo>
                    <a:pt x="610" y="885"/>
                    <a:pt x="610" y="885"/>
                    <a:pt x="610" y="886"/>
                  </a:cubicBezTo>
                  <a:cubicBezTo>
                    <a:pt x="610" y="885"/>
                    <a:pt x="610" y="885"/>
                    <a:pt x="610" y="885"/>
                  </a:cubicBezTo>
                  <a:cubicBezTo>
                    <a:pt x="601" y="873"/>
                    <a:pt x="593" y="859"/>
                    <a:pt x="587" y="845"/>
                  </a:cubicBezTo>
                  <a:cubicBezTo>
                    <a:pt x="587" y="845"/>
                    <a:pt x="587" y="845"/>
                    <a:pt x="586" y="845"/>
                  </a:cubicBezTo>
                  <a:cubicBezTo>
                    <a:pt x="586" y="845"/>
                    <a:pt x="586" y="845"/>
                    <a:pt x="586" y="845"/>
                  </a:cubicBezTo>
                  <a:cubicBezTo>
                    <a:pt x="587" y="845"/>
                    <a:pt x="587" y="845"/>
                    <a:pt x="587" y="845"/>
                  </a:cubicBezTo>
                  <a:cubicBezTo>
                    <a:pt x="584" y="839"/>
                    <a:pt x="582" y="833"/>
                    <a:pt x="581" y="827"/>
                  </a:cubicBezTo>
                  <a:cubicBezTo>
                    <a:pt x="763" y="741"/>
                    <a:pt x="763" y="742"/>
                    <a:pt x="764" y="742"/>
                  </a:cubicBezTo>
                  <a:cubicBezTo>
                    <a:pt x="764" y="741"/>
                    <a:pt x="763" y="740"/>
                    <a:pt x="763" y="740"/>
                  </a:cubicBezTo>
                  <a:cubicBezTo>
                    <a:pt x="762" y="740"/>
                    <a:pt x="762" y="741"/>
                    <a:pt x="762" y="741"/>
                  </a:cubicBezTo>
                  <a:cubicBezTo>
                    <a:pt x="817" y="747"/>
                    <a:pt x="815" y="746"/>
                    <a:pt x="813" y="746"/>
                  </a:cubicBezTo>
                  <a:cubicBezTo>
                    <a:pt x="813" y="747"/>
                    <a:pt x="813" y="748"/>
                    <a:pt x="813" y="749"/>
                  </a:cubicBezTo>
                  <a:cubicBezTo>
                    <a:pt x="816" y="749"/>
                    <a:pt x="817" y="748"/>
                    <a:pt x="819" y="747"/>
                  </a:cubicBezTo>
                  <a:cubicBezTo>
                    <a:pt x="832" y="737"/>
                    <a:pt x="832" y="736"/>
                    <a:pt x="832" y="736"/>
                  </a:cubicBezTo>
                  <a:cubicBezTo>
                    <a:pt x="833" y="736"/>
                    <a:pt x="833" y="736"/>
                    <a:pt x="833" y="736"/>
                  </a:cubicBezTo>
                  <a:cubicBezTo>
                    <a:pt x="813" y="730"/>
                    <a:pt x="793" y="724"/>
                    <a:pt x="773" y="719"/>
                  </a:cubicBezTo>
                  <a:cubicBezTo>
                    <a:pt x="753" y="719"/>
                    <a:pt x="753" y="719"/>
                    <a:pt x="753" y="719"/>
                  </a:cubicBezTo>
                  <a:cubicBezTo>
                    <a:pt x="779" y="726"/>
                    <a:pt x="805" y="735"/>
                    <a:pt x="831" y="742"/>
                  </a:cubicBezTo>
                  <a:cubicBezTo>
                    <a:pt x="831" y="740"/>
                    <a:pt x="831" y="739"/>
                    <a:pt x="832" y="738"/>
                  </a:cubicBezTo>
                  <a:cubicBezTo>
                    <a:pt x="752" y="738"/>
                    <a:pt x="752" y="738"/>
                    <a:pt x="752" y="739"/>
                  </a:cubicBezTo>
                  <a:cubicBezTo>
                    <a:pt x="753" y="739"/>
                    <a:pt x="754" y="739"/>
                    <a:pt x="755" y="739"/>
                  </a:cubicBezTo>
                  <a:cubicBezTo>
                    <a:pt x="755" y="739"/>
                    <a:pt x="755" y="739"/>
                    <a:pt x="755" y="739"/>
                  </a:cubicBezTo>
                  <a:cubicBezTo>
                    <a:pt x="755" y="739"/>
                    <a:pt x="754" y="738"/>
                    <a:pt x="754" y="738"/>
                  </a:cubicBezTo>
                  <a:cubicBezTo>
                    <a:pt x="754" y="738"/>
                    <a:pt x="754" y="738"/>
                    <a:pt x="754" y="738"/>
                  </a:cubicBezTo>
                  <a:cubicBezTo>
                    <a:pt x="753" y="738"/>
                    <a:pt x="752" y="738"/>
                    <a:pt x="752" y="738"/>
                  </a:cubicBezTo>
                  <a:cubicBezTo>
                    <a:pt x="206" y="694"/>
                    <a:pt x="204" y="700"/>
                    <a:pt x="202" y="705"/>
                  </a:cubicBezTo>
                  <a:cubicBezTo>
                    <a:pt x="209" y="705"/>
                    <a:pt x="209" y="705"/>
                    <a:pt x="209" y="705"/>
                  </a:cubicBezTo>
                  <a:cubicBezTo>
                    <a:pt x="212" y="698"/>
                    <a:pt x="215" y="691"/>
                    <a:pt x="218" y="684"/>
                  </a:cubicBezTo>
                  <a:cubicBezTo>
                    <a:pt x="217" y="684"/>
                    <a:pt x="216" y="684"/>
                    <a:pt x="216" y="684"/>
                  </a:cubicBezTo>
                  <a:cubicBezTo>
                    <a:pt x="212" y="681"/>
                    <a:pt x="218" y="679"/>
                    <a:pt x="219" y="676"/>
                  </a:cubicBezTo>
                  <a:cubicBezTo>
                    <a:pt x="218" y="676"/>
                    <a:pt x="216" y="676"/>
                    <a:pt x="215" y="676"/>
                  </a:cubicBezTo>
                  <a:cubicBezTo>
                    <a:pt x="215" y="675"/>
                    <a:pt x="215" y="674"/>
                    <a:pt x="215" y="673"/>
                  </a:cubicBezTo>
                  <a:cubicBezTo>
                    <a:pt x="213" y="677"/>
                    <a:pt x="212" y="681"/>
                    <a:pt x="210" y="684"/>
                  </a:cubicBezTo>
                  <a:cubicBezTo>
                    <a:pt x="211" y="685"/>
                    <a:pt x="212" y="685"/>
                    <a:pt x="212" y="685"/>
                  </a:cubicBezTo>
                  <a:cubicBezTo>
                    <a:pt x="212" y="686"/>
                    <a:pt x="212" y="687"/>
                    <a:pt x="212" y="688"/>
                  </a:cubicBezTo>
                  <a:cubicBezTo>
                    <a:pt x="755" y="748"/>
                    <a:pt x="755" y="748"/>
                    <a:pt x="755" y="748"/>
                  </a:cubicBezTo>
                  <a:cubicBezTo>
                    <a:pt x="755" y="748"/>
                    <a:pt x="755" y="748"/>
                    <a:pt x="755" y="748"/>
                  </a:cubicBezTo>
                  <a:cubicBezTo>
                    <a:pt x="755" y="748"/>
                    <a:pt x="755" y="748"/>
                    <a:pt x="755" y="748"/>
                  </a:cubicBezTo>
                  <a:cubicBezTo>
                    <a:pt x="216" y="569"/>
                    <a:pt x="216" y="569"/>
                    <a:pt x="216" y="569"/>
                  </a:cubicBezTo>
                  <a:cubicBezTo>
                    <a:pt x="216" y="568"/>
                    <a:pt x="216" y="568"/>
                    <a:pt x="216" y="568"/>
                  </a:cubicBezTo>
                  <a:cubicBezTo>
                    <a:pt x="216" y="568"/>
                    <a:pt x="215" y="569"/>
                    <a:pt x="215" y="569"/>
                  </a:cubicBezTo>
                  <a:cubicBezTo>
                    <a:pt x="215" y="569"/>
                    <a:pt x="215" y="570"/>
                    <a:pt x="216" y="570"/>
                  </a:cubicBezTo>
                  <a:cubicBezTo>
                    <a:pt x="432" y="686"/>
                    <a:pt x="432" y="686"/>
                    <a:pt x="432" y="685"/>
                  </a:cubicBezTo>
                  <a:cubicBezTo>
                    <a:pt x="432" y="685"/>
                    <a:pt x="432" y="685"/>
                    <a:pt x="433" y="685"/>
                  </a:cubicBezTo>
                  <a:cubicBezTo>
                    <a:pt x="432" y="684"/>
                    <a:pt x="432" y="683"/>
                    <a:pt x="432" y="682"/>
                  </a:cubicBezTo>
                  <a:cubicBezTo>
                    <a:pt x="426" y="689"/>
                    <a:pt x="421" y="696"/>
                    <a:pt x="416" y="704"/>
                  </a:cubicBezTo>
                  <a:cubicBezTo>
                    <a:pt x="422" y="704"/>
                    <a:pt x="422" y="704"/>
                    <a:pt x="422" y="704"/>
                  </a:cubicBezTo>
                  <a:cubicBezTo>
                    <a:pt x="422" y="704"/>
                    <a:pt x="422" y="704"/>
                    <a:pt x="421" y="704"/>
                  </a:cubicBezTo>
                  <a:cubicBezTo>
                    <a:pt x="422" y="704"/>
                    <a:pt x="423" y="705"/>
                    <a:pt x="423" y="705"/>
                  </a:cubicBezTo>
                  <a:cubicBezTo>
                    <a:pt x="427" y="699"/>
                    <a:pt x="432" y="692"/>
                    <a:pt x="437" y="686"/>
                  </a:cubicBezTo>
                  <a:cubicBezTo>
                    <a:pt x="403" y="711"/>
                    <a:pt x="402" y="711"/>
                    <a:pt x="402" y="714"/>
                  </a:cubicBezTo>
                  <a:cubicBezTo>
                    <a:pt x="403" y="712"/>
                    <a:pt x="404" y="711"/>
                    <a:pt x="404" y="709"/>
                  </a:cubicBezTo>
                  <a:cubicBezTo>
                    <a:pt x="404" y="709"/>
                    <a:pt x="403" y="709"/>
                    <a:pt x="403" y="709"/>
                  </a:cubicBezTo>
                  <a:cubicBezTo>
                    <a:pt x="473" y="1028"/>
                    <a:pt x="474" y="1029"/>
                    <a:pt x="474" y="1029"/>
                  </a:cubicBezTo>
                  <a:cubicBezTo>
                    <a:pt x="474" y="1029"/>
                    <a:pt x="474" y="1028"/>
                    <a:pt x="474" y="1027"/>
                  </a:cubicBezTo>
                  <a:cubicBezTo>
                    <a:pt x="474" y="1027"/>
                    <a:pt x="473" y="1027"/>
                    <a:pt x="473" y="1028"/>
                  </a:cubicBezTo>
                  <a:cubicBezTo>
                    <a:pt x="438" y="967"/>
                    <a:pt x="438" y="965"/>
                    <a:pt x="439" y="963"/>
                  </a:cubicBezTo>
                  <a:cubicBezTo>
                    <a:pt x="432" y="949"/>
                    <a:pt x="427" y="934"/>
                    <a:pt x="422" y="918"/>
                  </a:cubicBezTo>
                  <a:cubicBezTo>
                    <a:pt x="422" y="918"/>
                    <a:pt x="422" y="918"/>
                    <a:pt x="422" y="917"/>
                  </a:cubicBezTo>
                  <a:cubicBezTo>
                    <a:pt x="422" y="917"/>
                    <a:pt x="422" y="917"/>
                    <a:pt x="422" y="917"/>
                  </a:cubicBezTo>
                  <a:cubicBezTo>
                    <a:pt x="417" y="899"/>
                    <a:pt x="414" y="881"/>
                    <a:pt x="412" y="862"/>
                  </a:cubicBezTo>
                  <a:cubicBezTo>
                    <a:pt x="410" y="861"/>
                    <a:pt x="408" y="861"/>
                    <a:pt x="405" y="861"/>
                  </a:cubicBezTo>
                  <a:cubicBezTo>
                    <a:pt x="406" y="868"/>
                    <a:pt x="407" y="875"/>
                    <a:pt x="408" y="882"/>
                  </a:cubicBezTo>
                  <a:cubicBezTo>
                    <a:pt x="413" y="882"/>
                    <a:pt x="413" y="882"/>
                    <a:pt x="413" y="882"/>
                  </a:cubicBezTo>
                  <a:cubicBezTo>
                    <a:pt x="414" y="884"/>
                    <a:pt x="413" y="887"/>
                    <a:pt x="410" y="888"/>
                  </a:cubicBezTo>
                  <a:cubicBezTo>
                    <a:pt x="410" y="887"/>
                    <a:pt x="409" y="887"/>
                    <a:pt x="409" y="886"/>
                  </a:cubicBezTo>
                  <a:cubicBezTo>
                    <a:pt x="409" y="886"/>
                    <a:pt x="409" y="886"/>
                    <a:pt x="409" y="886"/>
                  </a:cubicBezTo>
                  <a:cubicBezTo>
                    <a:pt x="409" y="887"/>
                    <a:pt x="409" y="887"/>
                    <a:pt x="409" y="888"/>
                  </a:cubicBezTo>
                  <a:cubicBezTo>
                    <a:pt x="410" y="888"/>
                    <a:pt x="410" y="889"/>
                    <a:pt x="410" y="889"/>
                  </a:cubicBezTo>
                  <a:cubicBezTo>
                    <a:pt x="412" y="890"/>
                    <a:pt x="413" y="892"/>
                    <a:pt x="413" y="894"/>
                  </a:cubicBezTo>
                  <a:cubicBezTo>
                    <a:pt x="414" y="896"/>
                    <a:pt x="415" y="898"/>
                    <a:pt x="416" y="900"/>
                  </a:cubicBezTo>
                  <a:cubicBezTo>
                    <a:pt x="412" y="900"/>
                    <a:pt x="412" y="900"/>
                    <a:pt x="412" y="900"/>
                  </a:cubicBezTo>
                  <a:cubicBezTo>
                    <a:pt x="411" y="900"/>
                    <a:pt x="411" y="900"/>
                    <a:pt x="411" y="900"/>
                  </a:cubicBezTo>
                  <a:cubicBezTo>
                    <a:pt x="416" y="923"/>
                    <a:pt x="424" y="946"/>
                    <a:pt x="435" y="968"/>
                  </a:cubicBezTo>
                  <a:cubicBezTo>
                    <a:pt x="436" y="968"/>
                    <a:pt x="437" y="968"/>
                    <a:pt x="437" y="968"/>
                  </a:cubicBezTo>
                  <a:cubicBezTo>
                    <a:pt x="406" y="739"/>
                    <a:pt x="406" y="739"/>
                    <a:pt x="406" y="739"/>
                  </a:cubicBezTo>
                  <a:cubicBezTo>
                    <a:pt x="410" y="730"/>
                    <a:pt x="414" y="720"/>
                    <a:pt x="420" y="711"/>
                  </a:cubicBezTo>
                  <a:cubicBezTo>
                    <a:pt x="418" y="710"/>
                    <a:pt x="417" y="710"/>
                    <a:pt x="415" y="709"/>
                  </a:cubicBezTo>
                  <a:cubicBezTo>
                    <a:pt x="415" y="708"/>
                    <a:pt x="415" y="707"/>
                    <a:pt x="415" y="706"/>
                  </a:cubicBezTo>
                  <a:cubicBezTo>
                    <a:pt x="415" y="707"/>
                    <a:pt x="414" y="707"/>
                    <a:pt x="414" y="707"/>
                  </a:cubicBezTo>
                  <a:cubicBezTo>
                    <a:pt x="412" y="711"/>
                    <a:pt x="409" y="715"/>
                    <a:pt x="407" y="720"/>
                  </a:cubicBezTo>
                  <a:cubicBezTo>
                    <a:pt x="407" y="720"/>
                    <a:pt x="408" y="720"/>
                    <a:pt x="408" y="720"/>
                  </a:cubicBezTo>
                  <a:cubicBezTo>
                    <a:pt x="408" y="721"/>
                    <a:pt x="408" y="721"/>
                    <a:pt x="407" y="721"/>
                  </a:cubicBezTo>
                  <a:cubicBezTo>
                    <a:pt x="408" y="721"/>
                    <a:pt x="410" y="722"/>
                    <a:pt x="410" y="722"/>
                  </a:cubicBezTo>
                  <a:cubicBezTo>
                    <a:pt x="410" y="722"/>
                    <a:pt x="410" y="722"/>
                    <a:pt x="410" y="722"/>
                  </a:cubicBezTo>
                  <a:cubicBezTo>
                    <a:pt x="406" y="722"/>
                    <a:pt x="406" y="722"/>
                    <a:pt x="406" y="722"/>
                  </a:cubicBezTo>
                  <a:cubicBezTo>
                    <a:pt x="403" y="728"/>
                    <a:pt x="401" y="733"/>
                    <a:pt x="398" y="739"/>
                  </a:cubicBezTo>
                  <a:cubicBezTo>
                    <a:pt x="789" y="643"/>
                    <a:pt x="790" y="642"/>
                    <a:pt x="791" y="642"/>
                  </a:cubicBezTo>
                  <a:cubicBezTo>
                    <a:pt x="790" y="642"/>
                    <a:pt x="789" y="641"/>
                    <a:pt x="787" y="640"/>
                  </a:cubicBezTo>
                  <a:cubicBezTo>
                    <a:pt x="787" y="641"/>
                    <a:pt x="788" y="642"/>
                    <a:pt x="788" y="644"/>
                  </a:cubicBezTo>
                  <a:cubicBezTo>
                    <a:pt x="788" y="644"/>
                    <a:pt x="788" y="644"/>
                    <a:pt x="788" y="644"/>
                  </a:cubicBezTo>
                  <a:cubicBezTo>
                    <a:pt x="847" y="744"/>
                    <a:pt x="845" y="740"/>
                    <a:pt x="846" y="739"/>
                  </a:cubicBezTo>
                  <a:cubicBezTo>
                    <a:pt x="844" y="739"/>
                    <a:pt x="844" y="741"/>
                    <a:pt x="844" y="743"/>
                  </a:cubicBezTo>
                  <a:cubicBezTo>
                    <a:pt x="484" y="636"/>
                    <a:pt x="484" y="636"/>
                    <a:pt x="484" y="636"/>
                  </a:cubicBezTo>
                  <a:cubicBezTo>
                    <a:pt x="486" y="637"/>
                    <a:pt x="487" y="638"/>
                    <a:pt x="488" y="639"/>
                  </a:cubicBezTo>
                  <a:cubicBezTo>
                    <a:pt x="490" y="638"/>
                    <a:pt x="493" y="636"/>
                    <a:pt x="495" y="635"/>
                  </a:cubicBezTo>
                  <a:cubicBezTo>
                    <a:pt x="494" y="634"/>
                    <a:pt x="493" y="633"/>
                    <a:pt x="492" y="633"/>
                  </a:cubicBezTo>
                  <a:cubicBezTo>
                    <a:pt x="492" y="633"/>
                    <a:pt x="492" y="632"/>
                    <a:pt x="492" y="632"/>
                  </a:cubicBezTo>
                  <a:cubicBezTo>
                    <a:pt x="500" y="632"/>
                    <a:pt x="500" y="632"/>
                    <a:pt x="500" y="632"/>
                  </a:cubicBezTo>
                  <a:cubicBezTo>
                    <a:pt x="512" y="625"/>
                    <a:pt x="525" y="619"/>
                    <a:pt x="537" y="614"/>
                  </a:cubicBezTo>
                  <a:cubicBezTo>
                    <a:pt x="537" y="613"/>
                    <a:pt x="537" y="613"/>
                    <a:pt x="537" y="613"/>
                  </a:cubicBezTo>
                  <a:cubicBezTo>
                    <a:pt x="537" y="613"/>
                    <a:pt x="536" y="613"/>
                    <a:pt x="535" y="613"/>
                  </a:cubicBezTo>
                  <a:cubicBezTo>
                    <a:pt x="535" y="613"/>
                    <a:pt x="535" y="612"/>
                    <a:pt x="535" y="612"/>
                  </a:cubicBezTo>
                  <a:cubicBezTo>
                    <a:pt x="534" y="612"/>
                    <a:pt x="532" y="611"/>
                    <a:pt x="531" y="611"/>
                  </a:cubicBezTo>
                  <a:cubicBezTo>
                    <a:pt x="531" y="610"/>
                    <a:pt x="531" y="610"/>
                    <a:pt x="531" y="610"/>
                  </a:cubicBezTo>
                  <a:cubicBezTo>
                    <a:pt x="514" y="616"/>
                    <a:pt x="499" y="624"/>
                    <a:pt x="484" y="634"/>
                  </a:cubicBezTo>
                  <a:cubicBezTo>
                    <a:pt x="484" y="635"/>
                    <a:pt x="484" y="636"/>
                    <a:pt x="483" y="636"/>
                  </a:cubicBezTo>
                  <a:cubicBezTo>
                    <a:pt x="786" y="1065"/>
                    <a:pt x="785" y="1067"/>
                    <a:pt x="784" y="1069"/>
                  </a:cubicBezTo>
                  <a:cubicBezTo>
                    <a:pt x="786" y="1069"/>
                    <a:pt x="788" y="1069"/>
                    <a:pt x="791" y="1069"/>
                  </a:cubicBezTo>
                  <a:cubicBezTo>
                    <a:pt x="791" y="1069"/>
                    <a:pt x="791" y="1069"/>
                    <a:pt x="791" y="1068"/>
                  </a:cubicBezTo>
                  <a:cubicBezTo>
                    <a:pt x="791" y="1069"/>
                    <a:pt x="790" y="1069"/>
                    <a:pt x="790" y="1069"/>
                  </a:cubicBezTo>
                  <a:cubicBezTo>
                    <a:pt x="786" y="1068"/>
                    <a:pt x="787" y="1065"/>
                    <a:pt x="786" y="1063"/>
                  </a:cubicBezTo>
                  <a:cubicBezTo>
                    <a:pt x="786" y="1063"/>
                    <a:pt x="786" y="1063"/>
                    <a:pt x="786" y="1063"/>
                  </a:cubicBezTo>
                  <a:cubicBezTo>
                    <a:pt x="786" y="1063"/>
                    <a:pt x="785" y="1063"/>
                    <a:pt x="785" y="1063"/>
                  </a:cubicBezTo>
                  <a:cubicBezTo>
                    <a:pt x="464" y="1007"/>
                    <a:pt x="464" y="1007"/>
                    <a:pt x="464" y="1007"/>
                  </a:cubicBezTo>
                  <a:cubicBezTo>
                    <a:pt x="464" y="1007"/>
                    <a:pt x="465" y="1007"/>
                    <a:pt x="465" y="1006"/>
                  </a:cubicBezTo>
                  <a:cubicBezTo>
                    <a:pt x="464" y="1006"/>
                    <a:pt x="464" y="1006"/>
                    <a:pt x="464" y="1006"/>
                  </a:cubicBezTo>
                  <a:cubicBezTo>
                    <a:pt x="464" y="1006"/>
                    <a:pt x="464" y="1006"/>
                    <a:pt x="464" y="1007"/>
                  </a:cubicBezTo>
                  <a:cubicBezTo>
                    <a:pt x="461" y="1007"/>
                    <a:pt x="461" y="1007"/>
                    <a:pt x="461" y="1007"/>
                  </a:cubicBezTo>
                  <a:cubicBezTo>
                    <a:pt x="461" y="1005"/>
                    <a:pt x="461" y="1004"/>
                    <a:pt x="459" y="1003"/>
                  </a:cubicBezTo>
                  <a:cubicBezTo>
                    <a:pt x="459" y="1004"/>
                    <a:pt x="458" y="1004"/>
                    <a:pt x="458" y="1005"/>
                  </a:cubicBezTo>
                  <a:cubicBezTo>
                    <a:pt x="459" y="1006"/>
                    <a:pt x="459" y="1006"/>
                    <a:pt x="460" y="1007"/>
                  </a:cubicBezTo>
                  <a:cubicBezTo>
                    <a:pt x="457" y="1007"/>
                    <a:pt x="457" y="1007"/>
                    <a:pt x="457" y="1007"/>
                  </a:cubicBezTo>
                  <a:cubicBezTo>
                    <a:pt x="462" y="1013"/>
                    <a:pt x="466" y="1019"/>
                    <a:pt x="471" y="1025"/>
                  </a:cubicBezTo>
                  <a:cubicBezTo>
                    <a:pt x="471" y="1025"/>
                    <a:pt x="471" y="1024"/>
                    <a:pt x="471" y="1024"/>
                  </a:cubicBezTo>
                  <a:cubicBezTo>
                    <a:pt x="472" y="1024"/>
                    <a:pt x="472" y="1024"/>
                    <a:pt x="472" y="1024"/>
                  </a:cubicBezTo>
                  <a:cubicBezTo>
                    <a:pt x="473" y="1024"/>
                    <a:pt x="473" y="1025"/>
                    <a:pt x="474" y="1025"/>
                  </a:cubicBezTo>
                  <a:cubicBezTo>
                    <a:pt x="474" y="1025"/>
                    <a:pt x="474" y="1024"/>
                    <a:pt x="474" y="1024"/>
                  </a:cubicBezTo>
                  <a:cubicBezTo>
                    <a:pt x="478" y="1024"/>
                    <a:pt x="478" y="1024"/>
                    <a:pt x="478" y="1024"/>
                  </a:cubicBezTo>
                  <a:cubicBezTo>
                    <a:pt x="474" y="1018"/>
                    <a:pt x="469" y="1013"/>
                    <a:pt x="465" y="1007"/>
                  </a:cubicBezTo>
                  <a:cubicBezTo>
                    <a:pt x="768" y="1066"/>
                    <a:pt x="771" y="1067"/>
                    <a:pt x="774" y="1067"/>
                  </a:cubicBezTo>
                  <a:cubicBezTo>
                    <a:pt x="775" y="1065"/>
                    <a:pt x="776" y="1063"/>
                    <a:pt x="777" y="1061"/>
                  </a:cubicBezTo>
                  <a:cubicBezTo>
                    <a:pt x="776" y="1061"/>
                    <a:pt x="775" y="1061"/>
                    <a:pt x="773" y="1061"/>
                  </a:cubicBezTo>
                  <a:cubicBezTo>
                    <a:pt x="772" y="1062"/>
                    <a:pt x="770" y="1061"/>
                    <a:pt x="768" y="1060"/>
                  </a:cubicBezTo>
                  <a:cubicBezTo>
                    <a:pt x="767" y="1059"/>
                    <a:pt x="767" y="1059"/>
                    <a:pt x="766" y="1059"/>
                  </a:cubicBezTo>
                  <a:cubicBezTo>
                    <a:pt x="766" y="1060"/>
                    <a:pt x="766" y="1061"/>
                    <a:pt x="767" y="1062"/>
                  </a:cubicBezTo>
                  <a:cubicBezTo>
                    <a:pt x="766" y="1061"/>
                    <a:pt x="766" y="1062"/>
                    <a:pt x="765" y="1062"/>
                  </a:cubicBezTo>
                  <a:cubicBezTo>
                    <a:pt x="766" y="1063"/>
                    <a:pt x="766" y="1064"/>
                    <a:pt x="764" y="1065"/>
                  </a:cubicBezTo>
                  <a:cubicBezTo>
                    <a:pt x="859" y="1056"/>
                    <a:pt x="859" y="1056"/>
                    <a:pt x="859" y="1056"/>
                  </a:cubicBezTo>
                  <a:cubicBezTo>
                    <a:pt x="858" y="1057"/>
                    <a:pt x="858" y="1059"/>
                    <a:pt x="857" y="1059"/>
                  </a:cubicBezTo>
                  <a:cubicBezTo>
                    <a:pt x="857" y="1059"/>
                    <a:pt x="857" y="1059"/>
                    <a:pt x="857" y="1059"/>
                  </a:cubicBezTo>
                  <a:cubicBezTo>
                    <a:pt x="857" y="1060"/>
                    <a:pt x="857" y="1062"/>
                    <a:pt x="857" y="1063"/>
                  </a:cubicBezTo>
                  <a:cubicBezTo>
                    <a:pt x="863" y="1061"/>
                    <a:pt x="870" y="1059"/>
                    <a:pt x="876" y="1057"/>
                  </a:cubicBezTo>
                  <a:cubicBezTo>
                    <a:pt x="875" y="1057"/>
                    <a:pt x="875" y="1057"/>
                    <a:pt x="875" y="1056"/>
                  </a:cubicBezTo>
                  <a:cubicBezTo>
                    <a:pt x="880" y="1056"/>
                    <a:pt x="880" y="1056"/>
                    <a:pt x="880" y="1056"/>
                  </a:cubicBezTo>
                  <a:cubicBezTo>
                    <a:pt x="880" y="1056"/>
                    <a:pt x="881" y="1056"/>
                    <a:pt x="881" y="1056"/>
                  </a:cubicBezTo>
                  <a:cubicBezTo>
                    <a:pt x="896" y="1051"/>
                    <a:pt x="911" y="1045"/>
                    <a:pt x="925" y="1038"/>
                  </a:cubicBezTo>
                  <a:cubicBezTo>
                    <a:pt x="909" y="1039"/>
                    <a:pt x="909" y="1039"/>
                    <a:pt x="909" y="1039"/>
                  </a:cubicBezTo>
                  <a:cubicBezTo>
                    <a:pt x="892" y="1046"/>
                    <a:pt x="875" y="1052"/>
                    <a:pt x="858" y="1056"/>
                  </a:cubicBezTo>
                  <a:cubicBezTo>
                    <a:pt x="394" y="434"/>
                    <a:pt x="395" y="434"/>
                    <a:pt x="396" y="433"/>
                  </a:cubicBezTo>
                  <a:cubicBezTo>
                    <a:pt x="395" y="433"/>
                    <a:pt x="394" y="432"/>
                    <a:pt x="394" y="432"/>
                  </a:cubicBezTo>
                  <a:cubicBezTo>
                    <a:pt x="394" y="433"/>
                    <a:pt x="394" y="434"/>
                    <a:pt x="394" y="434"/>
                  </a:cubicBezTo>
                  <a:cubicBezTo>
                    <a:pt x="546" y="1061"/>
                    <a:pt x="548" y="1063"/>
                    <a:pt x="550" y="1064"/>
                  </a:cubicBezTo>
                  <a:cubicBezTo>
                    <a:pt x="550" y="1062"/>
                    <a:pt x="548" y="1060"/>
                    <a:pt x="543" y="1059"/>
                  </a:cubicBezTo>
                  <a:cubicBezTo>
                    <a:pt x="543" y="1059"/>
                    <a:pt x="543" y="1059"/>
                    <a:pt x="544" y="1059"/>
                  </a:cubicBezTo>
                  <a:cubicBezTo>
                    <a:pt x="565" y="1067"/>
                    <a:pt x="564" y="1067"/>
                    <a:pt x="563" y="1066"/>
                  </a:cubicBezTo>
                  <a:cubicBezTo>
                    <a:pt x="562" y="1067"/>
                    <a:pt x="561" y="1067"/>
                    <a:pt x="560" y="1068"/>
                  </a:cubicBezTo>
                  <a:cubicBezTo>
                    <a:pt x="561" y="1068"/>
                    <a:pt x="561" y="1068"/>
                    <a:pt x="562" y="1068"/>
                  </a:cubicBezTo>
                  <a:cubicBezTo>
                    <a:pt x="562" y="1068"/>
                    <a:pt x="562" y="1069"/>
                    <a:pt x="562" y="1069"/>
                  </a:cubicBezTo>
                  <a:cubicBezTo>
                    <a:pt x="563" y="1069"/>
                    <a:pt x="564" y="1068"/>
                    <a:pt x="566" y="1068"/>
                  </a:cubicBezTo>
                  <a:cubicBezTo>
                    <a:pt x="773" y="742"/>
                    <a:pt x="773" y="741"/>
                    <a:pt x="772" y="740"/>
                  </a:cubicBezTo>
                  <a:cubicBezTo>
                    <a:pt x="774" y="740"/>
                    <a:pt x="774" y="741"/>
                    <a:pt x="776" y="741"/>
                  </a:cubicBezTo>
                  <a:cubicBezTo>
                    <a:pt x="776" y="741"/>
                    <a:pt x="776" y="741"/>
                    <a:pt x="776" y="741"/>
                  </a:cubicBezTo>
                  <a:cubicBezTo>
                    <a:pt x="776" y="740"/>
                    <a:pt x="776" y="739"/>
                    <a:pt x="776" y="738"/>
                  </a:cubicBezTo>
                  <a:cubicBezTo>
                    <a:pt x="775" y="738"/>
                    <a:pt x="774" y="737"/>
                    <a:pt x="774" y="737"/>
                  </a:cubicBezTo>
                  <a:cubicBezTo>
                    <a:pt x="774" y="737"/>
                    <a:pt x="774" y="738"/>
                    <a:pt x="774" y="738"/>
                  </a:cubicBezTo>
                  <a:cubicBezTo>
                    <a:pt x="772" y="739"/>
                    <a:pt x="771" y="740"/>
                    <a:pt x="768" y="740"/>
                  </a:cubicBezTo>
                  <a:cubicBezTo>
                    <a:pt x="768" y="740"/>
                    <a:pt x="767" y="740"/>
                    <a:pt x="767" y="741"/>
                  </a:cubicBezTo>
                  <a:cubicBezTo>
                    <a:pt x="768" y="740"/>
                    <a:pt x="768" y="740"/>
                    <a:pt x="768" y="740"/>
                  </a:cubicBezTo>
                  <a:cubicBezTo>
                    <a:pt x="770" y="741"/>
                    <a:pt x="772" y="741"/>
                    <a:pt x="773" y="742"/>
                  </a:cubicBezTo>
                  <a:cubicBezTo>
                    <a:pt x="259" y="426"/>
                    <a:pt x="256" y="428"/>
                    <a:pt x="254" y="429"/>
                  </a:cubicBezTo>
                  <a:cubicBezTo>
                    <a:pt x="258" y="428"/>
                    <a:pt x="261" y="429"/>
                    <a:pt x="264" y="432"/>
                  </a:cubicBezTo>
                  <a:cubicBezTo>
                    <a:pt x="265" y="431"/>
                    <a:pt x="266" y="430"/>
                    <a:pt x="268" y="429"/>
                  </a:cubicBezTo>
                  <a:cubicBezTo>
                    <a:pt x="267" y="429"/>
                    <a:pt x="266" y="429"/>
                    <a:pt x="265" y="429"/>
                  </a:cubicBezTo>
                  <a:cubicBezTo>
                    <a:pt x="265" y="427"/>
                    <a:pt x="264" y="425"/>
                    <a:pt x="261" y="424"/>
                  </a:cubicBezTo>
                  <a:cubicBezTo>
                    <a:pt x="240" y="449"/>
                    <a:pt x="248" y="444"/>
                    <a:pt x="255" y="438"/>
                  </a:cubicBezTo>
                  <a:cubicBezTo>
                    <a:pt x="249" y="438"/>
                    <a:pt x="249" y="438"/>
                    <a:pt x="249" y="438"/>
                  </a:cubicBezTo>
                  <a:cubicBezTo>
                    <a:pt x="249" y="436"/>
                    <a:pt x="248" y="435"/>
                    <a:pt x="249" y="433"/>
                  </a:cubicBezTo>
                  <a:cubicBezTo>
                    <a:pt x="248" y="433"/>
                    <a:pt x="247" y="434"/>
                    <a:pt x="246" y="435"/>
                  </a:cubicBezTo>
                  <a:cubicBezTo>
                    <a:pt x="246" y="436"/>
                    <a:pt x="246" y="436"/>
                    <a:pt x="247" y="437"/>
                  </a:cubicBezTo>
                  <a:cubicBezTo>
                    <a:pt x="246" y="437"/>
                    <a:pt x="246" y="438"/>
                    <a:pt x="245" y="438"/>
                  </a:cubicBezTo>
                  <a:cubicBezTo>
                    <a:pt x="242" y="438"/>
                    <a:pt x="242" y="438"/>
                    <a:pt x="242" y="438"/>
                  </a:cubicBezTo>
                  <a:cubicBezTo>
                    <a:pt x="235" y="444"/>
                    <a:pt x="227" y="450"/>
                    <a:pt x="221" y="456"/>
                  </a:cubicBezTo>
                  <a:cubicBezTo>
                    <a:pt x="31" y="678"/>
                    <a:pt x="30" y="679"/>
                    <a:pt x="29" y="680"/>
                  </a:cubicBezTo>
                  <a:cubicBezTo>
                    <a:pt x="29" y="680"/>
                    <a:pt x="29" y="680"/>
                    <a:pt x="29" y="680"/>
                  </a:cubicBezTo>
                  <a:cubicBezTo>
                    <a:pt x="29" y="682"/>
                    <a:pt x="30" y="683"/>
                    <a:pt x="31" y="684"/>
                  </a:cubicBezTo>
                  <a:cubicBezTo>
                    <a:pt x="32" y="682"/>
                    <a:pt x="32" y="680"/>
                    <a:pt x="32" y="677"/>
                  </a:cubicBezTo>
                  <a:cubicBezTo>
                    <a:pt x="271" y="427"/>
                    <a:pt x="271" y="427"/>
                    <a:pt x="272" y="427"/>
                  </a:cubicBezTo>
                  <a:cubicBezTo>
                    <a:pt x="271" y="427"/>
                    <a:pt x="271" y="427"/>
                    <a:pt x="271" y="427"/>
                  </a:cubicBezTo>
                  <a:cubicBezTo>
                    <a:pt x="271" y="427"/>
                    <a:pt x="271" y="427"/>
                    <a:pt x="271" y="428"/>
                  </a:cubicBezTo>
                  <a:cubicBezTo>
                    <a:pt x="449" y="388"/>
                    <a:pt x="449" y="388"/>
                    <a:pt x="450" y="388"/>
                  </a:cubicBezTo>
                  <a:cubicBezTo>
                    <a:pt x="449" y="388"/>
                    <a:pt x="450" y="388"/>
                    <a:pt x="450" y="387"/>
                  </a:cubicBezTo>
                  <a:cubicBezTo>
                    <a:pt x="449" y="388"/>
                    <a:pt x="449" y="388"/>
                    <a:pt x="449" y="388"/>
                  </a:cubicBezTo>
                  <a:cubicBezTo>
                    <a:pt x="316" y="424"/>
                    <a:pt x="317" y="423"/>
                    <a:pt x="317" y="422"/>
                  </a:cubicBezTo>
                  <a:cubicBezTo>
                    <a:pt x="317" y="423"/>
                    <a:pt x="316" y="423"/>
                    <a:pt x="315" y="423"/>
                  </a:cubicBezTo>
                  <a:cubicBezTo>
                    <a:pt x="316" y="424"/>
                    <a:pt x="316" y="424"/>
                    <a:pt x="316" y="425"/>
                  </a:cubicBezTo>
                  <a:cubicBezTo>
                    <a:pt x="283" y="449"/>
                    <a:pt x="291" y="444"/>
                    <a:pt x="300" y="439"/>
                  </a:cubicBezTo>
                  <a:cubicBezTo>
                    <a:pt x="305" y="435"/>
                    <a:pt x="310" y="432"/>
                    <a:pt x="315" y="430"/>
                  </a:cubicBezTo>
                  <a:cubicBezTo>
                    <a:pt x="315" y="429"/>
                    <a:pt x="315" y="428"/>
                    <a:pt x="314" y="427"/>
                  </a:cubicBezTo>
                  <a:cubicBezTo>
                    <a:pt x="314" y="428"/>
                    <a:pt x="314" y="430"/>
                    <a:pt x="312" y="429"/>
                  </a:cubicBezTo>
                  <a:cubicBezTo>
                    <a:pt x="312" y="428"/>
                    <a:pt x="311" y="427"/>
                    <a:pt x="310" y="426"/>
                  </a:cubicBezTo>
                  <a:cubicBezTo>
                    <a:pt x="295" y="433"/>
                    <a:pt x="280" y="443"/>
                    <a:pt x="266" y="453"/>
                  </a:cubicBezTo>
                  <a:cubicBezTo>
                    <a:pt x="265" y="454"/>
                    <a:pt x="264" y="455"/>
                    <a:pt x="263" y="455"/>
                  </a:cubicBezTo>
                  <a:cubicBezTo>
                    <a:pt x="64" y="683"/>
                    <a:pt x="65" y="681"/>
                    <a:pt x="68" y="680"/>
                  </a:cubicBezTo>
                  <a:cubicBezTo>
                    <a:pt x="67" y="679"/>
                    <a:pt x="67" y="677"/>
                    <a:pt x="67" y="676"/>
                  </a:cubicBezTo>
                  <a:cubicBezTo>
                    <a:pt x="65" y="679"/>
                    <a:pt x="64" y="682"/>
                    <a:pt x="63" y="685"/>
                  </a:cubicBezTo>
                  <a:cubicBezTo>
                    <a:pt x="63" y="686"/>
                    <a:pt x="64" y="686"/>
                    <a:pt x="65" y="687"/>
                  </a:cubicBezTo>
                  <a:cubicBezTo>
                    <a:pt x="33" y="501"/>
                    <a:pt x="34" y="500"/>
                    <a:pt x="34" y="499"/>
                  </a:cubicBezTo>
                  <a:cubicBezTo>
                    <a:pt x="34" y="499"/>
                    <a:pt x="34" y="498"/>
                    <a:pt x="34" y="497"/>
                  </a:cubicBezTo>
                  <a:cubicBezTo>
                    <a:pt x="34" y="498"/>
                    <a:pt x="33" y="499"/>
                    <a:pt x="32" y="500"/>
                  </a:cubicBezTo>
                  <a:cubicBezTo>
                    <a:pt x="33" y="500"/>
                    <a:pt x="33" y="501"/>
                    <a:pt x="33" y="502"/>
                  </a:cubicBezTo>
                  <a:cubicBezTo>
                    <a:pt x="843" y="744"/>
                    <a:pt x="842" y="744"/>
                    <a:pt x="842" y="745"/>
                  </a:cubicBezTo>
                  <a:cubicBezTo>
                    <a:pt x="842" y="745"/>
                    <a:pt x="843" y="745"/>
                    <a:pt x="843" y="745"/>
                  </a:cubicBezTo>
                  <a:cubicBezTo>
                    <a:pt x="190" y="670"/>
                    <a:pt x="190" y="670"/>
                    <a:pt x="190" y="670"/>
                  </a:cubicBezTo>
                  <a:cubicBezTo>
                    <a:pt x="193" y="665"/>
                    <a:pt x="195" y="661"/>
                    <a:pt x="198" y="657"/>
                  </a:cubicBezTo>
                  <a:cubicBezTo>
                    <a:pt x="199" y="653"/>
                    <a:pt x="201" y="650"/>
                    <a:pt x="203" y="647"/>
                  </a:cubicBezTo>
                  <a:cubicBezTo>
                    <a:pt x="202" y="645"/>
                    <a:pt x="202" y="643"/>
                    <a:pt x="203" y="641"/>
                  </a:cubicBezTo>
                  <a:cubicBezTo>
                    <a:pt x="204" y="641"/>
                    <a:pt x="205" y="641"/>
                    <a:pt x="206" y="642"/>
                  </a:cubicBezTo>
                  <a:cubicBezTo>
                    <a:pt x="208" y="639"/>
                    <a:pt x="209" y="637"/>
                    <a:pt x="211" y="634"/>
                  </a:cubicBezTo>
                  <a:cubicBezTo>
                    <a:pt x="210" y="634"/>
                    <a:pt x="210" y="634"/>
                    <a:pt x="209" y="634"/>
                  </a:cubicBezTo>
                  <a:cubicBezTo>
                    <a:pt x="209" y="634"/>
                    <a:pt x="209" y="634"/>
                    <a:pt x="209" y="634"/>
                  </a:cubicBezTo>
                  <a:cubicBezTo>
                    <a:pt x="208" y="634"/>
                    <a:pt x="206" y="634"/>
                    <a:pt x="205" y="634"/>
                  </a:cubicBezTo>
                  <a:cubicBezTo>
                    <a:pt x="211" y="634"/>
                    <a:pt x="211" y="634"/>
                    <a:pt x="211" y="634"/>
                  </a:cubicBezTo>
                  <a:cubicBezTo>
                    <a:pt x="216" y="627"/>
                    <a:pt x="220" y="619"/>
                    <a:pt x="225" y="612"/>
                  </a:cubicBezTo>
                  <a:cubicBezTo>
                    <a:pt x="223" y="612"/>
                    <a:pt x="222" y="611"/>
                    <a:pt x="221" y="610"/>
                  </a:cubicBezTo>
                  <a:cubicBezTo>
                    <a:pt x="221" y="609"/>
                    <a:pt x="222" y="608"/>
                    <a:pt x="223" y="608"/>
                  </a:cubicBezTo>
                  <a:cubicBezTo>
                    <a:pt x="222" y="607"/>
                    <a:pt x="221" y="606"/>
                    <a:pt x="221" y="605"/>
                  </a:cubicBezTo>
                  <a:cubicBezTo>
                    <a:pt x="219" y="606"/>
                    <a:pt x="218" y="608"/>
                    <a:pt x="217" y="610"/>
                  </a:cubicBezTo>
                  <a:cubicBezTo>
                    <a:pt x="217" y="610"/>
                    <a:pt x="217" y="609"/>
                    <a:pt x="218" y="609"/>
                  </a:cubicBezTo>
                  <a:cubicBezTo>
                    <a:pt x="219" y="612"/>
                    <a:pt x="219" y="614"/>
                    <a:pt x="219" y="617"/>
                  </a:cubicBezTo>
                  <a:cubicBezTo>
                    <a:pt x="213" y="617"/>
                    <a:pt x="213" y="617"/>
                    <a:pt x="213" y="617"/>
                  </a:cubicBezTo>
                  <a:cubicBezTo>
                    <a:pt x="201" y="634"/>
                    <a:pt x="191" y="653"/>
                    <a:pt x="181" y="671"/>
                  </a:cubicBezTo>
                  <a:cubicBezTo>
                    <a:pt x="181" y="671"/>
                    <a:pt x="182" y="671"/>
                    <a:pt x="182" y="672"/>
                  </a:cubicBezTo>
                  <a:cubicBezTo>
                    <a:pt x="182" y="674"/>
                    <a:pt x="181" y="676"/>
                    <a:pt x="179" y="677"/>
                  </a:cubicBezTo>
                  <a:cubicBezTo>
                    <a:pt x="179" y="677"/>
                    <a:pt x="178" y="676"/>
                    <a:pt x="178" y="676"/>
                  </a:cubicBezTo>
                  <a:cubicBezTo>
                    <a:pt x="177" y="678"/>
                    <a:pt x="176" y="681"/>
                    <a:pt x="174" y="683"/>
                  </a:cubicBezTo>
                  <a:cubicBezTo>
                    <a:pt x="176" y="683"/>
                    <a:pt x="179" y="683"/>
                    <a:pt x="181" y="683"/>
                  </a:cubicBezTo>
                  <a:cubicBezTo>
                    <a:pt x="181" y="685"/>
                    <a:pt x="180" y="687"/>
                    <a:pt x="179" y="688"/>
                  </a:cubicBezTo>
                  <a:cubicBezTo>
                    <a:pt x="177" y="687"/>
                    <a:pt x="174" y="687"/>
                    <a:pt x="174" y="683"/>
                  </a:cubicBezTo>
                  <a:cubicBezTo>
                    <a:pt x="169" y="693"/>
                    <a:pt x="164" y="703"/>
                    <a:pt x="159" y="713"/>
                  </a:cubicBezTo>
                  <a:cubicBezTo>
                    <a:pt x="159" y="713"/>
                    <a:pt x="160" y="713"/>
                    <a:pt x="160" y="713"/>
                  </a:cubicBezTo>
                  <a:cubicBezTo>
                    <a:pt x="163" y="713"/>
                    <a:pt x="164" y="715"/>
                    <a:pt x="165" y="716"/>
                  </a:cubicBezTo>
                  <a:cubicBezTo>
                    <a:pt x="173" y="701"/>
                    <a:pt x="181" y="686"/>
                    <a:pt x="190" y="671"/>
                  </a:cubicBezTo>
                  <a:cubicBezTo>
                    <a:pt x="189" y="670"/>
                    <a:pt x="189" y="670"/>
                    <a:pt x="188" y="670"/>
                  </a:cubicBezTo>
                  <a:cubicBezTo>
                    <a:pt x="53" y="522"/>
                    <a:pt x="58" y="515"/>
                    <a:pt x="64" y="509"/>
                  </a:cubicBezTo>
                  <a:cubicBezTo>
                    <a:pt x="63" y="508"/>
                    <a:pt x="61" y="507"/>
                    <a:pt x="60" y="507"/>
                  </a:cubicBezTo>
                  <a:cubicBezTo>
                    <a:pt x="61" y="505"/>
                    <a:pt x="61" y="504"/>
                    <a:pt x="61" y="502"/>
                  </a:cubicBezTo>
                  <a:cubicBezTo>
                    <a:pt x="60" y="503"/>
                    <a:pt x="59" y="504"/>
                    <a:pt x="59" y="505"/>
                  </a:cubicBezTo>
                  <a:cubicBezTo>
                    <a:pt x="60" y="506"/>
                    <a:pt x="61" y="509"/>
                    <a:pt x="62" y="511"/>
                  </a:cubicBezTo>
                  <a:cubicBezTo>
                    <a:pt x="54" y="511"/>
                    <a:pt x="54" y="511"/>
                    <a:pt x="54" y="511"/>
                  </a:cubicBezTo>
                  <a:cubicBezTo>
                    <a:pt x="54" y="511"/>
                    <a:pt x="54" y="511"/>
                    <a:pt x="54" y="511"/>
                  </a:cubicBezTo>
                  <a:cubicBezTo>
                    <a:pt x="49" y="517"/>
                    <a:pt x="45" y="523"/>
                    <a:pt x="41" y="529"/>
                  </a:cubicBezTo>
                  <a:cubicBezTo>
                    <a:pt x="47" y="582"/>
                    <a:pt x="47" y="582"/>
                    <a:pt x="47" y="582"/>
                  </a:cubicBezTo>
                  <a:cubicBezTo>
                    <a:pt x="43" y="588"/>
                    <a:pt x="39" y="594"/>
                    <a:pt x="36" y="600"/>
                  </a:cubicBezTo>
                  <a:cubicBezTo>
                    <a:pt x="43" y="600"/>
                    <a:pt x="43" y="600"/>
                    <a:pt x="43" y="600"/>
                  </a:cubicBezTo>
                  <a:cubicBezTo>
                    <a:pt x="49" y="591"/>
                    <a:pt x="54" y="583"/>
                    <a:pt x="60" y="575"/>
                  </a:cubicBezTo>
                  <a:cubicBezTo>
                    <a:pt x="59" y="575"/>
                    <a:pt x="59" y="575"/>
                    <a:pt x="59" y="575"/>
                  </a:cubicBezTo>
                  <a:cubicBezTo>
                    <a:pt x="57" y="574"/>
                    <a:pt x="59" y="571"/>
                    <a:pt x="57" y="570"/>
                  </a:cubicBezTo>
                  <a:cubicBezTo>
                    <a:pt x="59" y="576"/>
                    <a:pt x="53" y="574"/>
                    <a:pt x="51" y="576"/>
                  </a:cubicBezTo>
                  <a:cubicBezTo>
                    <a:pt x="53" y="578"/>
                    <a:pt x="52" y="580"/>
                    <a:pt x="50" y="582"/>
                  </a:cubicBezTo>
                  <a:cubicBezTo>
                    <a:pt x="187" y="456"/>
                    <a:pt x="187" y="456"/>
                    <a:pt x="187" y="456"/>
                  </a:cubicBezTo>
                  <a:cubicBezTo>
                    <a:pt x="194" y="450"/>
                    <a:pt x="200" y="444"/>
                    <a:pt x="207" y="438"/>
                  </a:cubicBezTo>
                  <a:cubicBezTo>
                    <a:pt x="197" y="439"/>
                    <a:pt x="197" y="439"/>
                    <a:pt x="197" y="439"/>
                  </a:cubicBezTo>
                  <a:cubicBezTo>
                    <a:pt x="194" y="440"/>
                    <a:pt x="192" y="442"/>
                    <a:pt x="190" y="444"/>
                  </a:cubicBezTo>
                  <a:cubicBezTo>
                    <a:pt x="186" y="448"/>
                    <a:pt x="181" y="452"/>
                    <a:pt x="177" y="456"/>
                  </a:cubicBezTo>
                  <a:cubicBezTo>
                    <a:pt x="35" y="507"/>
                    <a:pt x="35" y="507"/>
                    <a:pt x="35" y="507"/>
                  </a:cubicBezTo>
                  <a:cubicBezTo>
                    <a:pt x="34" y="505"/>
                    <a:pt x="34" y="504"/>
                    <a:pt x="34" y="502"/>
                  </a:cubicBezTo>
                  <a:cubicBezTo>
                    <a:pt x="34" y="502"/>
                    <a:pt x="33" y="502"/>
                    <a:pt x="33" y="502"/>
                  </a:cubicBezTo>
                  <a:cubicBezTo>
                    <a:pt x="33" y="503"/>
                    <a:pt x="32" y="505"/>
                    <a:pt x="32" y="507"/>
                  </a:cubicBezTo>
                  <a:cubicBezTo>
                    <a:pt x="32" y="507"/>
                    <a:pt x="33" y="508"/>
                    <a:pt x="34" y="508"/>
                  </a:cubicBezTo>
                  <a:cubicBezTo>
                    <a:pt x="766" y="418"/>
                    <a:pt x="762" y="417"/>
                    <a:pt x="758" y="416"/>
                  </a:cubicBezTo>
                  <a:cubicBezTo>
                    <a:pt x="758" y="418"/>
                    <a:pt x="758" y="420"/>
                    <a:pt x="758" y="422"/>
                  </a:cubicBezTo>
                  <a:cubicBezTo>
                    <a:pt x="760" y="423"/>
                    <a:pt x="762" y="424"/>
                    <a:pt x="765" y="424"/>
                  </a:cubicBezTo>
                  <a:cubicBezTo>
                    <a:pt x="765" y="424"/>
                    <a:pt x="765" y="423"/>
                    <a:pt x="765" y="423"/>
                  </a:cubicBezTo>
                  <a:cubicBezTo>
                    <a:pt x="765" y="423"/>
                    <a:pt x="764" y="422"/>
                    <a:pt x="764" y="422"/>
                  </a:cubicBezTo>
                  <a:cubicBezTo>
                    <a:pt x="764" y="421"/>
                    <a:pt x="764" y="421"/>
                    <a:pt x="763" y="420"/>
                  </a:cubicBezTo>
                  <a:cubicBezTo>
                    <a:pt x="765" y="419"/>
                    <a:pt x="767" y="418"/>
                    <a:pt x="768" y="419"/>
                  </a:cubicBezTo>
                  <a:cubicBezTo>
                    <a:pt x="769" y="419"/>
                    <a:pt x="769" y="419"/>
                    <a:pt x="769" y="419"/>
                  </a:cubicBezTo>
                  <a:cubicBezTo>
                    <a:pt x="136" y="689"/>
                    <a:pt x="136" y="689"/>
                    <a:pt x="136" y="689"/>
                  </a:cubicBezTo>
                  <a:cubicBezTo>
                    <a:pt x="136" y="688"/>
                    <a:pt x="135" y="688"/>
                    <a:pt x="134" y="688"/>
                  </a:cubicBezTo>
                  <a:cubicBezTo>
                    <a:pt x="131" y="695"/>
                    <a:pt x="127" y="702"/>
                    <a:pt x="124" y="709"/>
                  </a:cubicBezTo>
                  <a:cubicBezTo>
                    <a:pt x="124" y="710"/>
                    <a:pt x="123" y="711"/>
                    <a:pt x="123" y="711"/>
                  </a:cubicBezTo>
                  <a:cubicBezTo>
                    <a:pt x="123" y="711"/>
                    <a:pt x="123" y="711"/>
                    <a:pt x="123" y="711"/>
                  </a:cubicBezTo>
                  <a:cubicBezTo>
                    <a:pt x="122" y="713"/>
                    <a:pt x="121" y="715"/>
                    <a:pt x="120" y="717"/>
                  </a:cubicBezTo>
                  <a:cubicBezTo>
                    <a:pt x="121" y="718"/>
                    <a:pt x="122" y="718"/>
                    <a:pt x="123" y="719"/>
                  </a:cubicBezTo>
                  <a:cubicBezTo>
                    <a:pt x="123" y="718"/>
                    <a:pt x="124" y="718"/>
                    <a:pt x="124" y="718"/>
                  </a:cubicBezTo>
                  <a:cubicBezTo>
                    <a:pt x="124" y="718"/>
                    <a:pt x="123" y="718"/>
                    <a:pt x="123" y="718"/>
                  </a:cubicBezTo>
                  <a:cubicBezTo>
                    <a:pt x="120" y="717"/>
                    <a:pt x="122" y="712"/>
                    <a:pt x="124" y="711"/>
                  </a:cubicBezTo>
                  <a:cubicBezTo>
                    <a:pt x="125" y="711"/>
                    <a:pt x="126" y="711"/>
                    <a:pt x="127" y="711"/>
                  </a:cubicBezTo>
                  <a:cubicBezTo>
                    <a:pt x="127" y="712"/>
                    <a:pt x="127" y="716"/>
                    <a:pt x="126" y="717"/>
                  </a:cubicBezTo>
                  <a:cubicBezTo>
                    <a:pt x="129" y="716"/>
                    <a:pt x="131" y="714"/>
                    <a:pt x="129" y="710"/>
                  </a:cubicBezTo>
                  <a:cubicBezTo>
                    <a:pt x="129" y="709"/>
                    <a:pt x="131" y="709"/>
                    <a:pt x="132" y="709"/>
                  </a:cubicBezTo>
                  <a:cubicBezTo>
                    <a:pt x="133" y="708"/>
                    <a:pt x="133" y="707"/>
                    <a:pt x="134" y="707"/>
                  </a:cubicBezTo>
                  <a:cubicBezTo>
                    <a:pt x="132" y="707"/>
                    <a:pt x="130" y="707"/>
                    <a:pt x="129" y="706"/>
                  </a:cubicBezTo>
                  <a:cubicBezTo>
                    <a:pt x="134" y="706"/>
                    <a:pt x="134" y="706"/>
                    <a:pt x="134" y="706"/>
                  </a:cubicBezTo>
                  <a:cubicBezTo>
                    <a:pt x="137" y="700"/>
                    <a:pt x="140" y="694"/>
                    <a:pt x="142" y="689"/>
                  </a:cubicBezTo>
                  <a:cubicBezTo>
                    <a:pt x="871" y="751"/>
                    <a:pt x="873" y="752"/>
                    <a:pt x="874" y="752"/>
                  </a:cubicBezTo>
                  <a:cubicBezTo>
                    <a:pt x="873" y="751"/>
                    <a:pt x="872" y="750"/>
                    <a:pt x="871" y="749"/>
                  </a:cubicBezTo>
                  <a:cubicBezTo>
                    <a:pt x="871" y="750"/>
                    <a:pt x="871" y="751"/>
                    <a:pt x="870" y="751"/>
                  </a:cubicBezTo>
                  <a:cubicBezTo>
                    <a:pt x="944" y="764"/>
                    <a:pt x="945" y="758"/>
                    <a:pt x="940" y="757"/>
                  </a:cubicBezTo>
                  <a:cubicBezTo>
                    <a:pt x="933" y="756"/>
                    <a:pt x="925" y="755"/>
                    <a:pt x="917" y="753"/>
                  </a:cubicBezTo>
                  <a:cubicBezTo>
                    <a:pt x="910" y="753"/>
                    <a:pt x="910" y="753"/>
                    <a:pt x="910" y="753"/>
                  </a:cubicBezTo>
                  <a:cubicBezTo>
                    <a:pt x="910" y="753"/>
                    <a:pt x="910" y="752"/>
                    <a:pt x="910" y="752"/>
                  </a:cubicBezTo>
                  <a:cubicBezTo>
                    <a:pt x="896" y="749"/>
                    <a:pt x="882" y="747"/>
                    <a:pt x="868" y="744"/>
                  </a:cubicBezTo>
                  <a:cubicBezTo>
                    <a:pt x="874" y="747"/>
                    <a:pt x="883" y="748"/>
                    <a:pt x="887" y="753"/>
                  </a:cubicBezTo>
                  <a:cubicBezTo>
                    <a:pt x="882" y="754"/>
                    <a:pt x="882" y="754"/>
                    <a:pt x="882" y="754"/>
                  </a:cubicBezTo>
                  <a:cubicBezTo>
                    <a:pt x="901" y="757"/>
                    <a:pt x="920" y="761"/>
                    <a:pt x="939" y="764"/>
                  </a:cubicBezTo>
                  <a:cubicBezTo>
                    <a:pt x="860" y="747"/>
                    <a:pt x="859" y="744"/>
                    <a:pt x="856" y="745"/>
                  </a:cubicBezTo>
                  <a:cubicBezTo>
                    <a:pt x="856" y="746"/>
                    <a:pt x="856" y="747"/>
                    <a:pt x="855" y="748"/>
                  </a:cubicBezTo>
                  <a:cubicBezTo>
                    <a:pt x="859" y="749"/>
                    <a:pt x="864" y="750"/>
                    <a:pt x="868" y="751"/>
                  </a:cubicBezTo>
                  <a:cubicBezTo>
                    <a:pt x="867" y="750"/>
                    <a:pt x="867" y="749"/>
                    <a:pt x="867" y="747"/>
                  </a:cubicBezTo>
                  <a:cubicBezTo>
                    <a:pt x="864" y="747"/>
                    <a:pt x="862" y="747"/>
                    <a:pt x="861" y="749"/>
                  </a:cubicBezTo>
                  <a:cubicBezTo>
                    <a:pt x="1087" y="746"/>
                    <a:pt x="1086" y="744"/>
                    <a:pt x="1080" y="746"/>
                  </a:cubicBezTo>
                  <a:cubicBezTo>
                    <a:pt x="1080" y="746"/>
                    <a:pt x="1080" y="746"/>
                    <a:pt x="1080" y="745"/>
                  </a:cubicBezTo>
                  <a:cubicBezTo>
                    <a:pt x="1078" y="746"/>
                    <a:pt x="1076" y="747"/>
                    <a:pt x="1074" y="748"/>
                  </a:cubicBezTo>
                  <a:cubicBezTo>
                    <a:pt x="1076" y="748"/>
                    <a:pt x="1078" y="748"/>
                    <a:pt x="1079" y="749"/>
                  </a:cubicBezTo>
                  <a:cubicBezTo>
                    <a:pt x="1079" y="750"/>
                    <a:pt x="1079" y="751"/>
                    <a:pt x="1079" y="752"/>
                  </a:cubicBezTo>
                  <a:cubicBezTo>
                    <a:pt x="1063" y="752"/>
                    <a:pt x="1063" y="752"/>
                    <a:pt x="1063" y="752"/>
                  </a:cubicBezTo>
                  <a:cubicBezTo>
                    <a:pt x="1062" y="752"/>
                    <a:pt x="1062" y="752"/>
                    <a:pt x="1062" y="751"/>
                  </a:cubicBezTo>
                  <a:cubicBezTo>
                    <a:pt x="1028" y="760"/>
                    <a:pt x="991" y="758"/>
                    <a:pt x="956" y="751"/>
                  </a:cubicBezTo>
                  <a:cubicBezTo>
                    <a:pt x="956" y="752"/>
                    <a:pt x="956" y="752"/>
                    <a:pt x="956" y="753"/>
                  </a:cubicBezTo>
                  <a:cubicBezTo>
                    <a:pt x="948" y="753"/>
                    <a:pt x="948" y="753"/>
                    <a:pt x="948" y="753"/>
                  </a:cubicBezTo>
                  <a:cubicBezTo>
                    <a:pt x="948" y="752"/>
                    <a:pt x="947" y="751"/>
                    <a:pt x="947" y="750"/>
                  </a:cubicBezTo>
                  <a:cubicBezTo>
                    <a:pt x="946" y="751"/>
                    <a:pt x="946" y="752"/>
                    <a:pt x="946" y="753"/>
                  </a:cubicBezTo>
                  <a:cubicBezTo>
                    <a:pt x="940" y="753"/>
                    <a:pt x="940" y="753"/>
                    <a:pt x="940" y="753"/>
                  </a:cubicBezTo>
                  <a:cubicBezTo>
                    <a:pt x="939" y="751"/>
                    <a:pt x="939" y="749"/>
                    <a:pt x="940" y="747"/>
                  </a:cubicBezTo>
                  <a:cubicBezTo>
                    <a:pt x="936" y="746"/>
                    <a:pt x="932" y="745"/>
                    <a:pt x="927" y="743"/>
                  </a:cubicBezTo>
                  <a:cubicBezTo>
                    <a:pt x="927" y="744"/>
                    <a:pt x="927" y="745"/>
                    <a:pt x="927" y="745"/>
                  </a:cubicBezTo>
                  <a:cubicBezTo>
                    <a:pt x="925" y="746"/>
                    <a:pt x="923" y="746"/>
                    <a:pt x="921" y="745"/>
                  </a:cubicBezTo>
                  <a:cubicBezTo>
                    <a:pt x="921" y="744"/>
                    <a:pt x="920" y="742"/>
                    <a:pt x="920" y="741"/>
                  </a:cubicBezTo>
                  <a:cubicBezTo>
                    <a:pt x="896" y="733"/>
                    <a:pt x="871" y="725"/>
                    <a:pt x="847" y="717"/>
                  </a:cubicBezTo>
                  <a:cubicBezTo>
                    <a:pt x="847" y="717"/>
                    <a:pt x="847" y="718"/>
                    <a:pt x="847" y="718"/>
                  </a:cubicBezTo>
                  <a:cubicBezTo>
                    <a:pt x="840" y="718"/>
                    <a:pt x="840" y="718"/>
                    <a:pt x="840" y="718"/>
                  </a:cubicBezTo>
                  <a:cubicBezTo>
                    <a:pt x="840" y="718"/>
                    <a:pt x="840" y="717"/>
                    <a:pt x="840" y="717"/>
                  </a:cubicBezTo>
                  <a:cubicBezTo>
                    <a:pt x="841" y="717"/>
                    <a:pt x="843" y="716"/>
                    <a:pt x="844" y="716"/>
                  </a:cubicBezTo>
                  <a:cubicBezTo>
                    <a:pt x="842" y="715"/>
                    <a:pt x="840" y="715"/>
                    <a:pt x="838" y="714"/>
                  </a:cubicBezTo>
                  <a:cubicBezTo>
                    <a:pt x="836" y="715"/>
                    <a:pt x="834" y="715"/>
                    <a:pt x="833" y="714"/>
                  </a:cubicBezTo>
                  <a:cubicBezTo>
                    <a:pt x="833" y="714"/>
                    <a:pt x="833" y="713"/>
                    <a:pt x="833" y="713"/>
                  </a:cubicBezTo>
                  <a:cubicBezTo>
                    <a:pt x="833" y="713"/>
                    <a:pt x="832" y="712"/>
                    <a:pt x="831" y="712"/>
                  </a:cubicBezTo>
                  <a:cubicBezTo>
                    <a:pt x="828" y="714"/>
                    <a:pt x="824" y="716"/>
                    <a:pt x="821" y="716"/>
                  </a:cubicBezTo>
                  <a:cubicBezTo>
                    <a:pt x="826" y="717"/>
                    <a:pt x="831" y="719"/>
                    <a:pt x="836" y="720"/>
                  </a:cubicBezTo>
                  <a:cubicBezTo>
                    <a:pt x="855" y="726"/>
                    <a:pt x="874" y="733"/>
                    <a:pt x="894" y="740"/>
                  </a:cubicBezTo>
                  <a:cubicBezTo>
                    <a:pt x="894" y="739"/>
                    <a:pt x="895" y="738"/>
                    <a:pt x="896" y="737"/>
                  </a:cubicBezTo>
                  <a:cubicBezTo>
                    <a:pt x="899" y="738"/>
                    <a:pt x="900" y="742"/>
                    <a:pt x="903" y="743"/>
                  </a:cubicBezTo>
                  <a:cubicBezTo>
                    <a:pt x="903" y="743"/>
                    <a:pt x="903" y="743"/>
                    <a:pt x="903" y="743"/>
                  </a:cubicBezTo>
                  <a:cubicBezTo>
                    <a:pt x="905" y="744"/>
                    <a:pt x="907" y="744"/>
                    <a:pt x="909" y="745"/>
                  </a:cubicBezTo>
                  <a:cubicBezTo>
                    <a:pt x="907" y="743"/>
                    <a:pt x="906" y="741"/>
                    <a:pt x="908" y="739"/>
                  </a:cubicBezTo>
                  <a:cubicBezTo>
                    <a:pt x="910" y="741"/>
                    <a:pt x="913" y="743"/>
                    <a:pt x="914" y="746"/>
                  </a:cubicBezTo>
                  <a:cubicBezTo>
                    <a:pt x="915" y="745"/>
                    <a:pt x="915" y="745"/>
                    <a:pt x="916" y="745"/>
                  </a:cubicBezTo>
                  <a:cubicBezTo>
                    <a:pt x="916" y="746"/>
                    <a:pt x="916" y="747"/>
                    <a:pt x="916" y="747"/>
                  </a:cubicBezTo>
                  <a:cubicBezTo>
                    <a:pt x="936" y="754"/>
                    <a:pt x="958" y="760"/>
                    <a:pt x="979" y="762"/>
                  </a:cubicBezTo>
                  <a:cubicBezTo>
                    <a:pt x="1014" y="767"/>
                    <a:pt x="1055" y="764"/>
                    <a:pt x="1088" y="749"/>
                  </a:cubicBezTo>
                  <a:cubicBezTo>
                    <a:pt x="206" y="573"/>
                    <a:pt x="205" y="573"/>
                    <a:pt x="204" y="573"/>
                  </a:cubicBezTo>
                  <a:cubicBezTo>
                    <a:pt x="204" y="573"/>
                    <a:pt x="204" y="573"/>
                    <a:pt x="203" y="574"/>
                  </a:cubicBezTo>
                  <a:cubicBezTo>
                    <a:pt x="204" y="574"/>
                    <a:pt x="205" y="573"/>
                    <a:pt x="207" y="573"/>
                  </a:cubicBezTo>
                  <a:cubicBezTo>
                    <a:pt x="207" y="573"/>
                    <a:pt x="207" y="573"/>
                    <a:pt x="207" y="573"/>
                  </a:cubicBezTo>
                  <a:cubicBezTo>
                    <a:pt x="200" y="579"/>
                    <a:pt x="200" y="579"/>
                    <a:pt x="201" y="579"/>
                  </a:cubicBezTo>
                  <a:cubicBezTo>
                    <a:pt x="201" y="578"/>
                    <a:pt x="201" y="578"/>
                    <a:pt x="201" y="577"/>
                  </a:cubicBezTo>
                  <a:cubicBezTo>
                    <a:pt x="200" y="578"/>
                    <a:pt x="200" y="578"/>
                    <a:pt x="200" y="579"/>
                  </a:cubicBezTo>
                  <a:cubicBezTo>
                    <a:pt x="825" y="437"/>
                    <a:pt x="820" y="435"/>
                    <a:pt x="815" y="433"/>
                  </a:cubicBezTo>
                  <a:cubicBezTo>
                    <a:pt x="812" y="433"/>
                    <a:pt x="812" y="433"/>
                    <a:pt x="812" y="433"/>
                  </a:cubicBezTo>
                  <a:cubicBezTo>
                    <a:pt x="812" y="433"/>
                    <a:pt x="812" y="432"/>
                    <a:pt x="812" y="432"/>
                  </a:cubicBezTo>
                  <a:cubicBezTo>
                    <a:pt x="811" y="432"/>
                    <a:pt x="810" y="431"/>
                    <a:pt x="809" y="431"/>
                  </a:cubicBezTo>
                  <a:cubicBezTo>
                    <a:pt x="809" y="432"/>
                    <a:pt x="809" y="432"/>
                    <a:pt x="809" y="432"/>
                  </a:cubicBezTo>
                  <a:cubicBezTo>
                    <a:pt x="806" y="432"/>
                    <a:pt x="801" y="431"/>
                    <a:pt x="801" y="429"/>
                  </a:cubicBezTo>
                  <a:cubicBezTo>
                    <a:pt x="800" y="428"/>
                    <a:pt x="799" y="428"/>
                    <a:pt x="798" y="428"/>
                  </a:cubicBezTo>
                  <a:cubicBezTo>
                    <a:pt x="798" y="429"/>
                    <a:pt x="798" y="430"/>
                    <a:pt x="798" y="431"/>
                  </a:cubicBezTo>
                  <a:cubicBezTo>
                    <a:pt x="799" y="431"/>
                    <a:pt x="801" y="431"/>
                    <a:pt x="802" y="431"/>
                  </a:cubicBezTo>
                  <a:cubicBezTo>
                    <a:pt x="802" y="432"/>
                    <a:pt x="802" y="433"/>
                    <a:pt x="802" y="433"/>
                  </a:cubicBezTo>
                  <a:cubicBezTo>
                    <a:pt x="794" y="433"/>
                    <a:pt x="794" y="433"/>
                    <a:pt x="794" y="433"/>
                  </a:cubicBezTo>
                  <a:cubicBezTo>
                    <a:pt x="810" y="439"/>
                    <a:pt x="826" y="444"/>
                    <a:pt x="842" y="450"/>
                  </a:cubicBezTo>
                  <a:cubicBezTo>
                    <a:pt x="845" y="450"/>
                    <a:pt x="845" y="450"/>
                    <a:pt x="845" y="450"/>
                  </a:cubicBezTo>
                  <a:cubicBezTo>
                    <a:pt x="845" y="451"/>
                    <a:pt x="845" y="451"/>
                    <a:pt x="845" y="451"/>
                  </a:cubicBezTo>
                  <a:cubicBezTo>
                    <a:pt x="846" y="452"/>
                    <a:pt x="847" y="452"/>
                    <a:pt x="848" y="453"/>
                  </a:cubicBezTo>
                  <a:cubicBezTo>
                    <a:pt x="849" y="452"/>
                    <a:pt x="849" y="452"/>
                    <a:pt x="850" y="452"/>
                  </a:cubicBezTo>
                  <a:cubicBezTo>
                    <a:pt x="849" y="451"/>
                    <a:pt x="849" y="451"/>
                    <a:pt x="849" y="450"/>
                  </a:cubicBezTo>
                  <a:cubicBezTo>
                    <a:pt x="856" y="450"/>
                    <a:pt x="856" y="450"/>
                    <a:pt x="856" y="450"/>
                  </a:cubicBezTo>
                  <a:cubicBezTo>
                    <a:pt x="856" y="452"/>
                    <a:pt x="857" y="453"/>
                    <a:pt x="858" y="454"/>
                  </a:cubicBezTo>
                  <a:cubicBezTo>
                    <a:pt x="858" y="453"/>
                    <a:pt x="857" y="451"/>
                    <a:pt x="857" y="450"/>
                  </a:cubicBezTo>
                  <a:cubicBezTo>
                    <a:pt x="862" y="450"/>
                    <a:pt x="862" y="450"/>
                    <a:pt x="862" y="450"/>
                  </a:cubicBezTo>
                  <a:cubicBezTo>
                    <a:pt x="851" y="446"/>
                    <a:pt x="841" y="442"/>
                    <a:pt x="830" y="438"/>
                  </a:cubicBezTo>
                  <a:cubicBezTo>
                    <a:pt x="807" y="433"/>
                    <a:pt x="807" y="433"/>
                    <a:pt x="807" y="433"/>
                  </a:cubicBezTo>
                  <a:cubicBezTo>
                    <a:pt x="808" y="433"/>
                    <a:pt x="808" y="433"/>
                    <a:pt x="809" y="433"/>
                  </a:cubicBezTo>
                  <a:cubicBezTo>
                    <a:pt x="809" y="433"/>
                    <a:pt x="809" y="433"/>
                    <a:pt x="809" y="433"/>
                  </a:cubicBezTo>
                  <a:cubicBezTo>
                    <a:pt x="112" y="744"/>
                    <a:pt x="111" y="743"/>
                    <a:pt x="109" y="743"/>
                  </a:cubicBezTo>
                  <a:cubicBezTo>
                    <a:pt x="108" y="744"/>
                    <a:pt x="107" y="746"/>
                    <a:pt x="107" y="748"/>
                  </a:cubicBezTo>
                  <a:cubicBezTo>
                    <a:pt x="110" y="748"/>
                    <a:pt x="110" y="751"/>
                    <a:pt x="112" y="752"/>
                  </a:cubicBezTo>
                  <a:cubicBezTo>
                    <a:pt x="112" y="753"/>
                    <a:pt x="112" y="753"/>
                    <a:pt x="111" y="754"/>
                  </a:cubicBezTo>
                  <a:cubicBezTo>
                    <a:pt x="112" y="754"/>
                    <a:pt x="112" y="754"/>
                    <a:pt x="112" y="754"/>
                  </a:cubicBezTo>
                  <a:cubicBezTo>
                    <a:pt x="113" y="752"/>
                    <a:pt x="113" y="751"/>
                    <a:pt x="114" y="750"/>
                  </a:cubicBezTo>
                  <a:cubicBezTo>
                    <a:pt x="112" y="749"/>
                    <a:pt x="112" y="747"/>
                    <a:pt x="114" y="746"/>
                  </a:cubicBezTo>
                  <a:cubicBezTo>
                    <a:pt x="1078" y="739"/>
                    <a:pt x="1076" y="737"/>
                    <a:pt x="1075" y="736"/>
                  </a:cubicBezTo>
                  <a:cubicBezTo>
                    <a:pt x="1068" y="738"/>
                    <a:pt x="1061" y="739"/>
                    <a:pt x="1054" y="740"/>
                  </a:cubicBezTo>
                  <a:cubicBezTo>
                    <a:pt x="1055" y="741"/>
                    <a:pt x="1055" y="742"/>
                    <a:pt x="1055" y="743"/>
                  </a:cubicBezTo>
                  <a:cubicBezTo>
                    <a:pt x="1056" y="743"/>
                    <a:pt x="1057" y="744"/>
                    <a:pt x="1057" y="744"/>
                  </a:cubicBezTo>
                  <a:cubicBezTo>
                    <a:pt x="1060" y="744"/>
                    <a:pt x="1062" y="744"/>
                    <a:pt x="1065" y="745"/>
                  </a:cubicBezTo>
                  <a:cubicBezTo>
                    <a:pt x="1065" y="745"/>
                    <a:pt x="1066" y="745"/>
                    <a:pt x="1066" y="745"/>
                  </a:cubicBezTo>
                  <a:cubicBezTo>
                    <a:pt x="1070" y="744"/>
                    <a:pt x="1075" y="743"/>
                    <a:pt x="1079" y="741"/>
                  </a:cubicBezTo>
                  <a:cubicBezTo>
                    <a:pt x="785" y="425"/>
                    <a:pt x="784" y="427"/>
                    <a:pt x="784" y="429"/>
                  </a:cubicBezTo>
                  <a:cubicBezTo>
                    <a:pt x="785" y="429"/>
                    <a:pt x="786" y="429"/>
                    <a:pt x="788" y="429"/>
                  </a:cubicBezTo>
                  <a:cubicBezTo>
                    <a:pt x="788" y="428"/>
                    <a:pt x="788" y="427"/>
                    <a:pt x="788" y="427"/>
                  </a:cubicBezTo>
                  <a:cubicBezTo>
                    <a:pt x="790" y="427"/>
                    <a:pt x="791" y="427"/>
                    <a:pt x="792" y="428"/>
                  </a:cubicBezTo>
                  <a:cubicBezTo>
                    <a:pt x="792" y="428"/>
                    <a:pt x="792" y="428"/>
                    <a:pt x="792" y="428"/>
                  </a:cubicBezTo>
                  <a:cubicBezTo>
                    <a:pt x="792" y="428"/>
                    <a:pt x="793" y="427"/>
                    <a:pt x="793" y="426"/>
                  </a:cubicBezTo>
                  <a:cubicBezTo>
                    <a:pt x="793" y="426"/>
                    <a:pt x="793" y="426"/>
                    <a:pt x="793" y="426"/>
                  </a:cubicBezTo>
                  <a:cubicBezTo>
                    <a:pt x="791" y="425"/>
                    <a:pt x="790" y="425"/>
                    <a:pt x="788" y="424"/>
                  </a:cubicBezTo>
                  <a:cubicBezTo>
                    <a:pt x="788" y="424"/>
                    <a:pt x="788" y="424"/>
                    <a:pt x="788" y="424"/>
                  </a:cubicBezTo>
                  <a:cubicBezTo>
                    <a:pt x="788" y="424"/>
                    <a:pt x="788" y="424"/>
                    <a:pt x="788" y="424"/>
                  </a:cubicBezTo>
                  <a:cubicBezTo>
                    <a:pt x="787" y="424"/>
                    <a:pt x="786" y="424"/>
                    <a:pt x="785" y="423"/>
                  </a:cubicBezTo>
                  <a:cubicBezTo>
                    <a:pt x="898" y="438"/>
                    <a:pt x="914" y="443"/>
                    <a:pt x="929" y="449"/>
                  </a:cubicBezTo>
                  <a:cubicBezTo>
                    <a:pt x="933" y="450"/>
                    <a:pt x="935" y="444"/>
                    <a:pt x="931" y="443"/>
                  </a:cubicBezTo>
                  <a:cubicBezTo>
                    <a:pt x="922" y="439"/>
                    <a:pt x="913" y="436"/>
                    <a:pt x="903" y="432"/>
                  </a:cubicBezTo>
                  <a:cubicBezTo>
                    <a:pt x="958" y="716"/>
                    <a:pt x="957" y="716"/>
                    <a:pt x="956" y="715"/>
                  </a:cubicBezTo>
                  <a:cubicBezTo>
                    <a:pt x="941" y="711"/>
                    <a:pt x="926" y="706"/>
                    <a:pt x="912" y="701"/>
                  </a:cubicBezTo>
                  <a:cubicBezTo>
                    <a:pt x="912" y="701"/>
                    <a:pt x="913" y="702"/>
                    <a:pt x="913" y="703"/>
                  </a:cubicBezTo>
                  <a:cubicBezTo>
                    <a:pt x="912" y="703"/>
                    <a:pt x="912" y="705"/>
                    <a:pt x="910" y="704"/>
                  </a:cubicBezTo>
                  <a:cubicBezTo>
                    <a:pt x="910" y="702"/>
                    <a:pt x="907" y="702"/>
                    <a:pt x="907" y="699"/>
                  </a:cubicBezTo>
                  <a:cubicBezTo>
                    <a:pt x="908" y="699"/>
                    <a:pt x="908" y="699"/>
                    <a:pt x="908" y="699"/>
                  </a:cubicBezTo>
                  <a:cubicBezTo>
                    <a:pt x="895" y="694"/>
                    <a:pt x="882" y="688"/>
                    <a:pt x="869" y="682"/>
                  </a:cubicBezTo>
                  <a:cubicBezTo>
                    <a:pt x="868" y="682"/>
                    <a:pt x="868" y="682"/>
                    <a:pt x="868" y="682"/>
                  </a:cubicBezTo>
                  <a:cubicBezTo>
                    <a:pt x="865" y="681"/>
                    <a:pt x="864" y="680"/>
                    <a:pt x="861" y="679"/>
                  </a:cubicBezTo>
                  <a:cubicBezTo>
                    <a:pt x="861" y="679"/>
                    <a:pt x="861" y="679"/>
                    <a:pt x="861" y="679"/>
                  </a:cubicBezTo>
                  <a:cubicBezTo>
                    <a:pt x="858" y="677"/>
                    <a:pt x="855" y="676"/>
                    <a:pt x="853" y="674"/>
                  </a:cubicBezTo>
                  <a:cubicBezTo>
                    <a:pt x="852" y="674"/>
                    <a:pt x="851" y="674"/>
                    <a:pt x="851" y="673"/>
                  </a:cubicBezTo>
                  <a:cubicBezTo>
                    <a:pt x="849" y="673"/>
                    <a:pt x="847" y="672"/>
                    <a:pt x="845" y="671"/>
                  </a:cubicBezTo>
                  <a:cubicBezTo>
                    <a:pt x="842" y="673"/>
                    <a:pt x="838" y="674"/>
                    <a:pt x="837" y="671"/>
                  </a:cubicBezTo>
                  <a:cubicBezTo>
                    <a:pt x="836" y="671"/>
                    <a:pt x="835" y="671"/>
                    <a:pt x="834" y="671"/>
                  </a:cubicBezTo>
                  <a:cubicBezTo>
                    <a:pt x="834" y="668"/>
                    <a:pt x="834" y="666"/>
                    <a:pt x="837" y="666"/>
                  </a:cubicBezTo>
                  <a:cubicBezTo>
                    <a:pt x="824" y="660"/>
                    <a:pt x="812" y="653"/>
                    <a:pt x="800" y="647"/>
                  </a:cubicBezTo>
                  <a:cubicBezTo>
                    <a:pt x="798" y="647"/>
                    <a:pt x="797" y="646"/>
                    <a:pt x="795" y="647"/>
                  </a:cubicBezTo>
                  <a:cubicBezTo>
                    <a:pt x="787" y="647"/>
                    <a:pt x="787" y="647"/>
                    <a:pt x="787" y="647"/>
                  </a:cubicBezTo>
                  <a:cubicBezTo>
                    <a:pt x="797" y="653"/>
                    <a:pt x="808" y="659"/>
                    <a:pt x="818" y="664"/>
                  </a:cubicBezTo>
                  <a:cubicBezTo>
                    <a:pt x="830" y="664"/>
                    <a:pt x="830" y="664"/>
                    <a:pt x="830" y="664"/>
                  </a:cubicBezTo>
                  <a:cubicBezTo>
                    <a:pt x="830" y="666"/>
                    <a:pt x="830" y="668"/>
                    <a:pt x="830" y="670"/>
                  </a:cubicBezTo>
                  <a:cubicBezTo>
                    <a:pt x="833" y="672"/>
                    <a:pt x="837" y="674"/>
                    <a:pt x="841" y="676"/>
                  </a:cubicBezTo>
                  <a:cubicBezTo>
                    <a:pt x="844" y="676"/>
                    <a:pt x="847" y="677"/>
                    <a:pt x="849" y="679"/>
                  </a:cubicBezTo>
                  <a:cubicBezTo>
                    <a:pt x="849" y="679"/>
                    <a:pt x="849" y="680"/>
                    <a:pt x="849" y="680"/>
                  </a:cubicBezTo>
                  <a:cubicBezTo>
                    <a:pt x="850" y="680"/>
                    <a:pt x="851" y="681"/>
                    <a:pt x="852" y="681"/>
                  </a:cubicBezTo>
                  <a:cubicBezTo>
                    <a:pt x="853" y="679"/>
                    <a:pt x="855" y="678"/>
                    <a:pt x="859" y="679"/>
                  </a:cubicBezTo>
                  <a:cubicBezTo>
                    <a:pt x="860" y="680"/>
                    <a:pt x="861" y="681"/>
                    <a:pt x="862" y="682"/>
                  </a:cubicBezTo>
                  <a:cubicBezTo>
                    <a:pt x="854" y="682"/>
                    <a:pt x="854" y="682"/>
                    <a:pt x="854" y="682"/>
                  </a:cubicBezTo>
                  <a:cubicBezTo>
                    <a:pt x="867" y="689"/>
                    <a:pt x="880" y="695"/>
                    <a:pt x="893" y="700"/>
                  </a:cubicBezTo>
                  <a:cubicBezTo>
                    <a:pt x="893" y="700"/>
                    <a:pt x="894" y="700"/>
                    <a:pt x="895" y="699"/>
                  </a:cubicBezTo>
                  <a:cubicBezTo>
                    <a:pt x="895" y="699"/>
                    <a:pt x="895" y="699"/>
                    <a:pt x="895" y="699"/>
                  </a:cubicBezTo>
                  <a:cubicBezTo>
                    <a:pt x="905" y="699"/>
                    <a:pt x="905" y="699"/>
                    <a:pt x="905" y="699"/>
                  </a:cubicBezTo>
                  <a:cubicBezTo>
                    <a:pt x="905" y="700"/>
                    <a:pt x="905" y="702"/>
                    <a:pt x="905" y="703"/>
                  </a:cubicBezTo>
                  <a:cubicBezTo>
                    <a:pt x="906" y="706"/>
                    <a:pt x="912" y="705"/>
                    <a:pt x="916" y="705"/>
                  </a:cubicBezTo>
                  <a:cubicBezTo>
                    <a:pt x="917" y="707"/>
                    <a:pt x="918" y="709"/>
                    <a:pt x="919" y="711"/>
                  </a:cubicBezTo>
                  <a:cubicBezTo>
                    <a:pt x="961" y="726"/>
                    <a:pt x="1004" y="735"/>
                    <a:pt x="1051" y="734"/>
                  </a:cubicBezTo>
                  <a:cubicBezTo>
                    <a:pt x="1060" y="733"/>
                    <a:pt x="1069" y="732"/>
                    <a:pt x="1079" y="731"/>
                  </a:cubicBezTo>
                  <a:cubicBezTo>
                    <a:pt x="1083" y="730"/>
                    <a:pt x="1082" y="724"/>
                    <a:pt x="1078" y="724"/>
                  </a:cubicBezTo>
                  <a:cubicBezTo>
                    <a:pt x="1038" y="730"/>
                    <a:pt x="1000" y="726"/>
                    <a:pt x="963" y="717"/>
                  </a:cubicBez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lnTo>
                    <a:pt x="743" y="969"/>
                  </a:lnTo>
                  <a:lnTo>
                    <a:pt x="1046" y="966"/>
                  </a:lnTo>
                  <a:lnTo>
                    <a:pt x="978" y="1038"/>
                  </a:lnTo>
                  <a:lnTo>
                    <a:pt x="769" y="736"/>
                  </a:lnTo>
                  <a:lnTo>
                    <a:pt x="432" y="418"/>
                  </a:lnTo>
                  <a:lnTo>
                    <a:pt x="223" y="670"/>
                  </a:lnTo>
                  <a:lnTo>
                    <a:pt x="158" y="456"/>
                  </a:lnTo>
                  <a:lnTo>
                    <a:pt x="826" y="825"/>
                  </a:lnTo>
                  <a:lnTo>
                    <a:pt x="705" y="791"/>
                  </a:lnTo>
                  <a:lnTo>
                    <a:pt x="517" y="364"/>
                  </a:lnTo>
                  <a:lnTo>
                    <a:pt x="375" y="722"/>
                  </a:lnTo>
                  <a:lnTo>
                    <a:pt x="476" y="579"/>
                  </a:lnTo>
                  <a:lnTo>
                    <a:pt x="453" y="436"/>
                  </a:lnTo>
                  <a:lnTo>
                    <a:pt x="891" y="468"/>
                  </a:lnTo>
                  <a:lnTo>
                    <a:pt x="946" y="539"/>
                  </a:lnTo>
                  <a:lnTo>
                    <a:pt x="200" y="527"/>
                  </a:lnTo>
                  <a:lnTo>
                    <a:pt x="145" y="492"/>
                  </a:lnTo>
                  <a:lnTo>
                    <a:pt x="94" y="564"/>
                  </a:lnTo>
                  <a:lnTo>
                    <a:pt x="808" y="629"/>
                  </a:lnTo>
                  <a:lnTo>
                    <a:pt x="654" y="613"/>
                  </a:lnTo>
                  <a:lnTo>
                    <a:pt x="439" y="472"/>
                  </a:lnTo>
                  <a:lnTo>
                    <a:pt x="728" y="470"/>
                  </a:lnTo>
                  <a:lnTo>
                    <a:pt x="927" y="503"/>
                  </a:lnTo>
                  <a:lnTo>
                    <a:pt x="871" y="664"/>
                  </a:lnTo>
                  <a:lnTo>
                    <a:pt x="970" y="681"/>
                  </a:lnTo>
                  <a:lnTo>
                    <a:pt x="676" y="434"/>
                  </a:lnTo>
                  <a:lnTo>
                    <a:pt x="737" y="1290"/>
                  </a:lnTo>
                  <a:lnTo>
                    <a:pt x="109" y="278"/>
                  </a:lnTo>
                  <a:lnTo>
                    <a:pt x="1083" y="1144"/>
                  </a:lnTo>
                  <a:lnTo>
                    <a:pt x="288" y="1329"/>
                  </a:lnTo>
                  <a:lnTo>
                    <a:pt x="207" y="1205"/>
                  </a:lnTo>
                  <a:lnTo>
                    <a:pt x="959" y="1216"/>
                  </a:lnTo>
                  <a:lnTo>
                    <a:pt x="653" y="1255"/>
                  </a:lnTo>
                  <a:lnTo>
                    <a:pt x="929" y="1252"/>
                  </a:lnTo>
                  <a:lnTo>
                    <a:pt x="819" y="1360"/>
                  </a:lnTo>
                  <a:lnTo>
                    <a:pt x="848" y="1360"/>
                  </a:lnTo>
                  <a:lnTo>
                    <a:pt x="803" y="1325"/>
                  </a:lnTo>
                  <a:lnTo>
                    <a:pt x="793" y="1325"/>
                  </a:lnTo>
                  <a:lnTo>
                    <a:pt x="611" y="78"/>
                  </a:lnTo>
                  <a:lnTo>
                    <a:pt x="847" y="1289"/>
                  </a:lnTo>
                  <a:lnTo>
                    <a:pt x="864" y="1324"/>
                  </a:lnTo>
                  <a:lnTo>
                    <a:pt x="378" y="1346"/>
                  </a:lnTo>
                  <a:lnTo>
                    <a:pt x="93" y="154"/>
                  </a:lnTo>
                  <a:lnTo>
                    <a:pt x="314" y="1382"/>
                  </a:lnTo>
                  <a:lnTo>
                    <a:pt x="922" y="1324"/>
                  </a:lnTo>
                  <a:lnTo>
                    <a:pt x="1032" y="1251"/>
                  </a:lnTo>
                  <a:lnTo>
                    <a:pt x="1092" y="787"/>
                  </a:lnTo>
                  <a:lnTo>
                    <a:pt x="934" y="1110"/>
                  </a:lnTo>
                  <a:lnTo>
                    <a:pt x="627" y="1130"/>
                  </a:lnTo>
                  <a:lnTo>
                    <a:pt x="1092" y="1054"/>
                  </a:lnTo>
                  <a:lnTo>
                    <a:pt x="203" y="349"/>
                  </a:lnTo>
                  <a:lnTo>
                    <a:pt x="646" y="345"/>
                  </a:lnTo>
                  <a:lnTo>
                    <a:pt x="67" y="421"/>
                  </a:lnTo>
                  <a:lnTo>
                    <a:pt x="201" y="385"/>
                  </a:lnTo>
                  <a:lnTo>
                    <a:pt x="754" y="362"/>
                  </a:lnTo>
                  <a:lnTo>
                    <a:pt x="443" y="1167"/>
                  </a:lnTo>
                  <a:lnTo>
                    <a:pt x="602" y="1201"/>
                  </a:lnTo>
                  <a:lnTo>
                    <a:pt x="230" y="990"/>
                  </a:lnTo>
                  <a:lnTo>
                    <a:pt x="152" y="314"/>
                  </a:lnTo>
                  <a:lnTo>
                    <a:pt x="112" y="350"/>
                  </a:lnTo>
                  <a:lnTo>
                    <a:pt x="143" y="385"/>
                  </a:lnTo>
                  <a:lnTo>
                    <a:pt x="518" y="1166"/>
                  </a:lnTo>
                  <a:lnTo>
                    <a:pt x="552" y="310"/>
                  </a:lnTo>
                  <a:lnTo>
                    <a:pt x="480" y="1131"/>
                  </a:lnTo>
                  <a:lnTo>
                    <a:pt x="1000" y="1091"/>
                  </a:lnTo>
                  <a:lnTo>
                    <a:pt x="164" y="1027"/>
                  </a:lnTo>
                  <a:lnTo>
                    <a:pt x="71" y="386"/>
                  </a:lnTo>
                  <a:lnTo>
                    <a:pt x="553" y="1202"/>
                  </a:lnTo>
                  <a:lnTo>
                    <a:pt x="1081" y="1073"/>
                  </a:lnTo>
                  <a:lnTo>
                    <a:pt x="983" y="1126"/>
                  </a:lnTo>
                  <a:lnTo>
                    <a:pt x="158" y="349"/>
                  </a:lnTo>
                  <a:lnTo>
                    <a:pt x="145" y="421"/>
                  </a:lnTo>
                  <a:lnTo>
                    <a:pt x="567" y="1094"/>
                  </a:lnTo>
                  <a:lnTo>
                    <a:pt x="1050" y="1037"/>
                  </a:lnTo>
                  <a:lnTo>
                    <a:pt x="77" y="457"/>
                  </a:lnTo>
                  <a:lnTo>
                    <a:pt x="43" y="493"/>
                  </a:lnTo>
                  <a:lnTo>
                    <a:pt x="8" y="493"/>
                  </a:lnTo>
                  <a:lnTo>
                    <a:pt x="908" y="789"/>
                  </a:lnTo>
                  <a:lnTo>
                    <a:pt x="359" y="668"/>
                  </a:lnTo>
                  <a:lnTo>
                    <a:pt x="906" y="932"/>
                  </a:lnTo>
                  <a:lnTo>
                    <a:pt x="67" y="207"/>
                  </a:lnTo>
                  <a:lnTo>
                    <a:pt x="1003" y="1287"/>
                  </a:lnTo>
                  <a:lnTo>
                    <a:pt x="212" y="1098"/>
                  </a:lnTo>
                  <a:lnTo>
                    <a:pt x="68" y="350"/>
                  </a:lnTo>
                  <a:lnTo>
                    <a:pt x="1119" y="1144"/>
                  </a:lnTo>
                  <a:lnTo>
                    <a:pt x="537" y="1237"/>
                  </a:lnTo>
                  <a:lnTo>
                    <a:pt x="331" y="1257"/>
                  </a:lnTo>
                  <a:lnTo>
                    <a:pt x="111" y="421"/>
                  </a:lnTo>
                  <a:lnTo>
                    <a:pt x="537" y="970"/>
                  </a:lnTo>
                  <a:lnTo>
                    <a:pt x="617" y="1005"/>
                  </a:lnTo>
                  <a:lnTo>
                    <a:pt x="580" y="899"/>
                  </a:lnTo>
                  <a:lnTo>
                    <a:pt x="195" y="492"/>
                  </a:lnTo>
                  <a:lnTo>
                    <a:pt x="851" y="628"/>
                  </a:lnTo>
                  <a:lnTo>
                    <a:pt x="564" y="1041"/>
                  </a:lnTo>
                  <a:lnTo>
                    <a:pt x="879" y="1020"/>
                  </a:lnTo>
                  <a:lnTo>
                    <a:pt x="513" y="685"/>
                  </a:lnTo>
                  <a:lnTo>
                    <a:pt x="562" y="685"/>
                  </a:lnTo>
                  <a:lnTo>
                    <a:pt x="506" y="738"/>
                  </a:lnTo>
                  <a:lnTo>
                    <a:pt x="232" y="491"/>
                  </a:lnTo>
                  <a:lnTo>
                    <a:pt x="160" y="528"/>
                  </a:lnTo>
                  <a:lnTo>
                    <a:pt x="121" y="528"/>
                  </a:lnTo>
                  <a:lnTo>
                    <a:pt x="792" y="398"/>
                  </a:lnTo>
                  <a:lnTo>
                    <a:pt x="870" y="397"/>
                  </a:lnTo>
                  <a:lnTo>
                    <a:pt x="173" y="563"/>
                  </a:lnTo>
                  <a:lnTo>
                    <a:pt x="209" y="688"/>
                  </a:lnTo>
                  <a:lnTo>
                    <a:pt x="432" y="686"/>
                  </a:lnTo>
                  <a:lnTo>
                    <a:pt x="233" y="456"/>
                  </a:lnTo>
                  <a:lnTo>
                    <a:pt x="275" y="455"/>
                  </a:lnTo>
                  <a:lnTo>
                    <a:pt x="843" y="744"/>
                  </a:lnTo>
                  <a:lnTo>
                    <a:pt x="49" y="528"/>
                  </a:lnTo>
                  <a:lnTo>
                    <a:pt x="883" y="433"/>
                  </a:lnTo>
                  <a:lnTo>
                    <a:pt x="959" y="717"/>
                  </a:lnTo>
                </a:path>
              </a:pathLst>
            </a:custGeom>
            <a:solidFill>
              <a:schemeClr val="tx1">
                <a:alpha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de-DE" sz="900"/>
            </a:p>
          </p:txBody>
        </p:sp>
      </p:grpSp>
      <p:pic>
        <p:nvPicPr>
          <p:cNvPr id="32" name="Picture 31">
            <a:extLst>
              <a:ext uri="{FF2B5EF4-FFF2-40B4-BE49-F238E27FC236}">
                <a16:creationId xmlns:a16="http://schemas.microsoft.com/office/drawing/2014/main" id="{D1303CEA-EECE-4295-A742-0D30E4F4089D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653" y="1762722"/>
            <a:ext cx="941070" cy="510540"/>
          </a:xfrm>
          <a:prstGeom prst="rect">
            <a:avLst/>
          </a:prstGeom>
          <a:noFill/>
          <a:ln>
            <a:noFill/>
          </a:ln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CE1145BC-9365-4B1F-84F2-70F824CED263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752" y="3137150"/>
            <a:ext cx="838200" cy="370840"/>
          </a:xfrm>
          <a:prstGeom prst="rect">
            <a:avLst/>
          </a:prstGeom>
          <a:noFill/>
          <a:ln>
            <a:noFill/>
          </a:ln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D0BED3B8-533F-4EFC-92CD-4873B992F80F}"/>
              </a:ext>
            </a:extLst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579" y="3673756"/>
            <a:ext cx="1079412" cy="274064"/>
          </a:xfrm>
          <a:prstGeom prst="rect">
            <a:avLst/>
          </a:prstGeom>
          <a:noFill/>
          <a:ln>
            <a:noFill/>
          </a:ln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3E6B9BEF-DCF3-4845-9AC8-AF7BBECBE517}"/>
              </a:ext>
            </a:extLst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543" y="4140125"/>
            <a:ext cx="867289" cy="460944"/>
          </a:xfrm>
          <a:prstGeom prst="rect">
            <a:avLst/>
          </a:prstGeom>
          <a:noFill/>
          <a:ln>
            <a:noFill/>
          </a:ln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5C2B9878-B9CF-4E26-BD25-D9BEBE4C484C}"/>
              </a:ext>
            </a:extLst>
          </p:cNvPr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543" y="4735953"/>
            <a:ext cx="1085850" cy="356880"/>
          </a:xfrm>
          <a:prstGeom prst="rect">
            <a:avLst/>
          </a:prstGeom>
          <a:noFill/>
          <a:ln>
            <a:noFill/>
          </a:ln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FBCF5764-0958-4FB4-AA4F-EAF5A2F4BFA0}"/>
              </a:ext>
            </a:extLst>
          </p:cNvPr>
          <p:cNvPicPr/>
          <p:nvPr/>
        </p:nvPicPr>
        <p:blipFill>
          <a:blip r:embed="rId7"/>
          <a:stretch>
            <a:fillRect/>
          </a:stretch>
        </p:blipFill>
        <p:spPr>
          <a:xfrm>
            <a:off x="738752" y="1196283"/>
            <a:ext cx="1019409" cy="400110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013D32D8-F53A-4E89-853E-9936AEA2C5D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93764" y="5269696"/>
            <a:ext cx="509203" cy="62693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DD47C08-A574-451B-9823-3B516B09F01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97822" y="2449978"/>
            <a:ext cx="1117752" cy="51136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7FE2C30-8773-4D45-A9AF-85A52B823C2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16531" y="6094697"/>
            <a:ext cx="666749" cy="280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95236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250"/>
                            </p:stCondLst>
                            <p:childTnLst>
                              <p:par>
                                <p:cTn id="1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2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2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750"/>
                            </p:stCondLst>
                            <p:childTnLst>
                              <p:par>
                                <p:cTn id="2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2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2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2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2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0" dur="2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" name="Ellipse 301">
            <a:extLst>
              <a:ext uri="{FF2B5EF4-FFF2-40B4-BE49-F238E27FC236}">
                <a16:creationId xmlns:a16="http://schemas.microsoft.com/office/drawing/2014/main" id="{BAC1015F-244E-46FD-BAD9-312699F4BC28}"/>
              </a:ext>
            </a:extLst>
          </p:cNvPr>
          <p:cNvSpPr/>
          <p:nvPr/>
        </p:nvSpPr>
        <p:spPr>
          <a:xfrm>
            <a:off x="2882180" y="4954228"/>
            <a:ext cx="415102" cy="415102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900" dirty="0">
              <a:solidFill>
                <a:schemeClr val="tx1"/>
              </a:solidFill>
            </a:endParaRPr>
          </a:p>
        </p:txBody>
      </p:sp>
      <p:sp>
        <p:nvSpPr>
          <p:cNvPr id="12" name="Textfeld 17"/>
          <p:cNvSpPr txBox="1"/>
          <p:nvPr/>
        </p:nvSpPr>
        <p:spPr>
          <a:xfrm>
            <a:off x="341774" y="255200"/>
            <a:ext cx="6403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tr-TR" sz="2000" dirty="0">
                <a:solidFill>
                  <a:schemeClr val="accent1"/>
                </a:solidFill>
                <a:latin typeface="Century Gothic" panose="020B0502020202020204" pitchFamily="34" charset="0"/>
              </a:rPr>
              <a:t>Danışmanlık Kapsamı</a:t>
            </a:r>
          </a:p>
        </p:txBody>
      </p:sp>
      <p:sp>
        <p:nvSpPr>
          <p:cNvPr id="329" name="Shape 3850">
            <a:extLst>
              <a:ext uri="{FF2B5EF4-FFF2-40B4-BE49-F238E27FC236}">
                <a16:creationId xmlns:a16="http://schemas.microsoft.com/office/drawing/2014/main" id="{3A1715F9-8430-4A56-992E-57D78D726D94}"/>
              </a:ext>
            </a:extLst>
          </p:cNvPr>
          <p:cNvSpPr/>
          <p:nvPr/>
        </p:nvSpPr>
        <p:spPr>
          <a:xfrm>
            <a:off x="2899765" y="2189815"/>
            <a:ext cx="139886" cy="171437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moveTo>
                  <a:pt x="59016" y="70482"/>
                </a:moveTo>
                <a:lnTo>
                  <a:pt x="112868" y="119800"/>
                </a:lnTo>
                <a:lnTo>
                  <a:pt x="59016" y="70482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lIns="45713" tIns="22850" rIns="45713" bIns="22850" anchor="ctr" anchorCtr="0">
            <a:noAutofit/>
          </a:bodyPr>
          <a:lstStyle/>
          <a:p>
            <a:endParaRPr lang="tr-TR" dirty="0">
              <a:ea typeface="Lato"/>
              <a:cs typeface="Lato"/>
              <a:sym typeface="Lato"/>
            </a:endParaRPr>
          </a:p>
        </p:txBody>
      </p:sp>
      <p:sp>
        <p:nvSpPr>
          <p:cNvPr id="346" name="Shape 3850">
            <a:extLst>
              <a:ext uri="{FF2B5EF4-FFF2-40B4-BE49-F238E27FC236}">
                <a16:creationId xmlns:a16="http://schemas.microsoft.com/office/drawing/2014/main" id="{6F52A6E4-F318-4B76-A898-6E71FF00764B}"/>
              </a:ext>
            </a:extLst>
          </p:cNvPr>
          <p:cNvSpPr/>
          <p:nvPr/>
        </p:nvSpPr>
        <p:spPr>
          <a:xfrm>
            <a:off x="3024907" y="5085975"/>
            <a:ext cx="139886" cy="171437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moveTo>
                  <a:pt x="59016" y="70482"/>
                </a:moveTo>
                <a:lnTo>
                  <a:pt x="112868" y="119800"/>
                </a:lnTo>
                <a:lnTo>
                  <a:pt x="59016" y="70482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lIns="45713" tIns="22850" rIns="45713" bIns="22850" anchor="ctr" anchorCtr="0">
            <a:noAutofit/>
          </a:bodyPr>
          <a:lstStyle/>
          <a:p>
            <a:endParaRPr lang="tr-TR" dirty="0">
              <a:ea typeface="Lato"/>
              <a:cs typeface="Lato"/>
              <a:sym typeface="Lato"/>
            </a:endParaRPr>
          </a:p>
        </p:txBody>
      </p:sp>
      <p:grpSp>
        <p:nvGrpSpPr>
          <p:cNvPr id="26" name="Group 274">
            <a:extLst>
              <a:ext uri="{FF2B5EF4-FFF2-40B4-BE49-F238E27FC236}">
                <a16:creationId xmlns:a16="http://schemas.microsoft.com/office/drawing/2014/main" id="{F3D40294-0148-2B43-8607-A8BA2EBE900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115175" y="1783929"/>
            <a:ext cx="3717607" cy="3147841"/>
            <a:chOff x="5095" y="1676"/>
            <a:chExt cx="5657" cy="4790"/>
          </a:xfrm>
        </p:grpSpPr>
        <p:sp>
          <p:nvSpPr>
            <p:cNvPr id="27" name="AutoShape 273">
              <a:extLst>
                <a:ext uri="{FF2B5EF4-FFF2-40B4-BE49-F238E27FC236}">
                  <a16:creationId xmlns:a16="http://schemas.microsoft.com/office/drawing/2014/main" id="{9C73E647-5B2B-5741-8E0D-037E298F5FD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095" y="1676"/>
              <a:ext cx="5657" cy="47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29" name="Freeform 476">
              <a:extLst>
                <a:ext uri="{FF2B5EF4-FFF2-40B4-BE49-F238E27FC236}">
                  <a16:creationId xmlns:a16="http://schemas.microsoft.com/office/drawing/2014/main" id="{D8E23C7F-2B45-364F-8807-2A4E43598BAB}"/>
                </a:ext>
              </a:extLst>
            </p:cNvPr>
            <p:cNvSpPr>
              <a:spLocks/>
            </p:cNvSpPr>
            <p:nvPr/>
          </p:nvSpPr>
          <p:spPr bwMode="auto">
            <a:xfrm>
              <a:off x="9375" y="4243"/>
              <a:ext cx="613" cy="360"/>
            </a:xfrm>
            <a:custGeom>
              <a:avLst/>
              <a:gdLst>
                <a:gd name="T0" fmla="*/ 0 w 613"/>
                <a:gd name="T1" fmla="*/ 146 h 360"/>
                <a:gd name="T2" fmla="*/ 260 w 613"/>
                <a:gd name="T3" fmla="*/ 0 h 360"/>
                <a:gd name="T4" fmla="*/ 613 w 613"/>
                <a:gd name="T5" fmla="*/ 214 h 360"/>
                <a:gd name="T6" fmla="*/ 378 w 613"/>
                <a:gd name="T7" fmla="*/ 360 h 360"/>
                <a:gd name="T8" fmla="*/ 0 w 613"/>
                <a:gd name="T9" fmla="*/ 146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3" h="360">
                  <a:moveTo>
                    <a:pt x="0" y="146"/>
                  </a:moveTo>
                  <a:lnTo>
                    <a:pt x="260" y="0"/>
                  </a:lnTo>
                  <a:lnTo>
                    <a:pt x="613" y="214"/>
                  </a:lnTo>
                  <a:lnTo>
                    <a:pt x="378" y="360"/>
                  </a:lnTo>
                  <a:lnTo>
                    <a:pt x="0" y="146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30" name="Freeform 477">
              <a:extLst>
                <a:ext uri="{FF2B5EF4-FFF2-40B4-BE49-F238E27FC236}">
                  <a16:creationId xmlns:a16="http://schemas.microsoft.com/office/drawing/2014/main" id="{77D54945-AA52-594D-8E33-DD4D42DB9E9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0" y="3496"/>
              <a:ext cx="254" cy="942"/>
            </a:xfrm>
            <a:custGeom>
              <a:avLst/>
              <a:gdLst>
                <a:gd name="T0" fmla="*/ 254 w 254"/>
                <a:gd name="T1" fmla="*/ 942 h 942"/>
                <a:gd name="T2" fmla="*/ 0 w 254"/>
                <a:gd name="T3" fmla="*/ 792 h 942"/>
                <a:gd name="T4" fmla="*/ 0 w 254"/>
                <a:gd name="T5" fmla="*/ 0 h 942"/>
                <a:gd name="T6" fmla="*/ 254 w 254"/>
                <a:gd name="T7" fmla="*/ 151 h 942"/>
                <a:gd name="T8" fmla="*/ 254 w 254"/>
                <a:gd name="T9" fmla="*/ 942 h 9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4" h="942">
                  <a:moveTo>
                    <a:pt x="254" y="942"/>
                  </a:moveTo>
                  <a:lnTo>
                    <a:pt x="0" y="792"/>
                  </a:lnTo>
                  <a:lnTo>
                    <a:pt x="0" y="0"/>
                  </a:lnTo>
                  <a:lnTo>
                    <a:pt x="254" y="151"/>
                  </a:lnTo>
                  <a:lnTo>
                    <a:pt x="254" y="942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31" name="Freeform 478">
              <a:extLst>
                <a:ext uri="{FF2B5EF4-FFF2-40B4-BE49-F238E27FC236}">
                  <a16:creationId xmlns:a16="http://schemas.microsoft.com/office/drawing/2014/main" id="{FD6ABAB0-89B0-EE41-8BA4-68DB9AC4FD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4" y="3496"/>
              <a:ext cx="246" cy="942"/>
            </a:xfrm>
            <a:custGeom>
              <a:avLst/>
              <a:gdLst>
                <a:gd name="T0" fmla="*/ 246 w 246"/>
                <a:gd name="T1" fmla="*/ 0 h 942"/>
                <a:gd name="T2" fmla="*/ 0 w 246"/>
                <a:gd name="T3" fmla="*/ 151 h 942"/>
                <a:gd name="T4" fmla="*/ 0 w 246"/>
                <a:gd name="T5" fmla="*/ 942 h 942"/>
                <a:gd name="T6" fmla="*/ 246 w 246"/>
                <a:gd name="T7" fmla="*/ 792 h 942"/>
                <a:gd name="T8" fmla="*/ 246 w 246"/>
                <a:gd name="T9" fmla="*/ 0 h 9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6" h="942">
                  <a:moveTo>
                    <a:pt x="246" y="0"/>
                  </a:moveTo>
                  <a:lnTo>
                    <a:pt x="0" y="151"/>
                  </a:lnTo>
                  <a:lnTo>
                    <a:pt x="0" y="942"/>
                  </a:lnTo>
                  <a:lnTo>
                    <a:pt x="246" y="792"/>
                  </a:lnTo>
                  <a:lnTo>
                    <a:pt x="246" y="0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32" name="Freeform 479">
              <a:extLst>
                <a:ext uri="{FF2B5EF4-FFF2-40B4-BE49-F238E27FC236}">
                  <a16:creationId xmlns:a16="http://schemas.microsoft.com/office/drawing/2014/main" id="{93D52D3A-893D-164B-8AB0-CB34F8B67C1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2" y="4241"/>
              <a:ext cx="47" cy="96"/>
            </a:xfrm>
            <a:custGeom>
              <a:avLst/>
              <a:gdLst>
                <a:gd name="T0" fmla="*/ 47 w 47"/>
                <a:gd name="T1" fmla="*/ 0 h 96"/>
                <a:gd name="T2" fmla="*/ 0 w 47"/>
                <a:gd name="T3" fmla="*/ 30 h 96"/>
                <a:gd name="T4" fmla="*/ 0 w 47"/>
                <a:gd name="T5" fmla="*/ 96 h 96"/>
                <a:gd name="T6" fmla="*/ 47 w 47"/>
                <a:gd name="T7" fmla="*/ 66 h 96"/>
                <a:gd name="T8" fmla="*/ 47 w 47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96">
                  <a:moveTo>
                    <a:pt x="47" y="0"/>
                  </a:moveTo>
                  <a:lnTo>
                    <a:pt x="0" y="30"/>
                  </a:lnTo>
                  <a:lnTo>
                    <a:pt x="0" y="96"/>
                  </a:lnTo>
                  <a:lnTo>
                    <a:pt x="47" y="66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33" name="Freeform 480">
              <a:extLst>
                <a:ext uri="{FF2B5EF4-FFF2-40B4-BE49-F238E27FC236}">
                  <a16:creationId xmlns:a16="http://schemas.microsoft.com/office/drawing/2014/main" id="{ED16450D-5EF5-E846-B22C-D66AAC4812A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2" y="4153"/>
              <a:ext cx="47" cy="97"/>
            </a:xfrm>
            <a:custGeom>
              <a:avLst/>
              <a:gdLst>
                <a:gd name="T0" fmla="*/ 47 w 47"/>
                <a:gd name="T1" fmla="*/ 0 h 97"/>
                <a:gd name="T2" fmla="*/ 0 w 47"/>
                <a:gd name="T3" fmla="*/ 31 h 97"/>
                <a:gd name="T4" fmla="*/ 0 w 47"/>
                <a:gd name="T5" fmla="*/ 97 h 97"/>
                <a:gd name="T6" fmla="*/ 47 w 47"/>
                <a:gd name="T7" fmla="*/ 66 h 97"/>
                <a:gd name="T8" fmla="*/ 47 w 47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97">
                  <a:moveTo>
                    <a:pt x="47" y="0"/>
                  </a:moveTo>
                  <a:lnTo>
                    <a:pt x="0" y="31"/>
                  </a:lnTo>
                  <a:lnTo>
                    <a:pt x="0" y="97"/>
                  </a:lnTo>
                  <a:lnTo>
                    <a:pt x="47" y="66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34" name="Freeform 481">
              <a:extLst>
                <a:ext uri="{FF2B5EF4-FFF2-40B4-BE49-F238E27FC236}">
                  <a16:creationId xmlns:a16="http://schemas.microsoft.com/office/drawing/2014/main" id="{7D6B3812-C3EA-CC41-BD1A-480CE411B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2" y="4064"/>
              <a:ext cx="47" cy="99"/>
            </a:xfrm>
            <a:custGeom>
              <a:avLst/>
              <a:gdLst>
                <a:gd name="T0" fmla="*/ 47 w 47"/>
                <a:gd name="T1" fmla="*/ 0 h 99"/>
                <a:gd name="T2" fmla="*/ 0 w 47"/>
                <a:gd name="T3" fmla="*/ 31 h 99"/>
                <a:gd name="T4" fmla="*/ 0 w 47"/>
                <a:gd name="T5" fmla="*/ 99 h 99"/>
                <a:gd name="T6" fmla="*/ 47 w 47"/>
                <a:gd name="T7" fmla="*/ 68 h 99"/>
                <a:gd name="T8" fmla="*/ 47 w 47"/>
                <a:gd name="T9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99">
                  <a:moveTo>
                    <a:pt x="47" y="0"/>
                  </a:moveTo>
                  <a:lnTo>
                    <a:pt x="0" y="31"/>
                  </a:lnTo>
                  <a:lnTo>
                    <a:pt x="0" y="99"/>
                  </a:lnTo>
                  <a:lnTo>
                    <a:pt x="47" y="68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41" name="Freeform 482">
              <a:extLst>
                <a:ext uri="{FF2B5EF4-FFF2-40B4-BE49-F238E27FC236}">
                  <a16:creationId xmlns:a16="http://schemas.microsoft.com/office/drawing/2014/main" id="{AC726010-BE2F-2A47-B115-7BDA08F8FED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2" y="3977"/>
              <a:ext cx="47" cy="99"/>
            </a:xfrm>
            <a:custGeom>
              <a:avLst/>
              <a:gdLst>
                <a:gd name="T0" fmla="*/ 47 w 47"/>
                <a:gd name="T1" fmla="*/ 0 h 99"/>
                <a:gd name="T2" fmla="*/ 0 w 47"/>
                <a:gd name="T3" fmla="*/ 30 h 99"/>
                <a:gd name="T4" fmla="*/ 0 w 47"/>
                <a:gd name="T5" fmla="*/ 99 h 99"/>
                <a:gd name="T6" fmla="*/ 47 w 47"/>
                <a:gd name="T7" fmla="*/ 68 h 99"/>
                <a:gd name="T8" fmla="*/ 47 w 47"/>
                <a:gd name="T9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99">
                  <a:moveTo>
                    <a:pt x="47" y="0"/>
                  </a:moveTo>
                  <a:lnTo>
                    <a:pt x="0" y="30"/>
                  </a:lnTo>
                  <a:lnTo>
                    <a:pt x="0" y="99"/>
                  </a:lnTo>
                  <a:lnTo>
                    <a:pt x="47" y="68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42" name="Freeform 483">
              <a:extLst>
                <a:ext uri="{FF2B5EF4-FFF2-40B4-BE49-F238E27FC236}">
                  <a16:creationId xmlns:a16="http://schemas.microsoft.com/office/drawing/2014/main" id="{27E9A2BB-0032-6546-BBD4-250152161C98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2" y="3890"/>
              <a:ext cx="47" cy="99"/>
            </a:xfrm>
            <a:custGeom>
              <a:avLst/>
              <a:gdLst>
                <a:gd name="T0" fmla="*/ 47 w 47"/>
                <a:gd name="T1" fmla="*/ 0 h 99"/>
                <a:gd name="T2" fmla="*/ 0 w 47"/>
                <a:gd name="T3" fmla="*/ 30 h 99"/>
                <a:gd name="T4" fmla="*/ 0 w 47"/>
                <a:gd name="T5" fmla="*/ 99 h 99"/>
                <a:gd name="T6" fmla="*/ 47 w 47"/>
                <a:gd name="T7" fmla="*/ 68 h 99"/>
                <a:gd name="T8" fmla="*/ 47 w 47"/>
                <a:gd name="T9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99">
                  <a:moveTo>
                    <a:pt x="47" y="0"/>
                  </a:moveTo>
                  <a:lnTo>
                    <a:pt x="0" y="30"/>
                  </a:lnTo>
                  <a:lnTo>
                    <a:pt x="0" y="99"/>
                  </a:lnTo>
                  <a:lnTo>
                    <a:pt x="47" y="68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43" name="Freeform 484">
              <a:extLst>
                <a:ext uri="{FF2B5EF4-FFF2-40B4-BE49-F238E27FC236}">
                  <a16:creationId xmlns:a16="http://schemas.microsoft.com/office/drawing/2014/main" id="{8EB2C992-4D53-3C46-90F7-B4FB3B55B758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2" y="3803"/>
              <a:ext cx="47" cy="98"/>
            </a:xfrm>
            <a:custGeom>
              <a:avLst/>
              <a:gdLst>
                <a:gd name="T0" fmla="*/ 47 w 47"/>
                <a:gd name="T1" fmla="*/ 0 h 98"/>
                <a:gd name="T2" fmla="*/ 0 w 47"/>
                <a:gd name="T3" fmla="*/ 30 h 98"/>
                <a:gd name="T4" fmla="*/ 0 w 47"/>
                <a:gd name="T5" fmla="*/ 98 h 98"/>
                <a:gd name="T6" fmla="*/ 47 w 47"/>
                <a:gd name="T7" fmla="*/ 68 h 98"/>
                <a:gd name="T8" fmla="*/ 47 w 47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98">
                  <a:moveTo>
                    <a:pt x="47" y="0"/>
                  </a:moveTo>
                  <a:lnTo>
                    <a:pt x="0" y="30"/>
                  </a:lnTo>
                  <a:lnTo>
                    <a:pt x="0" y="98"/>
                  </a:lnTo>
                  <a:lnTo>
                    <a:pt x="47" y="68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44" name="Freeform 485">
              <a:extLst>
                <a:ext uri="{FF2B5EF4-FFF2-40B4-BE49-F238E27FC236}">
                  <a16:creationId xmlns:a16="http://schemas.microsoft.com/office/drawing/2014/main" id="{E4188CEB-8F43-8248-9150-B8043D9800BC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2" y="3715"/>
              <a:ext cx="47" cy="99"/>
            </a:xfrm>
            <a:custGeom>
              <a:avLst/>
              <a:gdLst>
                <a:gd name="T0" fmla="*/ 47 w 47"/>
                <a:gd name="T1" fmla="*/ 0 h 99"/>
                <a:gd name="T2" fmla="*/ 0 w 47"/>
                <a:gd name="T3" fmla="*/ 31 h 99"/>
                <a:gd name="T4" fmla="*/ 0 w 47"/>
                <a:gd name="T5" fmla="*/ 99 h 99"/>
                <a:gd name="T6" fmla="*/ 47 w 47"/>
                <a:gd name="T7" fmla="*/ 69 h 99"/>
                <a:gd name="T8" fmla="*/ 47 w 47"/>
                <a:gd name="T9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99">
                  <a:moveTo>
                    <a:pt x="47" y="0"/>
                  </a:moveTo>
                  <a:lnTo>
                    <a:pt x="0" y="31"/>
                  </a:lnTo>
                  <a:lnTo>
                    <a:pt x="0" y="99"/>
                  </a:lnTo>
                  <a:lnTo>
                    <a:pt x="47" y="69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45" name="Freeform 486">
              <a:extLst>
                <a:ext uri="{FF2B5EF4-FFF2-40B4-BE49-F238E27FC236}">
                  <a16:creationId xmlns:a16="http://schemas.microsoft.com/office/drawing/2014/main" id="{E6E2422C-8596-CC44-9C32-2F542AC37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8" y="4198"/>
              <a:ext cx="57" cy="170"/>
            </a:xfrm>
            <a:custGeom>
              <a:avLst/>
              <a:gdLst>
                <a:gd name="T0" fmla="*/ 57 w 57"/>
                <a:gd name="T1" fmla="*/ 0 h 170"/>
                <a:gd name="T2" fmla="*/ 0 w 57"/>
                <a:gd name="T3" fmla="*/ 31 h 170"/>
                <a:gd name="T4" fmla="*/ 0 w 57"/>
                <a:gd name="T5" fmla="*/ 170 h 170"/>
                <a:gd name="T6" fmla="*/ 57 w 57"/>
                <a:gd name="T7" fmla="*/ 139 h 170"/>
                <a:gd name="T8" fmla="*/ 57 w 57"/>
                <a:gd name="T9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170">
                  <a:moveTo>
                    <a:pt x="57" y="0"/>
                  </a:moveTo>
                  <a:lnTo>
                    <a:pt x="0" y="31"/>
                  </a:lnTo>
                  <a:lnTo>
                    <a:pt x="0" y="170"/>
                  </a:lnTo>
                  <a:lnTo>
                    <a:pt x="57" y="139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46" name="Freeform 487">
              <a:extLst>
                <a:ext uri="{FF2B5EF4-FFF2-40B4-BE49-F238E27FC236}">
                  <a16:creationId xmlns:a16="http://schemas.microsoft.com/office/drawing/2014/main" id="{987F5571-C4E0-D54F-829E-9D72ECB78D3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8" y="4111"/>
              <a:ext cx="57" cy="99"/>
            </a:xfrm>
            <a:custGeom>
              <a:avLst/>
              <a:gdLst>
                <a:gd name="T0" fmla="*/ 57 w 57"/>
                <a:gd name="T1" fmla="*/ 0 h 99"/>
                <a:gd name="T2" fmla="*/ 0 w 57"/>
                <a:gd name="T3" fmla="*/ 31 h 99"/>
                <a:gd name="T4" fmla="*/ 0 w 57"/>
                <a:gd name="T5" fmla="*/ 99 h 99"/>
                <a:gd name="T6" fmla="*/ 57 w 57"/>
                <a:gd name="T7" fmla="*/ 68 h 99"/>
                <a:gd name="T8" fmla="*/ 57 w 57"/>
                <a:gd name="T9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99">
                  <a:moveTo>
                    <a:pt x="57" y="0"/>
                  </a:moveTo>
                  <a:lnTo>
                    <a:pt x="0" y="31"/>
                  </a:lnTo>
                  <a:lnTo>
                    <a:pt x="0" y="99"/>
                  </a:lnTo>
                  <a:lnTo>
                    <a:pt x="57" y="68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47" name="Freeform 488">
              <a:extLst>
                <a:ext uri="{FF2B5EF4-FFF2-40B4-BE49-F238E27FC236}">
                  <a16:creationId xmlns:a16="http://schemas.microsoft.com/office/drawing/2014/main" id="{98966C13-A45C-924E-B85E-627B0F320B1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8" y="4024"/>
              <a:ext cx="57" cy="99"/>
            </a:xfrm>
            <a:custGeom>
              <a:avLst/>
              <a:gdLst>
                <a:gd name="T0" fmla="*/ 57 w 57"/>
                <a:gd name="T1" fmla="*/ 0 h 99"/>
                <a:gd name="T2" fmla="*/ 0 w 57"/>
                <a:gd name="T3" fmla="*/ 31 h 99"/>
                <a:gd name="T4" fmla="*/ 0 w 57"/>
                <a:gd name="T5" fmla="*/ 99 h 99"/>
                <a:gd name="T6" fmla="*/ 57 w 57"/>
                <a:gd name="T7" fmla="*/ 68 h 99"/>
                <a:gd name="T8" fmla="*/ 57 w 57"/>
                <a:gd name="T9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99">
                  <a:moveTo>
                    <a:pt x="57" y="0"/>
                  </a:moveTo>
                  <a:lnTo>
                    <a:pt x="0" y="31"/>
                  </a:lnTo>
                  <a:lnTo>
                    <a:pt x="0" y="99"/>
                  </a:lnTo>
                  <a:lnTo>
                    <a:pt x="57" y="68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48" name="Freeform 489">
              <a:extLst>
                <a:ext uri="{FF2B5EF4-FFF2-40B4-BE49-F238E27FC236}">
                  <a16:creationId xmlns:a16="http://schemas.microsoft.com/office/drawing/2014/main" id="{16CE250A-1B76-344B-9593-2918196A3B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8" y="3937"/>
              <a:ext cx="57" cy="96"/>
            </a:xfrm>
            <a:custGeom>
              <a:avLst/>
              <a:gdLst>
                <a:gd name="T0" fmla="*/ 57 w 57"/>
                <a:gd name="T1" fmla="*/ 0 h 96"/>
                <a:gd name="T2" fmla="*/ 0 w 57"/>
                <a:gd name="T3" fmla="*/ 30 h 96"/>
                <a:gd name="T4" fmla="*/ 0 w 57"/>
                <a:gd name="T5" fmla="*/ 96 h 96"/>
                <a:gd name="T6" fmla="*/ 57 w 57"/>
                <a:gd name="T7" fmla="*/ 66 h 96"/>
                <a:gd name="T8" fmla="*/ 57 w 57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96">
                  <a:moveTo>
                    <a:pt x="57" y="0"/>
                  </a:moveTo>
                  <a:lnTo>
                    <a:pt x="0" y="30"/>
                  </a:lnTo>
                  <a:lnTo>
                    <a:pt x="0" y="96"/>
                  </a:lnTo>
                  <a:lnTo>
                    <a:pt x="57" y="66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49" name="Freeform 490">
              <a:extLst>
                <a:ext uri="{FF2B5EF4-FFF2-40B4-BE49-F238E27FC236}">
                  <a16:creationId xmlns:a16="http://schemas.microsoft.com/office/drawing/2014/main" id="{F04B2BE3-CCEC-BC47-96A4-477DABB34C0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8" y="3850"/>
              <a:ext cx="57" cy="96"/>
            </a:xfrm>
            <a:custGeom>
              <a:avLst/>
              <a:gdLst>
                <a:gd name="T0" fmla="*/ 57 w 57"/>
                <a:gd name="T1" fmla="*/ 0 h 96"/>
                <a:gd name="T2" fmla="*/ 0 w 57"/>
                <a:gd name="T3" fmla="*/ 30 h 96"/>
                <a:gd name="T4" fmla="*/ 0 w 57"/>
                <a:gd name="T5" fmla="*/ 96 h 96"/>
                <a:gd name="T6" fmla="*/ 57 w 57"/>
                <a:gd name="T7" fmla="*/ 66 h 96"/>
                <a:gd name="T8" fmla="*/ 57 w 57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96">
                  <a:moveTo>
                    <a:pt x="57" y="0"/>
                  </a:moveTo>
                  <a:lnTo>
                    <a:pt x="0" y="30"/>
                  </a:lnTo>
                  <a:lnTo>
                    <a:pt x="0" y="96"/>
                  </a:lnTo>
                  <a:lnTo>
                    <a:pt x="57" y="66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50" name="Freeform 491">
              <a:extLst>
                <a:ext uri="{FF2B5EF4-FFF2-40B4-BE49-F238E27FC236}">
                  <a16:creationId xmlns:a16="http://schemas.microsoft.com/office/drawing/2014/main" id="{72E9440F-21DB-D146-8569-FAF464AA4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8" y="3763"/>
              <a:ext cx="57" cy="96"/>
            </a:xfrm>
            <a:custGeom>
              <a:avLst/>
              <a:gdLst>
                <a:gd name="T0" fmla="*/ 57 w 57"/>
                <a:gd name="T1" fmla="*/ 0 h 96"/>
                <a:gd name="T2" fmla="*/ 0 w 57"/>
                <a:gd name="T3" fmla="*/ 30 h 96"/>
                <a:gd name="T4" fmla="*/ 0 w 57"/>
                <a:gd name="T5" fmla="*/ 96 h 96"/>
                <a:gd name="T6" fmla="*/ 57 w 57"/>
                <a:gd name="T7" fmla="*/ 65 h 96"/>
                <a:gd name="T8" fmla="*/ 57 w 57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96">
                  <a:moveTo>
                    <a:pt x="57" y="0"/>
                  </a:moveTo>
                  <a:lnTo>
                    <a:pt x="0" y="30"/>
                  </a:lnTo>
                  <a:lnTo>
                    <a:pt x="0" y="96"/>
                  </a:lnTo>
                  <a:lnTo>
                    <a:pt x="57" y="65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51" name="Freeform 492">
              <a:extLst>
                <a:ext uri="{FF2B5EF4-FFF2-40B4-BE49-F238E27FC236}">
                  <a16:creationId xmlns:a16="http://schemas.microsoft.com/office/drawing/2014/main" id="{A3BB12B6-4701-6649-92F9-CC7FEFE53B9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8" y="3673"/>
              <a:ext cx="57" cy="99"/>
            </a:xfrm>
            <a:custGeom>
              <a:avLst/>
              <a:gdLst>
                <a:gd name="T0" fmla="*/ 57 w 57"/>
                <a:gd name="T1" fmla="*/ 0 h 99"/>
                <a:gd name="T2" fmla="*/ 0 w 57"/>
                <a:gd name="T3" fmla="*/ 31 h 99"/>
                <a:gd name="T4" fmla="*/ 0 w 57"/>
                <a:gd name="T5" fmla="*/ 99 h 99"/>
                <a:gd name="T6" fmla="*/ 57 w 57"/>
                <a:gd name="T7" fmla="*/ 68 h 99"/>
                <a:gd name="T8" fmla="*/ 57 w 57"/>
                <a:gd name="T9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99">
                  <a:moveTo>
                    <a:pt x="57" y="0"/>
                  </a:moveTo>
                  <a:lnTo>
                    <a:pt x="0" y="31"/>
                  </a:lnTo>
                  <a:lnTo>
                    <a:pt x="0" y="99"/>
                  </a:lnTo>
                  <a:lnTo>
                    <a:pt x="57" y="68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52" name="Freeform 493">
              <a:extLst>
                <a:ext uri="{FF2B5EF4-FFF2-40B4-BE49-F238E27FC236}">
                  <a16:creationId xmlns:a16="http://schemas.microsoft.com/office/drawing/2014/main" id="{D21BCEC8-F0F3-2046-8738-060CCD69C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8324" y="4158"/>
              <a:ext cx="57" cy="97"/>
            </a:xfrm>
            <a:custGeom>
              <a:avLst/>
              <a:gdLst>
                <a:gd name="T0" fmla="*/ 57 w 57"/>
                <a:gd name="T1" fmla="*/ 0 h 97"/>
                <a:gd name="T2" fmla="*/ 0 w 57"/>
                <a:gd name="T3" fmla="*/ 31 h 97"/>
                <a:gd name="T4" fmla="*/ 0 w 57"/>
                <a:gd name="T5" fmla="*/ 97 h 97"/>
                <a:gd name="T6" fmla="*/ 57 w 57"/>
                <a:gd name="T7" fmla="*/ 66 h 97"/>
                <a:gd name="T8" fmla="*/ 57 w 57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97">
                  <a:moveTo>
                    <a:pt x="57" y="0"/>
                  </a:moveTo>
                  <a:lnTo>
                    <a:pt x="0" y="31"/>
                  </a:lnTo>
                  <a:lnTo>
                    <a:pt x="0" y="97"/>
                  </a:lnTo>
                  <a:lnTo>
                    <a:pt x="57" y="66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53" name="Freeform 494">
              <a:extLst>
                <a:ext uri="{FF2B5EF4-FFF2-40B4-BE49-F238E27FC236}">
                  <a16:creationId xmlns:a16="http://schemas.microsoft.com/office/drawing/2014/main" id="{EA6726BB-F0FD-0645-979B-45B75DEFED39}"/>
                </a:ext>
              </a:extLst>
            </p:cNvPr>
            <p:cNvSpPr>
              <a:spLocks/>
            </p:cNvSpPr>
            <p:nvPr/>
          </p:nvSpPr>
          <p:spPr bwMode="auto">
            <a:xfrm>
              <a:off x="8324" y="4071"/>
              <a:ext cx="57" cy="97"/>
            </a:xfrm>
            <a:custGeom>
              <a:avLst/>
              <a:gdLst>
                <a:gd name="T0" fmla="*/ 57 w 57"/>
                <a:gd name="T1" fmla="*/ 0 h 97"/>
                <a:gd name="T2" fmla="*/ 0 w 57"/>
                <a:gd name="T3" fmla="*/ 31 h 97"/>
                <a:gd name="T4" fmla="*/ 0 w 57"/>
                <a:gd name="T5" fmla="*/ 97 h 97"/>
                <a:gd name="T6" fmla="*/ 57 w 57"/>
                <a:gd name="T7" fmla="*/ 66 h 97"/>
                <a:gd name="T8" fmla="*/ 57 w 57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97">
                  <a:moveTo>
                    <a:pt x="57" y="0"/>
                  </a:moveTo>
                  <a:lnTo>
                    <a:pt x="0" y="31"/>
                  </a:lnTo>
                  <a:lnTo>
                    <a:pt x="0" y="97"/>
                  </a:lnTo>
                  <a:lnTo>
                    <a:pt x="57" y="66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54" name="Freeform 495">
              <a:extLst>
                <a:ext uri="{FF2B5EF4-FFF2-40B4-BE49-F238E27FC236}">
                  <a16:creationId xmlns:a16="http://schemas.microsoft.com/office/drawing/2014/main" id="{2C7C6901-F0A9-4B4A-89E2-412C8FC6A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24" y="3984"/>
              <a:ext cx="57" cy="96"/>
            </a:xfrm>
            <a:custGeom>
              <a:avLst/>
              <a:gdLst>
                <a:gd name="T0" fmla="*/ 57 w 57"/>
                <a:gd name="T1" fmla="*/ 0 h 96"/>
                <a:gd name="T2" fmla="*/ 0 w 57"/>
                <a:gd name="T3" fmla="*/ 28 h 96"/>
                <a:gd name="T4" fmla="*/ 0 w 57"/>
                <a:gd name="T5" fmla="*/ 96 h 96"/>
                <a:gd name="T6" fmla="*/ 57 w 57"/>
                <a:gd name="T7" fmla="*/ 66 h 96"/>
                <a:gd name="T8" fmla="*/ 57 w 57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96">
                  <a:moveTo>
                    <a:pt x="57" y="0"/>
                  </a:moveTo>
                  <a:lnTo>
                    <a:pt x="0" y="28"/>
                  </a:lnTo>
                  <a:lnTo>
                    <a:pt x="0" y="96"/>
                  </a:lnTo>
                  <a:lnTo>
                    <a:pt x="57" y="66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55" name="Freeform 496">
              <a:extLst>
                <a:ext uri="{FF2B5EF4-FFF2-40B4-BE49-F238E27FC236}">
                  <a16:creationId xmlns:a16="http://schemas.microsoft.com/office/drawing/2014/main" id="{F7280A6A-9836-3242-AA05-43E8C212EE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324" y="3894"/>
              <a:ext cx="57" cy="99"/>
            </a:xfrm>
            <a:custGeom>
              <a:avLst/>
              <a:gdLst>
                <a:gd name="T0" fmla="*/ 57 w 57"/>
                <a:gd name="T1" fmla="*/ 0 h 99"/>
                <a:gd name="T2" fmla="*/ 0 w 57"/>
                <a:gd name="T3" fmla="*/ 31 h 99"/>
                <a:gd name="T4" fmla="*/ 0 w 57"/>
                <a:gd name="T5" fmla="*/ 99 h 99"/>
                <a:gd name="T6" fmla="*/ 57 w 57"/>
                <a:gd name="T7" fmla="*/ 69 h 99"/>
                <a:gd name="T8" fmla="*/ 57 w 57"/>
                <a:gd name="T9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99">
                  <a:moveTo>
                    <a:pt x="57" y="0"/>
                  </a:moveTo>
                  <a:lnTo>
                    <a:pt x="0" y="31"/>
                  </a:lnTo>
                  <a:lnTo>
                    <a:pt x="0" y="99"/>
                  </a:lnTo>
                  <a:lnTo>
                    <a:pt x="57" y="69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56" name="Freeform 497">
              <a:extLst>
                <a:ext uri="{FF2B5EF4-FFF2-40B4-BE49-F238E27FC236}">
                  <a16:creationId xmlns:a16="http://schemas.microsoft.com/office/drawing/2014/main" id="{D71229AB-960E-9B49-B0AB-E8D17B29180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24" y="3807"/>
              <a:ext cx="57" cy="99"/>
            </a:xfrm>
            <a:custGeom>
              <a:avLst/>
              <a:gdLst>
                <a:gd name="T0" fmla="*/ 57 w 57"/>
                <a:gd name="T1" fmla="*/ 0 h 99"/>
                <a:gd name="T2" fmla="*/ 0 w 57"/>
                <a:gd name="T3" fmla="*/ 31 h 99"/>
                <a:gd name="T4" fmla="*/ 0 w 57"/>
                <a:gd name="T5" fmla="*/ 99 h 99"/>
                <a:gd name="T6" fmla="*/ 57 w 57"/>
                <a:gd name="T7" fmla="*/ 69 h 99"/>
                <a:gd name="T8" fmla="*/ 57 w 57"/>
                <a:gd name="T9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99">
                  <a:moveTo>
                    <a:pt x="57" y="0"/>
                  </a:moveTo>
                  <a:lnTo>
                    <a:pt x="0" y="31"/>
                  </a:lnTo>
                  <a:lnTo>
                    <a:pt x="0" y="99"/>
                  </a:lnTo>
                  <a:lnTo>
                    <a:pt x="57" y="69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57" name="Freeform 498">
              <a:extLst>
                <a:ext uri="{FF2B5EF4-FFF2-40B4-BE49-F238E27FC236}">
                  <a16:creationId xmlns:a16="http://schemas.microsoft.com/office/drawing/2014/main" id="{D1CFCDE4-92D7-E34E-93C9-195C0AAC0232}"/>
                </a:ext>
              </a:extLst>
            </p:cNvPr>
            <p:cNvSpPr>
              <a:spLocks/>
            </p:cNvSpPr>
            <p:nvPr/>
          </p:nvSpPr>
          <p:spPr bwMode="auto">
            <a:xfrm>
              <a:off x="8324" y="3720"/>
              <a:ext cx="57" cy="99"/>
            </a:xfrm>
            <a:custGeom>
              <a:avLst/>
              <a:gdLst>
                <a:gd name="T0" fmla="*/ 57 w 57"/>
                <a:gd name="T1" fmla="*/ 0 h 99"/>
                <a:gd name="T2" fmla="*/ 0 w 57"/>
                <a:gd name="T3" fmla="*/ 31 h 99"/>
                <a:gd name="T4" fmla="*/ 0 w 57"/>
                <a:gd name="T5" fmla="*/ 99 h 99"/>
                <a:gd name="T6" fmla="*/ 57 w 57"/>
                <a:gd name="T7" fmla="*/ 68 h 99"/>
                <a:gd name="T8" fmla="*/ 57 w 57"/>
                <a:gd name="T9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99">
                  <a:moveTo>
                    <a:pt x="57" y="0"/>
                  </a:moveTo>
                  <a:lnTo>
                    <a:pt x="0" y="31"/>
                  </a:lnTo>
                  <a:lnTo>
                    <a:pt x="0" y="99"/>
                  </a:lnTo>
                  <a:lnTo>
                    <a:pt x="57" y="68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58" name="Freeform 499">
              <a:extLst>
                <a:ext uri="{FF2B5EF4-FFF2-40B4-BE49-F238E27FC236}">
                  <a16:creationId xmlns:a16="http://schemas.microsoft.com/office/drawing/2014/main" id="{6B4D790E-E090-FC45-9F54-CFE513A8889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24" y="3633"/>
              <a:ext cx="57" cy="99"/>
            </a:xfrm>
            <a:custGeom>
              <a:avLst/>
              <a:gdLst>
                <a:gd name="T0" fmla="*/ 57 w 57"/>
                <a:gd name="T1" fmla="*/ 0 h 99"/>
                <a:gd name="T2" fmla="*/ 0 w 57"/>
                <a:gd name="T3" fmla="*/ 31 h 99"/>
                <a:gd name="T4" fmla="*/ 0 w 57"/>
                <a:gd name="T5" fmla="*/ 99 h 99"/>
                <a:gd name="T6" fmla="*/ 57 w 57"/>
                <a:gd name="T7" fmla="*/ 68 h 99"/>
                <a:gd name="T8" fmla="*/ 57 w 57"/>
                <a:gd name="T9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99">
                  <a:moveTo>
                    <a:pt x="57" y="0"/>
                  </a:moveTo>
                  <a:lnTo>
                    <a:pt x="0" y="31"/>
                  </a:lnTo>
                  <a:lnTo>
                    <a:pt x="0" y="99"/>
                  </a:lnTo>
                  <a:lnTo>
                    <a:pt x="57" y="68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59" name="Freeform 500">
              <a:extLst>
                <a:ext uri="{FF2B5EF4-FFF2-40B4-BE49-F238E27FC236}">
                  <a16:creationId xmlns:a16="http://schemas.microsoft.com/office/drawing/2014/main" id="{C91916C3-A767-9745-B1B1-B6B308FC6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5" y="3341"/>
              <a:ext cx="509" cy="306"/>
            </a:xfrm>
            <a:custGeom>
              <a:avLst/>
              <a:gdLst>
                <a:gd name="T0" fmla="*/ 0 w 509"/>
                <a:gd name="T1" fmla="*/ 155 h 306"/>
                <a:gd name="T2" fmla="*/ 264 w 509"/>
                <a:gd name="T3" fmla="*/ 0 h 306"/>
                <a:gd name="T4" fmla="*/ 509 w 509"/>
                <a:gd name="T5" fmla="*/ 155 h 306"/>
                <a:gd name="T6" fmla="*/ 259 w 509"/>
                <a:gd name="T7" fmla="*/ 306 h 306"/>
                <a:gd name="T8" fmla="*/ 0 w 509"/>
                <a:gd name="T9" fmla="*/ 155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9" h="306">
                  <a:moveTo>
                    <a:pt x="0" y="155"/>
                  </a:moveTo>
                  <a:lnTo>
                    <a:pt x="264" y="0"/>
                  </a:lnTo>
                  <a:lnTo>
                    <a:pt x="509" y="155"/>
                  </a:lnTo>
                  <a:lnTo>
                    <a:pt x="259" y="306"/>
                  </a:lnTo>
                  <a:lnTo>
                    <a:pt x="0" y="155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60" name="Freeform 501">
              <a:extLst>
                <a:ext uri="{FF2B5EF4-FFF2-40B4-BE49-F238E27FC236}">
                  <a16:creationId xmlns:a16="http://schemas.microsoft.com/office/drawing/2014/main" id="{AE3946D4-DF03-4443-A05D-C6B1B02D49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975" y="2978"/>
              <a:ext cx="179" cy="622"/>
            </a:xfrm>
            <a:custGeom>
              <a:avLst/>
              <a:gdLst>
                <a:gd name="T0" fmla="*/ 179 w 179"/>
                <a:gd name="T1" fmla="*/ 622 h 622"/>
                <a:gd name="T2" fmla="*/ 0 w 179"/>
                <a:gd name="T3" fmla="*/ 523 h 622"/>
                <a:gd name="T4" fmla="*/ 0 w 179"/>
                <a:gd name="T5" fmla="*/ 0 h 622"/>
                <a:gd name="T6" fmla="*/ 179 w 179"/>
                <a:gd name="T7" fmla="*/ 102 h 622"/>
                <a:gd name="T8" fmla="*/ 179 w 179"/>
                <a:gd name="T9" fmla="*/ 622 h 6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9" h="622">
                  <a:moveTo>
                    <a:pt x="179" y="622"/>
                  </a:moveTo>
                  <a:lnTo>
                    <a:pt x="0" y="523"/>
                  </a:lnTo>
                  <a:lnTo>
                    <a:pt x="0" y="0"/>
                  </a:lnTo>
                  <a:lnTo>
                    <a:pt x="179" y="102"/>
                  </a:lnTo>
                  <a:lnTo>
                    <a:pt x="179" y="622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61" name="Freeform 502">
              <a:extLst>
                <a:ext uri="{FF2B5EF4-FFF2-40B4-BE49-F238E27FC236}">
                  <a16:creationId xmlns:a16="http://schemas.microsoft.com/office/drawing/2014/main" id="{D43EB342-C6EC-8E46-8998-895FE6C1192B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4" y="2978"/>
              <a:ext cx="170" cy="622"/>
            </a:xfrm>
            <a:custGeom>
              <a:avLst/>
              <a:gdLst>
                <a:gd name="T0" fmla="*/ 170 w 170"/>
                <a:gd name="T1" fmla="*/ 0 h 622"/>
                <a:gd name="T2" fmla="*/ 0 w 170"/>
                <a:gd name="T3" fmla="*/ 102 h 622"/>
                <a:gd name="T4" fmla="*/ 0 w 170"/>
                <a:gd name="T5" fmla="*/ 622 h 622"/>
                <a:gd name="T6" fmla="*/ 170 w 170"/>
                <a:gd name="T7" fmla="*/ 523 h 622"/>
                <a:gd name="T8" fmla="*/ 170 w 170"/>
                <a:gd name="T9" fmla="*/ 0 h 6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" h="622">
                  <a:moveTo>
                    <a:pt x="170" y="0"/>
                  </a:moveTo>
                  <a:lnTo>
                    <a:pt x="0" y="102"/>
                  </a:lnTo>
                  <a:lnTo>
                    <a:pt x="0" y="622"/>
                  </a:lnTo>
                  <a:lnTo>
                    <a:pt x="170" y="523"/>
                  </a:lnTo>
                  <a:lnTo>
                    <a:pt x="170" y="0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62" name="Freeform 503">
              <a:extLst>
                <a:ext uri="{FF2B5EF4-FFF2-40B4-BE49-F238E27FC236}">
                  <a16:creationId xmlns:a16="http://schemas.microsoft.com/office/drawing/2014/main" id="{87068EF2-C6DC-5E4C-9FE7-EBD96CCFF094}"/>
                </a:ext>
              </a:extLst>
            </p:cNvPr>
            <p:cNvSpPr>
              <a:spLocks/>
            </p:cNvSpPr>
            <p:nvPr/>
          </p:nvSpPr>
          <p:spPr bwMode="auto">
            <a:xfrm>
              <a:off x="7980" y="2884"/>
              <a:ext cx="349" cy="196"/>
            </a:xfrm>
            <a:custGeom>
              <a:avLst/>
              <a:gdLst>
                <a:gd name="T0" fmla="*/ 0 w 349"/>
                <a:gd name="T1" fmla="*/ 94 h 196"/>
                <a:gd name="T2" fmla="*/ 174 w 349"/>
                <a:gd name="T3" fmla="*/ 0 h 196"/>
                <a:gd name="T4" fmla="*/ 349 w 349"/>
                <a:gd name="T5" fmla="*/ 94 h 196"/>
                <a:gd name="T6" fmla="*/ 179 w 349"/>
                <a:gd name="T7" fmla="*/ 196 h 196"/>
                <a:gd name="T8" fmla="*/ 0 w 349"/>
                <a:gd name="T9" fmla="*/ 94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9" h="196">
                  <a:moveTo>
                    <a:pt x="0" y="94"/>
                  </a:moveTo>
                  <a:lnTo>
                    <a:pt x="174" y="0"/>
                  </a:lnTo>
                  <a:lnTo>
                    <a:pt x="349" y="94"/>
                  </a:lnTo>
                  <a:lnTo>
                    <a:pt x="179" y="196"/>
                  </a:lnTo>
                  <a:lnTo>
                    <a:pt x="0" y="94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63" name="Freeform 504">
              <a:extLst>
                <a:ext uri="{FF2B5EF4-FFF2-40B4-BE49-F238E27FC236}">
                  <a16:creationId xmlns:a16="http://schemas.microsoft.com/office/drawing/2014/main" id="{5ECF7DB6-F6BC-1741-9C00-DBA37788F7E8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7" y="2839"/>
              <a:ext cx="37" cy="160"/>
            </a:xfrm>
            <a:custGeom>
              <a:avLst/>
              <a:gdLst>
                <a:gd name="T0" fmla="*/ 37 w 37"/>
                <a:gd name="T1" fmla="*/ 160 h 160"/>
                <a:gd name="T2" fmla="*/ 0 w 37"/>
                <a:gd name="T3" fmla="*/ 142 h 160"/>
                <a:gd name="T4" fmla="*/ 0 w 37"/>
                <a:gd name="T5" fmla="*/ 0 h 160"/>
                <a:gd name="T6" fmla="*/ 37 w 37"/>
                <a:gd name="T7" fmla="*/ 19 h 160"/>
                <a:gd name="T8" fmla="*/ 37 w 37"/>
                <a:gd name="T9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160">
                  <a:moveTo>
                    <a:pt x="37" y="160"/>
                  </a:moveTo>
                  <a:lnTo>
                    <a:pt x="0" y="142"/>
                  </a:lnTo>
                  <a:lnTo>
                    <a:pt x="0" y="0"/>
                  </a:lnTo>
                  <a:lnTo>
                    <a:pt x="37" y="19"/>
                  </a:lnTo>
                  <a:lnTo>
                    <a:pt x="37" y="160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64" name="Freeform 505">
              <a:extLst>
                <a:ext uri="{FF2B5EF4-FFF2-40B4-BE49-F238E27FC236}">
                  <a16:creationId xmlns:a16="http://schemas.microsoft.com/office/drawing/2014/main" id="{05B54B20-8917-F74F-A675-1CB6C5E11BEC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4" y="2830"/>
              <a:ext cx="48" cy="169"/>
            </a:xfrm>
            <a:custGeom>
              <a:avLst/>
              <a:gdLst>
                <a:gd name="T0" fmla="*/ 48 w 48"/>
                <a:gd name="T1" fmla="*/ 0 h 169"/>
                <a:gd name="T2" fmla="*/ 0 w 48"/>
                <a:gd name="T3" fmla="*/ 28 h 169"/>
                <a:gd name="T4" fmla="*/ 0 w 48"/>
                <a:gd name="T5" fmla="*/ 169 h 169"/>
                <a:gd name="T6" fmla="*/ 48 w 48"/>
                <a:gd name="T7" fmla="*/ 141 h 169"/>
                <a:gd name="T8" fmla="*/ 48 w 48"/>
                <a:gd name="T9" fmla="*/ 0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169">
                  <a:moveTo>
                    <a:pt x="48" y="0"/>
                  </a:moveTo>
                  <a:lnTo>
                    <a:pt x="0" y="28"/>
                  </a:lnTo>
                  <a:lnTo>
                    <a:pt x="0" y="169"/>
                  </a:lnTo>
                  <a:lnTo>
                    <a:pt x="48" y="141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65" name="Freeform 506">
              <a:extLst>
                <a:ext uri="{FF2B5EF4-FFF2-40B4-BE49-F238E27FC236}">
                  <a16:creationId xmlns:a16="http://schemas.microsoft.com/office/drawing/2014/main" id="{A3BD39DF-D000-6B4F-9307-29A49D23A70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21" y="2816"/>
              <a:ext cx="85" cy="42"/>
            </a:xfrm>
            <a:custGeom>
              <a:avLst/>
              <a:gdLst>
                <a:gd name="T0" fmla="*/ 0 w 85"/>
                <a:gd name="T1" fmla="*/ 23 h 42"/>
                <a:gd name="T2" fmla="*/ 50 w 85"/>
                <a:gd name="T3" fmla="*/ 0 h 42"/>
                <a:gd name="T4" fmla="*/ 85 w 85"/>
                <a:gd name="T5" fmla="*/ 14 h 42"/>
                <a:gd name="T6" fmla="*/ 38 w 85"/>
                <a:gd name="T7" fmla="*/ 42 h 42"/>
                <a:gd name="T8" fmla="*/ 0 w 85"/>
                <a:gd name="T9" fmla="*/ 23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42">
                  <a:moveTo>
                    <a:pt x="0" y="23"/>
                  </a:moveTo>
                  <a:lnTo>
                    <a:pt x="50" y="0"/>
                  </a:lnTo>
                  <a:lnTo>
                    <a:pt x="85" y="14"/>
                  </a:lnTo>
                  <a:lnTo>
                    <a:pt x="38" y="42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66" name="Freeform 507">
              <a:extLst>
                <a:ext uri="{FF2B5EF4-FFF2-40B4-BE49-F238E27FC236}">
                  <a16:creationId xmlns:a16="http://schemas.microsoft.com/office/drawing/2014/main" id="{8FE21CAF-3314-D54E-9C9F-B1B23F8285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6" y="4504"/>
              <a:ext cx="208" cy="924"/>
            </a:xfrm>
            <a:custGeom>
              <a:avLst/>
              <a:gdLst>
                <a:gd name="T0" fmla="*/ 208 w 208"/>
                <a:gd name="T1" fmla="*/ 0 h 924"/>
                <a:gd name="T2" fmla="*/ 116 w 208"/>
                <a:gd name="T3" fmla="*/ 50 h 924"/>
                <a:gd name="T4" fmla="*/ 0 w 208"/>
                <a:gd name="T5" fmla="*/ 540 h 924"/>
                <a:gd name="T6" fmla="*/ 0 w 208"/>
                <a:gd name="T7" fmla="*/ 924 h 924"/>
                <a:gd name="T8" fmla="*/ 208 w 208"/>
                <a:gd name="T9" fmla="*/ 810 h 924"/>
                <a:gd name="T10" fmla="*/ 208 w 208"/>
                <a:gd name="T11" fmla="*/ 0 h 9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8" h="924">
                  <a:moveTo>
                    <a:pt x="208" y="0"/>
                  </a:moveTo>
                  <a:lnTo>
                    <a:pt x="116" y="50"/>
                  </a:lnTo>
                  <a:lnTo>
                    <a:pt x="0" y="540"/>
                  </a:lnTo>
                  <a:lnTo>
                    <a:pt x="0" y="924"/>
                  </a:lnTo>
                  <a:lnTo>
                    <a:pt x="208" y="810"/>
                  </a:lnTo>
                  <a:lnTo>
                    <a:pt x="208" y="0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67" name="Freeform 508">
              <a:extLst>
                <a:ext uri="{FF2B5EF4-FFF2-40B4-BE49-F238E27FC236}">
                  <a16:creationId xmlns:a16="http://schemas.microsoft.com/office/drawing/2014/main" id="{7B233949-C67E-8543-902D-C172E93D3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06" y="4396"/>
              <a:ext cx="438" cy="1032"/>
            </a:xfrm>
            <a:custGeom>
              <a:avLst/>
              <a:gdLst>
                <a:gd name="T0" fmla="*/ 115 w 438"/>
                <a:gd name="T1" fmla="*/ 0 h 1032"/>
                <a:gd name="T2" fmla="*/ 438 w 438"/>
                <a:gd name="T3" fmla="*/ 158 h 1032"/>
                <a:gd name="T4" fmla="*/ 320 w 438"/>
                <a:gd name="T5" fmla="*/ 648 h 1032"/>
                <a:gd name="T6" fmla="*/ 320 w 438"/>
                <a:gd name="T7" fmla="*/ 1032 h 1032"/>
                <a:gd name="T8" fmla="*/ 0 w 438"/>
                <a:gd name="T9" fmla="*/ 862 h 1032"/>
                <a:gd name="T10" fmla="*/ 0 w 438"/>
                <a:gd name="T11" fmla="*/ 511 h 1032"/>
                <a:gd name="T12" fmla="*/ 115 w 438"/>
                <a:gd name="T13" fmla="*/ 0 h 10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8" h="1032">
                  <a:moveTo>
                    <a:pt x="115" y="0"/>
                  </a:moveTo>
                  <a:lnTo>
                    <a:pt x="438" y="158"/>
                  </a:lnTo>
                  <a:lnTo>
                    <a:pt x="320" y="648"/>
                  </a:lnTo>
                  <a:lnTo>
                    <a:pt x="320" y="1032"/>
                  </a:lnTo>
                  <a:lnTo>
                    <a:pt x="0" y="862"/>
                  </a:lnTo>
                  <a:lnTo>
                    <a:pt x="0" y="511"/>
                  </a:lnTo>
                  <a:lnTo>
                    <a:pt x="115" y="0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68" name="Freeform 509">
              <a:extLst>
                <a:ext uri="{FF2B5EF4-FFF2-40B4-BE49-F238E27FC236}">
                  <a16:creationId xmlns:a16="http://schemas.microsoft.com/office/drawing/2014/main" id="{1605CAEA-3A92-AB4E-B27E-980A51599E2F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6" y="4342"/>
              <a:ext cx="417" cy="212"/>
            </a:xfrm>
            <a:custGeom>
              <a:avLst/>
              <a:gdLst>
                <a:gd name="T0" fmla="*/ 417 w 417"/>
                <a:gd name="T1" fmla="*/ 162 h 212"/>
                <a:gd name="T2" fmla="*/ 325 w 417"/>
                <a:gd name="T3" fmla="*/ 212 h 212"/>
                <a:gd name="T4" fmla="*/ 0 w 417"/>
                <a:gd name="T5" fmla="*/ 54 h 212"/>
                <a:gd name="T6" fmla="*/ 94 w 417"/>
                <a:gd name="T7" fmla="*/ 0 h 212"/>
                <a:gd name="T8" fmla="*/ 417 w 417"/>
                <a:gd name="T9" fmla="*/ 16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7" h="212">
                  <a:moveTo>
                    <a:pt x="417" y="162"/>
                  </a:moveTo>
                  <a:lnTo>
                    <a:pt x="325" y="212"/>
                  </a:lnTo>
                  <a:lnTo>
                    <a:pt x="0" y="54"/>
                  </a:lnTo>
                  <a:lnTo>
                    <a:pt x="94" y="0"/>
                  </a:lnTo>
                  <a:lnTo>
                    <a:pt x="417" y="162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69" name="Freeform 510">
              <a:extLst>
                <a:ext uri="{FF2B5EF4-FFF2-40B4-BE49-F238E27FC236}">
                  <a16:creationId xmlns:a16="http://schemas.microsoft.com/office/drawing/2014/main" id="{417BBD03-5733-CD40-8ECA-8B6901905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6" y="5258"/>
              <a:ext cx="66" cy="75"/>
            </a:xfrm>
            <a:custGeom>
              <a:avLst/>
              <a:gdLst>
                <a:gd name="T0" fmla="*/ 66 w 66"/>
                <a:gd name="T1" fmla="*/ 0 h 75"/>
                <a:gd name="T2" fmla="*/ 0 w 66"/>
                <a:gd name="T3" fmla="*/ 38 h 75"/>
                <a:gd name="T4" fmla="*/ 0 w 66"/>
                <a:gd name="T5" fmla="*/ 75 h 75"/>
                <a:gd name="T6" fmla="*/ 66 w 66"/>
                <a:gd name="T7" fmla="*/ 38 h 75"/>
                <a:gd name="T8" fmla="*/ 66 w 66"/>
                <a:gd name="T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75">
                  <a:moveTo>
                    <a:pt x="66" y="0"/>
                  </a:moveTo>
                  <a:lnTo>
                    <a:pt x="0" y="38"/>
                  </a:lnTo>
                  <a:lnTo>
                    <a:pt x="0" y="75"/>
                  </a:lnTo>
                  <a:lnTo>
                    <a:pt x="66" y="38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70" name="Freeform 511">
              <a:extLst>
                <a:ext uri="{FF2B5EF4-FFF2-40B4-BE49-F238E27FC236}">
                  <a16:creationId xmlns:a16="http://schemas.microsoft.com/office/drawing/2014/main" id="{0C8AA099-D932-EF47-95FA-62F8B60AA0D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6" y="5201"/>
              <a:ext cx="66" cy="76"/>
            </a:xfrm>
            <a:custGeom>
              <a:avLst/>
              <a:gdLst>
                <a:gd name="T0" fmla="*/ 66 w 66"/>
                <a:gd name="T1" fmla="*/ 0 h 76"/>
                <a:gd name="T2" fmla="*/ 0 w 66"/>
                <a:gd name="T3" fmla="*/ 38 h 76"/>
                <a:gd name="T4" fmla="*/ 0 w 66"/>
                <a:gd name="T5" fmla="*/ 76 h 76"/>
                <a:gd name="T6" fmla="*/ 66 w 66"/>
                <a:gd name="T7" fmla="*/ 38 h 76"/>
                <a:gd name="T8" fmla="*/ 66 w 66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76">
                  <a:moveTo>
                    <a:pt x="66" y="0"/>
                  </a:moveTo>
                  <a:lnTo>
                    <a:pt x="0" y="38"/>
                  </a:lnTo>
                  <a:lnTo>
                    <a:pt x="0" y="76"/>
                  </a:lnTo>
                  <a:lnTo>
                    <a:pt x="66" y="38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71" name="Freeform 512">
              <a:extLst>
                <a:ext uri="{FF2B5EF4-FFF2-40B4-BE49-F238E27FC236}">
                  <a16:creationId xmlns:a16="http://schemas.microsoft.com/office/drawing/2014/main" id="{0811CB2D-9E08-A741-859A-94ACB42C120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6" y="5145"/>
              <a:ext cx="66" cy="75"/>
            </a:xfrm>
            <a:custGeom>
              <a:avLst/>
              <a:gdLst>
                <a:gd name="T0" fmla="*/ 66 w 66"/>
                <a:gd name="T1" fmla="*/ 0 h 75"/>
                <a:gd name="T2" fmla="*/ 0 w 66"/>
                <a:gd name="T3" fmla="*/ 38 h 75"/>
                <a:gd name="T4" fmla="*/ 0 w 66"/>
                <a:gd name="T5" fmla="*/ 75 h 75"/>
                <a:gd name="T6" fmla="*/ 66 w 66"/>
                <a:gd name="T7" fmla="*/ 38 h 75"/>
                <a:gd name="T8" fmla="*/ 66 w 66"/>
                <a:gd name="T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75">
                  <a:moveTo>
                    <a:pt x="66" y="0"/>
                  </a:moveTo>
                  <a:lnTo>
                    <a:pt x="0" y="38"/>
                  </a:lnTo>
                  <a:lnTo>
                    <a:pt x="0" y="75"/>
                  </a:lnTo>
                  <a:lnTo>
                    <a:pt x="66" y="38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72" name="Freeform 513">
              <a:extLst>
                <a:ext uri="{FF2B5EF4-FFF2-40B4-BE49-F238E27FC236}">
                  <a16:creationId xmlns:a16="http://schemas.microsoft.com/office/drawing/2014/main" id="{2D395289-6F36-EA4C-AF49-18B184331DB5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1" y="5211"/>
              <a:ext cx="66" cy="75"/>
            </a:xfrm>
            <a:custGeom>
              <a:avLst/>
              <a:gdLst>
                <a:gd name="T0" fmla="*/ 66 w 66"/>
                <a:gd name="T1" fmla="*/ 0 h 75"/>
                <a:gd name="T2" fmla="*/ 0 w 66"/>
                <a:gd name="T3" fmla="*/ 38 h 75"/>
                <a:gd name="T4" fmla="*/ 0 w 66"/>
                <a:gd name="T5" fmla="*/ 75 h 75"/>
                <a:gd name="T6" fmla="*/ 66 w 66"/>
                <a:gd name="T7" fmla="*/ 38 h 75"/>
                <a:gd name="T8" fmla="*/ 66 w 66"/>
                <a:gd name="T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75">
                  <a:moveTo>
                    <a:pt x="66" y="0"/>
                  </a:moveTo>
                  <a:lnTo>
                    <a:pt x="0" y="38"/>
                  </a:lnTo>
                  <a:lnTo>
                    <a:pt x="0" y="75"/>
                  </a:lnTo>
                  <a:lnTo>
                    <a:pt x="66" y="38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73" name="Freeform 514">
              <a:extLst>
                <a:ext uri="{FF2B5EF4-FFF2-40B4-BE49-F238E27FC236}">
                  <a16:creationId xmlns:a16="http://schemas.microsoft.com/office/drawing/2014/main" id="{B8846DB4-DC2D-1347-868D-DA8368B13E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1" y="5154"/>
              <a:ext cx="66" cy="76"/>
            </a:xfrm>
            <a:custGeom>
              <a:avLst/>
              <a:gdLst>
                <a:gd name="T0" fmla="*/ 66 w 66"/>
                <a:gd name="T1" fmla="*/ 0 h 76"/>
                <a:gd name="T2" fmla="*/ 0 w 66"/>
                <a:gd name="T3" fmla="*/ 38 h 76"/>
                <a:gd name="T4" fmla="*/ 0 w 66"/>
                <a:gd name="T5" fmla="*/ 76 h 76"/>
                <a:gd name="T6" fmla="*/ 66 w 66"/>
                <a:gd name="T7" fmla="*/ 38 h 76"/>
                <a:gd name="T8" fmla="*/ 66 w 66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76">
                  <a:moveTo>
                    <a:pt x="66" y="0"/>
                  </a:moveTo>
                  <a:lnTo>
                    <a:pt x="0" y="38"/>
                  </a:lnTo>
                  <a:lnTo>
                    <a:pt x="0" y="76"/>
                  </a:lnTo>
                  <a:lnTo>
                    <a:pt x="66" y="38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74" name="Freeform 515">
              <a:extLst>
                <a:ext uri="{FF2B5EF4-FFF2-40B4-BE49-F238E27FC236}">
                  <a16:creationId xmlns:a16="http://schemas.microsoft.com/office/drawing/2014/main" id="{A5B02E1A-CEFD-2446-9479-719C73012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1" y="5098"/>
              <a:ext cx="66" cy="75"/>
            </a:xfrm>
            <a:custGeom>
              <a:avLst/>
              <a:gdLst>
                <a:gd name="T0" fmla="*/ 66 w 66"/>
                <a:gd name="T1" fmla="*/ 0 h 75"/>
                <a:gd name="T2" fmla="*/ 0 w 66"/>
                <a:gd name="T3" fmla="*/ 37 h 75"/>
                <a:gd name="T4" fmla="*/ 0 w 66"/>
                <a:gd name="T5" fmla="*/ 75 h 75"/>
                <a:gd name="T6" fmla="*/ 66 w 66"/>
                <a:gd name="T7" fmla="*/ 37 h 75"/>
                <a:gd name="T8" fmla="*/ 66 w 66"/>
                <a:gd name="T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75">
                  <a:moveTo>
                    <a:pt x="66" y="0"/>
                  </a:moveTo>
                  <a:lnTo>
                    <a:pt x="0" y="37"/>
                  </a:lnTo>
                  <a:lnTo>
                    <a:pt x="0" y="75"/>
                  </a:lnTo>
                  <a:lnTo>
                    <a:pt x="66" y="37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75" name="Freeform 516">
              <a:extLst>
                <a:ext uri="{FF2B5EF4-FFF2-40B4-BE49-F238E27FC236}">
                  <a16:creationId xmlns:a16="http://schemas.microsoft.com/office/drawing/2014/main" id="{745D56EA-E1A0-1A4C-9479-E3FE0ECC0DB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0" y="5258"/>
              <a:ext cx="66" cy="75"/>
            </a:xfrm>
            <a:custGeom>
              <a:avLst/>
              <a:gdLst>
                <a:gd name="T0" fmla="*/ 0 w 66"/>
                <a:gd name="T1" fmla="*/ 0 h 75"/>
                <a:gd name="T2" fmla="*/ 66 w 66"/>
                <a:gd name="T3" fmla="*/ 38 h 75"/>
                <a:gd name="T4" fmla="*/ 66 w 66"/>
                <a:gd name="T5" fmla="*/ 75 h 75"/>
                <a:gd name="T6" fmla="*/ 0 w 66"/>
                <a:gd name="T7" fmla="*/ 38 h 75"/>
                <a:gd name="T8" fmla="*/ 0 w 66"/>
                <a:gd name="T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75">
                  <a:moveTo>
                    <a:pt x="0" y="0"/>
                  </a:moveTo>
                  <a:lnTo>
                    <a:pt x="66" y="38"/>
                  </a:lnTo>
                  <a:lnTo>
                    <a:pt x="66" y="75"/>
                  </a:ln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76" name="Freeform 517">
              <a:extLst>
                <a:ext uri="{FF2B5EF4-FFF2-40B4-BE49-F238E27FC236}">
                  <a16:creationId xmlns:a16="http://schemas.microsoft.com/office/drawing/2014/main" id="{59CC6DA5-F106-BE46-A838-9D3968795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0" y="5201"/>
              <a:ext cx="66" cy="76"/>
            </a:xfrm>
            <a:custGeom>
              <a:avLst/>
              <a:gdLst>
                <a:gd name="T0" fmla="*/ 0 w 66"/>
                <a:gd name="T1" fmla="*/ 0 h 76"/>
                <a:gd name="T2" fmla="*/ 66 w 66"/>
                <a:gd name="T3" fmla="*/ 38 h 76"/>
                <a:gd name="T4" fmla="*/ 66 w 66"/>
                <a:gd name="T5" fmla="*/ 76 h 76"/>
                <a:gd name="T6" fmla="*/ 0 w 66"/>
                <a:gd name="T7" fmla="*/ 38 h 76"/>
                <a:gd name="T8" fmla="*/ 0 w 66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76">
                  <a:moveTo>
                    <a:pt x="0" y="0"/>
                  </a:moveTo>
                  <a:lnTo>
                    <a:pt x="66" y="38"/>
                  </a:lnTo>
                  <a:lnTo>
                    <a:pt x="66" y="76"/>
                  </a:ln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77" name="Freeform 518">
              <a:extLst>
                <a:ext uri="{FF2B5EF4-FFF2-40B4-BE49-F238E27FC236}">
                  <a16:creationId xmlns:a16="http://schemas.microsoft.com/office/drawing/2014/main" id="{6748BFF1-3017-9344-B1B9-C99264F60A3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0" y="5145"/>
              <a:ext cx="66" cy="75"/>
            </a:xfrm>
            <a:custGeom>
              <a:avLst/>
              <a:gdLst>
                <a:gd name="T0" fmla="*/ 0 w 66"/>
                <a:gd name="T1" fmla="*/ 0 h 75"/>
                <a:gd name="T2" fmla="*/ 66 w 66"/>
                <a:gd name="T3" fmla="*/ 38 h 75"/>
                <a:gd name="T4" fmla="*/ 66 w 66"/>
                <a:gd name="T5" fmla="*/ 75 h 75"/>
                <a:gd name="T6" fmla="*/ 0 w 66"/>
                <a:gd name="T7" fmla="*/ 38 h 75"/>
                <a:gd name="T8" fmla="*/ 0 w 66"/>
                <a:gd name="T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75">
                  <a:moveTo>
                    <a:pt x="0" y="0"/>
                  </a:moveTo>
                  <a:lnTo>
                    <a:pt x="66" y="38"/>
                  </a:lnTo>
                  <a:lnTo>
                    <a:pt x="66" y="75"/>
                  </a:ln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78" name="Freeform 519">
              <a:extLst>
                <a:ext uri="{FF2B5EF4-FFF2-40B4-BE49-F238E27FC236}">
                  <a16:creationId xmlns:a16="http://schemas.microsoft.com/office/drawing/2014/main" id="{5A7409DD-9308-F744-8C51-6F5273BF742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6" y="5211"/>
              <a:ext cx="66" cy="75"/>
            </a:xfrm>
            <a:custGeom>
              <a:avLst/>
              <a:gdLst>
                <a:gd name="T0" fmla="*/ 0 w 66"/>
                <a:gd name="T1" fmla="*/ 0 h 75"/>
                <a:gd name="T2" fmla="*/ 66 w 66"/>
                <a:gd name="T3" fmla="*/ 38 h 75"/>
                <a:gd name="T4" fmla="*/ 66 w 66"/>
                <a:gd name="T5" fmla="*/ 75 h 75"/>
                <a:gd name="T6" fmla="*/ 0 w 66"/>
                <a:gd name="T7" fmla="*/ 38 h 75"/>
                <a:gd name="T8" fmla="*/ 0 w 66"/>
                <a:gd name="T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75">
                  <a:moveTo>
                    <a:pt x="0" y="0"/>
                  </a:moveTo>
                  <a:lnTo>
                    <a:pt x="66" y="38"/>
                  </a:lnTo>
                  <a:lnTo>
                    <a:pt x="66" y="75"/>
                  </a:ln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79" name="Freeform 520">
              <a:extLst>
                <a:ext uri="{FF2B5EF4-FFF2-40B4-BE49-F238E27FC236}">
                  <a16:creationId xmlns:a16="http://schemas.microsoft.com/office/drawing/2014/main" id="{8330241F-2347-134F-82DF-5BF09C8E1616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6" y="5154"/>
              <a:ext cx="66" cy="76"/>
            </a:xfrm>
            <a:custGeom>
              <a:avLst/>
              <a:gdLst>
                <a:gd name="T0" fmla="*/ 0 w 66"/>
                <a:gd name="T1" fmla="*/ 0 h 76"/>
                <a:gd name="T2" fmla="*/ 66 w 66"/>
                <a:gd name="T3" fmla="*/ 38 h 76"/>
                <a:gd name="T4" fmla="*/ 66 w 66"/>
                <a:gd name="T5" fmla="*/ 76 h 76"/>
                <a:gd name="T6" fmla="*/ 0 w 66"/>
                <a:gd name="T7" fmla="*/ 38 h 76"/>
                <a:gd name="T8" fmla="*/ 0 w 66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76">
                  <a:moveTo>
                    <a:pt x="0" y="0"/>
                  </a:moveTo>
                  <a:lnTo>
                    <a:pt x="66" y="38"/>
                  </a:lnTo>
                  <a:lnTo>
                    <a:pt x="66" y="76"/>
                  </a:ln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80" name="Freeform 521">
              <a:extLst>
                <a:ext uri="{FF2B5EF4-FFF2-40B4-BE49-F238E27FC236}">
                  <a16:creationId xmlns:a16="http://schemas.microsoft.com/office/drawing/2014/main" id="{D60413FD-9653-954C-AA2D-92783630F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6" y="5098"/>
              <a:ext cx="66" cy="75"/>
            </a:xfrm>
            <a:custGeom>
              <a:avLst/>
              <a:gdLst>
                <a:gd name="T0" fmla="*/ 0 w 66"/>
                <a:gd name="T1" fmla="*/ 0 h 75"/>
                <a:gd name="T2" fmla="*/ 66 w 66"/>
                <a:gd name="T3" fmla="*/ 37 h 75"/>
                <a:gd name="T4" fmla="*/ 66 w 66"/>
                <a:gd name="T5" fmla="*/ 75 h 75"/>
                <a:gd name="T6" fmla="*/ 0 w 66"/>
                <a:gd name="T7" fmla="*/ 37 h 75"/>
                <a:gd name="T8" fmla="*/ 0 w 66"/>
                <a:gd name="T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75">
                  <a:moveTo>
                    <a:pt x="0" y="0"/>
                  </a:moveTo>
                  <a:lnTo>
                    <a:pt x="66" y="37"/>
                  </a:lnTo>
                  <a:lnTo>
                    <a:pt x="66" y="75"/>
                  </a:lnTo>
                  <a:lnTo>
                    <a:pt x="0" y="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81" name="Freeform 522">
              <a:extLst>
                <a:ext uri="{FF2B5EF4-FFF2-40B4-BE49-F238E27FC236}">
                  <a16:creationId xmlns:a16="http://schemas.microsoft.com/office/drawing/2014/main" id="{B0766F97-54A9-B149-8B88-C3505CC6AE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06" y="5117"/>
              <a:ext cx="66" cy="75"/>
            </a:xfrm>
            <a:custGeom>
              <a:avLst/>
              <a:gdLst>
                <a:gd name="T0" fmla="*/ 0 w 66"/>
                <a:gd name="T1" fmla="*/ 0 h 75"/>
                <a:gd name="T2" fmla="*/ 66 w 66"/>
                <a:gd name="T3" fmla="*/ 37 h 75"/>
                <a:gd name="T4" fmla="*/ 66 w 66"/>
                <a:gd name="T5" fmla="*/ 75 h 75"/>
                <a:gd name="T6" fmla="*/ 0 w 66"/>
                <a:gd name="T7" fmla="*/ 37 h 75"/>
                <a:gd name="T8" fmla="*/ 0 w 66"/>
                <a:gd name="T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75">
                  <a:moveTo>
                    <a:pt x="0" y="0"/>
                  </a:moveTo>
                  <a:lnTo>
                    <a:pt x="66" y="37"/>
                  </a:lnTo>
                  <a:lnTo>
                    <a:pt x="66" y="75"/>
                  </a:lnTo>
                  <a:lnTo>
                    <a:pt x="0" y="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82" name="Freeform 523">
              <a:extLst>
                <a:ext uri="{FF2B5EF4-FFF2-40B4-BE49-F238E27FC236}">
                  <a16:creationId xmlns:a16="http://schemas.microsoft.com/office/drawing/2014/main" id="{A682913A-CF2C-734A-AEB3-B8F76DD46B3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06" y="5060"/>
              <a:ext cx="66" cy="75"/>
            </a:xfrm>
            <a:custGeom>
              <a:avLst/>
              <a:gdLst>
                <a:gd name="T0" fmla="*/ 0 w 66"/>
                <a:gd name="T1" fmla="*/ 0 h 75"/>
                <a:gd name="T2" fmla="*/ 66 w 66"/>
                <a:gd name="T3" fmla="*/ 38 h 75"/>
                <a:gd name="T4" fmla="*/ 66 w 66"/>
                <a:gd name="T5" fmla="*/ 75 h 75"/>
                <a:gd name="T6" fmla="*/ 0 w 66"/>
                <a:gd name="T7" fmla="*/ 38 h 75"/>
                <a:gd name="T8" fmla="*/ 0 w 66"/>
                <a:gd name="T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75">
                  <a:moveTo>
                    <a:pt x="0" y="0"/>
                  </a:moveTo>
                  <a:lnTo>
                    <a:pt x="66" y="38"/>
                  </a:lnTo>
                  <a:lnTo>
                    <a:pt x="66" y="75"/>
                  </a:ln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83" name="Freeform 524">
              <a:extLst>
                <a:ext uri="{FF2B5EF4-FFF2-40B4-BE49-F238E27FC236}">
                  <a16:creationId xmlns:a16="http://schemas.microsoft.com/office/drawing/2014/main" id="{F045A273-704E-3448-9919-59DB33333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7306" y="5004"/>
              <a:ext cx="66" cy="75"/>
            </a:xfrm>
            <a:custGeom>
              <a:avLst/>
              <a:gdLst>
                <a:gd name="T0" fmla="*/ 0 w 66"/>
                <a:gd name="T1" fmla="*/ 0 h 75"/>
                <a:gd name="T2" fmla="*/ 66 w 66"/>
                <a:gd name="T3" fmla="*/ 37 h 75"/>
                <a:gd name="T4" fmla="*/ 66 w 66"/>
                <a:gd name="T5" fmla="*/ 75 h 75"/>
                <a:gd name="T6" fmla="*/ 0 w 66"/>
                <a:gd name="T7" fmla="*/ 37 h 75"/>
                <a:gd name="T8" fmla="*/ 0 w 66"/>
                <a:gd name="T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75">
                  <a:moveTo>
                    <a:pt x="0" y="0"/>
                  </a:moveTo>
                  <a:lnTo>
                    <a:pt x="66" y="37"/>
                  </a:lnTo>
                  <a:lnTo>
                    <a:pt x="66" y="75"/>
                  </a:lnTo>
                  <a:lnTo>
                    <a:pt x="0" y="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84" name="Freeform 525">
              <a:extLst>
                <a:ext uri="{FF2B5EF4-FFF2-40B4-BE49-F238E27FC236}">
                  <a16:creationId xmlns:a16="http://schemas.microsoft.com/office/drawing/2014/main" id="{A275D3D2-F383-2941-A235-026270D43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1" y="5164"/>
              <a:ext cx="66" cy="75"/>
            </a:xfrm>
            <a:custGeom>
              <a:avLst/>
              <a:gdLst>
                <a:gd name="T0" fmla="*/ 0 w 66"/>
                <a:gd name="T1" fmla="*/ 0 h 75"/>
                <a:gd name="T2" fmla="*/ 66 w 66"/>
                <a:gd name="T3" fmla="*/ 37 h 75"/>
                <a:gd name="T4" fmla="*/ 66 w 66"/>
                <a:gd name="T5" fmla="*/ 75 h 75"/>
                <a:gd name="T6" fmla="*/ 0 w 66"/>
                <a:gd name="T7" fmla="*/ 37 h 75"/>
                <a:gd name="T8" fmla="*/ 0 w 66"/>
                <a:gd name="T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75">
                  <a:moveTo>
                    <a:pt x="0" y="0"/>
                  </a:moveTo>
                  <a:lnTo>
                    <a:pt x="66" y="37"/>
                  </a:lnTo>
                  <a:lnTo>
                    <a:pt x="66" y="75"/>
                  </a:lnTo>
                  <a:lnTo>
                    <a:pt x="0" y="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85" name="Freeform 526">
              <a:extLst>
                <a:ext uri="{FF2B5EF4-FFF2-40B4-BE49-F238E27FC236}">
                  <a16:creationId xmlns:a16="http://schemas.microsoft.com/office/drawing/2014/main" id="{3A085307-6769-994D-82A3-AAC40C6DC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1" y="5107"/>
              <a:ext cx="66" cy="76"/>
            </a:xfrm>
            <a:custGeom>
              <a:avLst/>
              <a:gdLst>
                <a:gd name="T0" fmla="*/ 0 w 66"/>
                <a:gd name="T1" fmla="*/ 0 h 76"/>
                <a:gd name="T2" fmla="*/ 66 w 66"/>
                <a:gd name="T3" fmla="*/ 38 h 76"/>
                <a:gd name="T4" fmla="*/ 66 w 66"/>
                <a:gd name="T5" fmla="*/ 76 h 76"/>
                <a:gd name="T6" fmla="*/ 0 w 66"/>
                <a:gd name="T7" fmla="*/ 38 h 76"/>
                <a:gd name="T8" fmla="*/ 0 w 66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76">
                  <a:moveTo>
                    <a:pt x="0" y="0"/>
                  </a:moveTo>
                  <a:lnTo>
                    <a:pt x="66" y="38"/>
                  </a:lnTo>
                  <a:lnTo>
                    <a:pt x="66" y="76"/>
                  </a:ln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86" name="Freeform 527">
              <a:extLst>
                <a:ext uri="{FF2B5EF4-FFF2-40B4-BE49-F238E27FC236}">
                  <a16:creationId xmlns:a16="http://schemas.microsoft.com/office/drawing/2014/main" id="{938A4D98-D047-A144-8150-FA2B8777B6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1" y="5051"/>
              <a:ext cx="66" cy="75"/>
            </a:xfrm>
            <a:custGeom>
              <a:avLst/>
              <a:gdLst>
                <a:gd name="T0" fmla="*/ 0 w 66"/>
                <a:gd name="T1" fmla="*/ 0 h 75"/>
                <a:gd name="T2" fmla="*/ 66 w 66"/>
                <a:gd name="T3" fmla="*/ 37 h 75"/>
                <a:gd name="T4" fmla="*/ 66 w 66"/>
                <a:gd name="T5" fmla="*/ 75 h 75"/>
                <a:gd name="T6" fmla="*/ 0 w 66"/>
                <a:gd name="T7" fmla="*/ 37 h 75"/>
                <a:gd name="T8" fmla="*/ 0 w 66"/>
                <a:gd name="T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75">
                  <a:moveTo>
                    <a:pt x="0" y="0"/>
                  </a:moveTo>
                  <a:lnTo>
                    <a:pt x="66" y="37"/>
                  </a:lnTo>
                  <a:lnTo>
                    <a:pt x="66" y="75"/>
                  </a:lnTo>
                  <a:lnTo>
                    <a:pt x="0" y="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87" name="Freeform 528">
              <a:extLst>
                <a:ext uri="{FF2B5EF4-FFF2-40B4-BE49-F238E27FC236}">
                  <a16:creationId xmlns:a16="http://schemas.microsoft.com/office/drawing/2014/main" id="{FAC3A738-D8D9-574C-B556-3024706ED8E6}"/>
                </a:ext>
              </a:extLst>
            </p:cNvPr>
            <p:cNvSpPr>
              <a:spLocks/>
            </p:cNvSpPr>
            <p:nvPr/>
          </p:nvSpPr>
          <p:spPr bwMode="auto">
            <a:xfrm>
              <a:off x="7787" y="4796"/>
              <a:ext cx="28" cy="142"/>
            </a:xfrm>
            <a:custGeom>
              <a:avLst/>
              <a:gdLst>
                <a:gd name="T0" fmla="*/ 28 w 28"/>
                <a:gd name="T1" fmla="*/ 0 h 142"/>
                <a:gd name="T2" fmla="*/ 0 w 28"/>
                <a:gd name="T3" fmla="*/ 19 h 142"/>
                <a:gd name="T4" fmla="*/ 0 w 28"/>
                <a:gd name="T5" fmla="*/ 142 h 142"/>
                <a:gd name="T6" fmla="*/ 28 w 28"/>
                <a:gd name="T7" fmla="*/ 123 h 142"/>
                <a:gd name="T8" fmla="*/ 28 w 28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42">
                  <a:moveTo>
                    <a:pt x="28" y="0"/>
                  </a:moveTo>
                  <a:lnTo>
                    <a:pt x="0" y="19"/>
                  </a:lnTo>
                  <a:lnTo>
                    <a:pt x="0" y="142"/>
                  </a:lnTo>
                  <a:lnTo>
                    <a:pt x="28" y="123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88" name="Freeform 529">
              <a:extLst>
                <a:ext uri="{FF2B5EF4-FFF2-40B4-BE49-F238E27FC236}">
                  <a16:creationId xmlns:a16="http://schemas.microsoft.com/office/drawing/2014/main" id="{A06BD74B-E9D4-5148-B5FA-7B029008D329}"/>
                </a:ext>
              </a:extLst>
            </p:cNvPr>
            <p:cNvSpPr>
              <a:spLocks/>
            </p:cNvSpPr>
            <p:nvPr/>
          </p:nvSpPr>
          <p:spPr bwMode="auto">
            <a:xfrm>
              <a:off x="7787" y="4608"/>
              <a:ext cx="28" cy="141"/>
            </a:xfrm>
            <a:custGeom>
              <a:avLst/>
              <a:gdLst>
                <a:gd name="T0" fmla="*/ 28 w 28"/>
                <a:gd name="T1" fmla="*/ 0 h 141"/>
                <a:gd name="T2" fmla="*/ 0 w 28"/>
                <a:gd name="T3" fmla="*/ 19 h 141"/>
                <a:gd name="T4" fmla="*/ 0 w 28"/>
                <a:gd name="T5" fmla="*/ 141 h 141"/>
                <a:gd name="T6" fmla="*/ 28 w 28"/>
                <a:gd name="T7" fmla="*/ 122 h 141"/>
                <a:gd name="T8" fmla="*/ 28 w 28"/>
                <a:gd name="T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41">
                  <a:moveTo>
                    <a:pt x="28" y="0"/>
                  </a:moveTo>
                  <a:lnTo>
                    <a:pt x="0" y="19"/>
                  </a:lnTo>
                  <a:lnTo>
                    <a:pt x="0" y="141"/>
                  </a:lnTo>
                  <a:lnTo>
                    <a:pt x="28" y="122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89" name="Freeform 530">
              <a:extLst>
                <a:ext uri="{FF2B5EF4-FFF2-40B4-BE49-F238E27FC236}">
                  <a16:creationId xmlns:a16="http://schemas.microsoft.com/office/drawing/2014/main" id="{E7F2211E-AB43-EF46-9A8C-B6EE64073E5A}"/>
                </a:ext>
              </a:extLst>
            </p:cNvPr>
            <p:cNvSpPr>
              <a:spLocks/>
            </p:cNvSpPr>
            <p:nvPr/>
          </p:nvSpPr>
          <p:spPr bwMode="auto">
            <a:xfrm>
              <a:off x="7702" y="5103"/>
              <a:ext cx="283" cy="541"/>
            </a:xfrm>
            <a:custGeom>
              <a:avLst/>
              <a:gdLst>
                <a:gd name="T0" fmla="*/ 283 w 283"/>
                <a:gd name="T1" fmla="*/ 541 h 541"/>
                <a:gd name="T2" fmla="*/ 0 w 283"/>
                <a:gd name="T3" fmla="*/ 381 h 541"/>
                <a:gd name="T4" fmla="*/ 0 w 283"/>
                <a:gd name="T5" fmla="*/ 0 h 541"/>
                <a:gd name="T6" fmla="*/ 283 w 283"/>
                <a:gd name="T7" fmla="*/ 160 h 541"/>
                <a:gd name="T8" fmla="*/ 283 w 283"/>
                <a:gd name="T9" fmla="*/ 541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3" h="541">
                  <a:moveTo>
                    <a:pt x="283" y="541"/>
                  </a:moveTo>
                  <a:lnTo>
                    <a:pt x="0" y="381"/>
                  </a:lnTo>
                  <a:lnTo>
                    <a:pt x="0" y="0"/>
                  </a:lnTo>
                  <a:lnTo>
                    <a:pt x="283" y="160"/>
                  </a:lnTo>
                  <a:lnTo>
                    <a:pt x="283" y="541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90" name="Freeform 531">
              <a:extLst>
                <a:ext uri="{FF2B5EF4-FFF2-40B4-BE49-F238E27FC236}">
                  <a16:creationId xmlns:a16="http://schemas.microsoft.com/office/drawing/2014/main" id="{EBA5668E-3576-BE4B-8F9C-322EDD5D10EB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0" y="5390"/>
              <a:ext cx="57" cy="108"/>
            </a:xfrm>
            <a:custGeom>
              <a:avLst/>
              <a:gdLst>
                <a:gd name="T0" fmla="*/ 57 w 57"/>
                <a:gd name="T1" fmla="*/ 108 h 108"/>
                <a:gd name="T2" fmla="*/ 0 w 57"/>
                <a:gd name="T3" fmla="*/ 75 h 108"/>
                <a:gd name="T4" fmla="*/ 0 w 57"/>
                <a:gd name="T5" fmla="*/ 0 h 108"/>
                <a:gd name="T6" fmla="*/ 57 w 57"/>
                <a:gd name="T7" fmla="*/ 30 h 108"/>
                <a:gd name="T8" fmla="*/ 57 w 57"/>
                <a:gd name="T9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108">
                  <a:moveTo>
                    <a:pt x="57" y="108"/>
                  </a:moveTo>
                  <a:lnTo>
                    <a:pt x="0" y="75"/>
                  </a:lnTo>
                  <a:lnTo>
                    <a:pt x="0" y="0"/>
                  </a:lnTo>
                  <a:lnTo>
                    <a:pt x="57" y="30"/>
                  </a:lnTo>
                  <a:lnTo>
                    <a:pt x="57" y="108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91" name="Freeform 532">
              <a:extLst>
                <a:ext uri="{FF2B5EF4-FFF2-40B4-BE49-F238E27FC236}">
                  <a16:creationId xmlns:a16="http://schemas.microsoft.com/office/drawing/2014/main" id="{919E192D-7F00-C241-B5EA-4CD2249581A4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0" y="5284"/>
              <a:ext cx="57" cy="108"/>
            </a:xfrm>
            <a:custGeom>
              <a:avLst/>
              <a:gdLst>
                <a:gd name="T0" fmla="*/ 57 w 57"/>
                <a:gd name="T1" fmla="*/ 108 h 108"/>
                <a:gd name="T2" fmla="*/ 0 w 57"/>
                <a:gd name="T3" fmla="*/ 78 h 108"/>
                <a:gd name="T4" fmla="*/ 0 w 57"/>
                <a:gd name="T5" fmla="*/ 0 h 108"/>
                <a:gd name="T6" fmla="*/ 57 w 57"/>
                <a:gd name="T7" fmla="*/ 33 h 108"/>
                <a:gd name="T8" fmla="*/ 57 w 57"/>
                <a:gd name="T9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108">
                  <a:moveTo>
                    <a:pt x="57" y="108"/>
                  </a:moveTo>
                  <a:lnTo>
                    <a:pt x="0" y="78"/>
                  </a:lnTo>
                  <a:lnTo>
                    <a:pt x="0" y="0"/>
                  </a:lnTo>
                  <a:lnTo>
                    <a:pt x="57" y="33"/>
                  </a:lnTo>
                  <a:lnTo>
                    <a:pt x="57" y="108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92" name="Freeform 533">
              <a:extLst>
                <a:ext uri="{FF2B5EF4-FFF2-40B4-BE49-F238E27FC236}">
                  <a16:creationId xmlns:a16="http://schemas.microsoft.com/office/drawing/2014/main" id="{EED3235A-0AFD-654F-BF63-3545582040D9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0" y="5180"/>
              <a:ext cx="57" cy="109"/>
            </a:xfrm>
            <a:custGeom>
              <a:avLst/>
              <a:gdLst>
                <a:gd name="T0" fmla="*/ 57 w 57"/>
                <a:gd name="T1" fmla="*/ 109 h 109"/>
                <a:gd name="T2" fmla="*/ 0 w 57"/>
                <a:gd name="T3" fmla="*/ 76 h 109"/>
                <a:gd name="T4" fmla="*/ 0 w 57"/>
                <a:gd name="T5" fmla="*/ 0 h 109"/>
                <a:gd name="T6" fmla="*/ 57 w 57"/>
                <a:gd name="T7" fmla="*/ 31 h 109"/>
                <a:gd name="T8" fmla="*/ 57 w 57"/>
                <a:gd name="T9" fmla="*/ 10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109">
                  <a:moveTo>
                    <a:pt x="57" y="109"/>
                  </a:moveTo>
                  <a:lnTo>
                    <a:pt x="0" y="76"/>
                  </a:lnTo>
                  <a:lnTo>
                    <a:pt x="0" y="0"/>
                  </a:lnTo>
                  <a:lnTo>
                    <a:pt x="57" y="31"/>
                  </a:lnTo>
                  <a:lnTo>
                    <a:pt x="57" y="109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93" name="Freeform 534">
              <a:extLst>
                <a:ext uri="{FF2B5EF4-FFF2-40B4-BE49-F238E27FC236}">
                  <a16:creationId xmlns:a16="http://schemas.microsoft.com/office/drawing/2014/main" id="{27BB7F3B-92F6-D843-AD3C-9DD55414CB5B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6" y="5432"/>
              <a:ext cx="56" cy="106"/>
            </a:xfrm>
            <a:custGeom>
              <a:avLst/>
              <a:gdLst>
                <a:gd name="T0" fmla="*/ 56 w 56"/>
                <a:gd name="T1" fmla="*/ 106 h 106"/>
                <a:gd name="T2" fmla="*/ 0 w 56"/>
                <a:gd name="T3" fmla="*/ 76 h 106"/>
                <a:gd name="T4" fmla="*/ 0 w 56"/>
                <a:gd name="T5" fmla="*/ 0 h 106"/>
                <a:gd name="T6" fmla="*/ 56 w 56"/>
                <a:gd name="T7" fmla="*/ 31 h 106"/>
                <a:gd name="T8" fmla="*/ 56 w 56"/>
                <a:gd name="T9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106">
                  <a:moveTo>
                    <a:pt x="56" y="106"/>
                  </a:moveTo>
                  <a:lnTo>
                    <a:pt x="0" y="76"/>
                  </a:lnTo>
                  <a:lnTo>
                    <a:pt x="0" y="0"/>
                  </a:lnTo>
                  <a:lnTo>
                    <a:pt x="56" y="31"/>
                  </a:lnTo>
                  <a:lnTo>
                    <a:pt x="56" y="106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94" name="Freeform 535">
              <a:extLst>
                <a:ext uri="{FF2B5EF4-FFF2-40B4-BE49-F238E27FC236}">
                  <a16:creationId xmlns:a16="http://schemas.microsoft.com/office/drawing/2014/main" id="{06E2ED83-8B71-EE4F-AE63-1554EF6EB0B6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6" y="5326"/>
              <a:ext cx="56" cy="109"/>
            </a:xfrm>
            <a:custGeom>
              <a:avLst/>
              <a:gdLst>
                <a:gd name="T0" fmla="*/ 56 w 56"/>
                <a:gd name="T1" fmla="*/ 109 h 109"/>
                <a:gd name="T2" fmla="*/ 0 w 56"/>
                <a:gd name="T3" fmla="*/ 76 h 109"/>
                <a:gd name="T4" fmla="*/ 0 w 56"/>
                <a:gd name="T5" fmla="*/ 0 h 109"/>
                <a:gd name="T6" fmla="*/ 56 w 56"/>
                <a:gd name="T7" fmla="*/ 33 h 109"/>
                <a:gd name="T8" fmla="*/ 56 w 56"/>
                <a:gd name="T9" fmla="*/ 10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109">
                  <a:moveTo>
                    <a:pt x="56" y="109"/>
                  </a:moveTo>
                  <a:lnTo>
                    <a:pt x="0" y="76"/>
                  </a:lnTo>
                  <a:lnTo>
                    <a:pt x="0" y="0"/>
                  </a:lnTo>
                  <a:lnTo>
                    <a:pt x="56" y="33"/>
                  </a:lnTo>
                  <a:lnTo>
                    <a:pt x="56" y="109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95" name="Freeform 536">
              <a:extLst>
                <a:ext uri="{FF2B5EF4-FFF2-40B4-BE49-F238E27FC236}">
                  <a16:creationId xmlns:a16="http://schemas.microsoft.com/office/drawing/2014/main" id="{C3170E4A-F1D3-494D-931A-47F2E37376B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6" y="5223"/>
              <a:ext cx="56" cy="106"/>
            </a:xfrm>
            <a:custGeom>
              <a:avLst/>
              <a:gdLst>
                <a:gd name="T0" fmla="*/ 56 w 56"/>
                <a:gd name="T1" fmla="*/ 106 h 106"/>
                <a:gd name="T2" fmla="*/ 0 w 56"/>
                <a:gd name="T3" fmla="*/ 75 h 106"/>
                <a:gd name="T4" fmla="*/ 0 w 56"/>
                <a:gd name="T5" fmla="*/ 0 h 106"/>
                <a:gd name="T6" fmla="*/ 56 w 56"/>
                <a:gd name="T7" fmla="*/ 30 h 106"/>
                <a:gd name="T8" fmla="*/ 56 w 56"/>
                <a:gd name="T9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106">
                  <a:moveTo>
                    <a:pt x="56" y="106"/>
                  </a:moveTo>
                  <a:lnTo>
                    <a:pt x="0" y="75"/>
                  </a:lnTo>
                  <a:lnTo>
                    <a:pt x="0" y="0"/>
                  </a:lnTo>
                  <a:lnTo>
                    <a:pt x="56" y="30"/>
                  </a:lnTo>
                  <a:lnTo>
                    <a:pt x="56" y="106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96" name="Freeform 537">
              <a:extLst>
                <a:ext uri="{FF2B5EF4-FFF2-40B4-BE49-F238E27FC236}">
                  <a16:creationId xmlns:a16="http://schemas.microsoft.com/office/drawing/2014/main" id="{DDA13DA3-8E7D-EF45-927B-910F06A3125E}"/>
                </a:ext>
              </a:extLst>
            </p:cNvPr>
            <p:cNvSpPr>
              <a:spLocks/>
            </p:cNvSpPr>
            <p:nvPr/>
          </p:nvSpPr>
          <p:spPr bwMode="auto">
            <a:xfrm>
              <a:off x="7881" y="5475"/>
              <a:ext cx="57" cy="106"/>
            </a:xfrm>
            <a:custGeom>
              <a:avLst/>
              <a:gdLst>
                <a:gd name="T0" fmla="*/ 57 w 57"/>
                <a:gd name="T1" fmla="*/ 106 h 106"/>
                <a:gd name="T2" fmla="*/ 0 w 57"/>
                <a:gd name="T3" fmla="*/ 75 h 106"/>
                <a:gd name="T4" fmla="*/ 0 w 57"/>
                <a:gd name="T5" fmla="*/ 0 h 106"/>
                <a:gd name="T6" fmla="*/ 57 w 57"/>
                <a:gd name="T7" fmla="*/ 30 h 106"/>
                <a:gd name="T8" fmla="*/ 57 w 57"/>
                <a:gd name="T9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106">
                  <a:moveTo>
                    <a:pt x="57" y="106"/>
                  </a:moveTo>
                  <a:lnTo>
                    <a:pt x="0" y="75"/>
                  </a:lnTo>
                  <a:lnTo>
                    <a:pt x="0" y="0"/>
                  </a:lnTo>
                  <a:lnTo>
                    <a:pt x="57" y="30"/>
                  </a:lnTo>
                  <a:lnTo>
                    <a:pt x="57" y="106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97" name="Freeform 538">
              <a:extLst>
                <a:ext uri="{FF2B5EF4-FFF2-40B4-BE49-F238E27FC236}">
                  <a16:creationId xmlns:a16="http://schemas.microsoft.com/office/drawing/2014/main" id="{DFCAF98E-FB9E-AA4D-AA87-575CCCEBF9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81" y="5369"/>
              <a:ext cx="57" cy="108"/>
            </a:xfrm>
            <a:custGeom>
              <a:avLst/>
              <a:gdLst>
                <a:gd name="T0" fmla="*/ 57 w 57"/>
                <a:gd name="T1" fmla="*/ 108 h 108"/>
                <a:gd name="T2" fmla="*/ 0 w 57"/>
                <a:gd name="T3" fmla="*/ 75 h 108"/>
                <a:gd name="T4" fmla="*/ 0 w 57"/>
                <a:gd name="T5" fmla="*/ 0 h 108"/>
                <a:gd name="T6" fmla="*/ 57 w 57"/>
                <a:gd name="T7" fmla="*/ 33 h 108"/>
                <a:gd name="T8" fmla="*/ 57 w 57"/>
                <a:gd name="T9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108">
                  <a:moveTo>
                    <a:pt x="57" y="108"/>
                  </a:moveTo>
                  <a:lnTo>
                    <a:pt x="0" y="75"/>
                  </a:lnTo>
                  <a:lnTo>
                    <a:pt x="0" y="0"/>
                  </a:lnTo>
                  <a:lnTo>
                    <a:pt x="57" y="33"/>
                  </a:lnTo>
                  <a:lnTo>
                    <a:pt x="57" y="108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98" name="Freeform 539">
              <a:extLst>
                <a:ext uri="{FF2B5EF4-FFF2-40B4-BE49-F238E27FC236}">
                  <a16:creationId xmlns:a16="http://schemas.microsoft.com/office/drawing/2014/main" id="{263855D2-26B3-0644-89F3-86F8D5A6E896}"/>
                </a:ext>
              </a:extLst>
            </p:cNvPr>
            <p:cNvSpPr>
              <a:spLocks/>
            </p:cNvSpPr>
            <p:nvPr/>
          </p:nvSpPr>
          <p:spPr bwMode="auto">
            <a:xfrm>
              <a:off x="7881" y="5265"/>
              <a:ext cx="57" cy="106"/>
            </a:xfrm>
            <a:custGeom>
              <a:avLst/>
              <a:gdLst>
                <a:gd name="T0" fmla="*/ 57 w 57"/>
                <a:gd name="T1" fmla="*/ 106 h 106"/>
                <a:gd name="T2" fmla="*/ 0 w 57"/>
                <a:gd name="T3" fmla="*/ 75 h 106"/>
                <a:gd name="T4" fmla="*/ 0 w 57"/>
                <a:gd name="T5" fmla="*/ 0 h 106"/>
                <a:gd name="T6" fmla="*/ 57 w 57"/>
                <a:gd name="T7" fmla="*/ 31 h 106"/>
                <a:gd name="T8" fmla="*/ 57 w 57"/>
                <a:gd name="T9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106">
                  <a:moveTo>
                    <a:pt x="57" y="106"/>
                  </a:moveTo>
                  <a:lnTo>
                    <a:pt x="0" y="75"/>
                  </a:lnTo>
                  <a:lnTo>
                    <a:pt x="0" y="0"/>
                  </a:lnTo>
                  <a:lnTo>
                    <a:pt x="57" y="31"/>
                  </a:lnTo>
                  <a:lnTo>
                    <a:pt x="57" y="106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99" name="Freeform 540">
              <a:extLst>
                <a:ext uri="{FF2B5EF4-FFF2-40B4-BE49-F238E27FC236}">
                  <a16:creationId xmlns:a16="http://schemas.microsoft.com/office/drawing/2014/main" id="{BE2C7D88-3533-FF43-AC0D-FA611030107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85" y="5152"/>
              <a:ext cx="169" cy="492"/>
            </a:xfrm>
            <a:custGeom>
              <a:avLst/>
              <a:gdLst>
                <a:gd name="T0" fmla="*/ 0 w 169"/>
                <a:gd name="T1" fmla="*/ 492 h 492"/>
                <a:gd name="T2" fmla="*/ 169 w 169"/>
                <a:gd name="T3" fmla="*/ 381 h 492"/>
                <a:gd name="T4" fmla="*/ 169 w 169"/>
                <a:gd name="T5" fmla="*/ 0 h 492"/>
                <a:gd name="T6" fmla="*/ 0 w 169"/>
                <a:gd name="T7" fmla="*/ 111 h 492"/>
                <a:gd name="T8" fmla="*/ 0 w 169"/>
                <a:gd name="T9" fmla="*/ 492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" h="492">
                  <a:moveTo>
                    <a:pt x="0" y="492"/>
                  </a:moveTo>
                  <a:lnTo>
                    <a:pt x="169" y="381"/>
                  </a:lnTo>
                  <a:lnTo>
                    <a:pt x="169" y="0"/>
                  </a:lnTo>
                  <a:lnTo>
                    <a:pt x="0" y="111"/>
                  </a:lnTo>
                  <a:lnTo>
                    <a:pt x="0" y="492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sp>
          <p:nvSpPr>
            <p:cNvPr id="100" name="Freeform 541">
              <a:extLst>
                <a:ext uri="{FF2B5EF4-FFF2-40B4-BE49-F238E27FC236}">
                  <a16:creationId xmlns:a16="http://schemas.microsoft.com/office/drawing/2014/main" id="{ABCB6542-54E8-9646-83C7-C16C4120FB45}"/>
                </a:ext>
              </a:extLst>
            </p:cNvPr>
            <p:cNvSpPr>
              <a:spLocks/>
            </p:cNvSpPr>
            <p:nvPr/>
          </p:nvSpPr>
          <p:spPr bwMode="auto">
            <a:xfrm>
              <a:off x="7707" y="4994"/>
              <a:ext cx="455" cy="269"/>
            </a:xfrm>
            <a:custGeom>
              <a:avLst/>
              <a:gdLst>
                <a:gd name="T0" fmla="*/ 0 w 455"/>
                <a:gd name="T1" fmla="*/ 109 h 269"/>
                <a:gd name="T2" fmla="*/ 191 w 455"/>
                <a:gd name="T3" fmla="*/ 0 h 269"/>
                <a:gd name="T4" fmla="*/ 455 w 455"/>
                <a:gd name="T5" fmla="*/ 160 h 269"/>
                <a:gd name="T6" fmla="*/ 280 w 455"/>
                <a:gd name="T7" fmla="*/ 269 h 269"/>
                <a:gd name="T8" fmla="*/ 0 w 455"/>
                <a:gd name="T9" fmla="*/ 109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5" h="269">
                  <a:moveTo>
                    <a:pt x="0" y="109"/>
                  </a:moveTo>
                  <a:lnTo>
                    <a:pt x="191" y="0"/>
                  </a:lnTo>
                  <a:lnTo>
                    <a:pt x="455" y="160"/>
                  </a:lnTo>
                  <a:lnTo>
                    <a:pt x="280" y="269"/>
                  </a:lnTo>
                  <a:lnTo>
                    <a:pt x="0" y="109"/>
                  </a:ln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5E5E5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tr-TR" sz="900" dirty="0"/>
            </a:p>
          </p:txBody>
        </p:sp>
        <p:grpSp>
          <p:nvGrpSpPr>
            <p:cNvPr id="28" name="Group 475">
              <a:extLst>
                <a:ext uri="{FF2B5EF4-FFF2-40B4-BE49-F238E27FC236}">
                  <a16:creationId xmlns:a16="http://schemas.microsoft.com/office/drawing/2014/main" id="{7E5853D8-9FBC-3945-8768-3E24649A7A0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998" y="1683"/>
              <a:ext cx="5820" cy="4828"/>
              <a:chOff x="4998" y="1683"/>
              <a:chExt cx="5820" cy="4828"/>
            </a:xfrm>
          </p:grpSpPr>
          <p:sp>
            <p:nvSpPr>
              <p:cNvPr id="101" name="Freeform 275">
                <a:extLst>
                  <a:ext uri="{FF2B5EF4-FFF2-40B4-BE49-F238E27FC236}">
                    <a16:creationId xmlns:a16="http://schemas.microsoft.com/office/drawing/2014/main" id="{E963AF0F-1AA0-EA49-9EE7-D54466FBC1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8" y="2969"/>
                <a:ext cx="5820" cy="3363"/>
              </a:xfrm>
              <a:custGeom>
                <a:avLst/>
                <a:gdLst>
                  <a:gd name="T0" fmla="*/ 83 w 2469"/>
                  <a:gd name="T1" fmla="*/ 449 h 1428"/>
                  <a:gd name="T2" fmla="*/ 83 w 2469"/>
                  <a:gd name="T3" fmla="*/ 540 h 1428"/>
                  <a:gd name="T4" fmla="*/ 1565 w 2469"/>
                  <a:gd name="T5" fmla="*/ 1389 h 1428"/>
                  <a:gd name="T6" fmla="*/ 1692 w 2469"/>
                  <a:gd name="T7" fmla="*/ 1384 h 1428"/>
                  <a:gd name="T8" fmla="*/ 2415 w 2469"/>
                  <a:gd name="T9" fmla="*/ 965 h 1428"/>
                  <a:gd name="T10" fmla="*/ 2412 w 2469"/>
                  <a:gd name="T11" fmla="*/ 896 h 1428"/>
                  <a:gd name="T12" fmla="*/ 909 w 2469"/>
                  <a:gd name="T13" fmla="*/ 26 h 1428"/>
                  <a:gd name="T14" fmla="*/ 815 w 2469"/>
                  <a:gd name="T15" fmla="*/ 30 h 1428"/>
                  <a:gd name="T16" fmla="*/ 83 w 2469"/>
                  <a:gd name="T17" fmla="*/ 449 h 14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69" h="1428">
                    <a:moveTo>
                      <a:pt x="83" y="449"/>
                    </a:moveTo>
                    <a:cubicBezTo>
                      <a:pt x="83" y="449"/>
                      <a:pt x="0" y="494"/>
                      <a:pt x="83" y="540"/>
                    </a:cubicBezTo>
                    <a:cubicBezTo>
                      <a:pt x="1565" y="1389"/>
                      <a:pt x="1565" y="1389"/>
                      <a:pt x="1565" y="1389"/>
                    </a:cubicBezTo>
                    <a:cubicBezTo>
                      <a:pt x="1565" y="1389"/>
                      <a:pt x="1619" y="1428"/>
                      <a:pt x="1692" y="1384"/>
                    </a:cubicBezTo>
                    <a:cubicBezTo>
                      <a:pt x="1765" y="1341"/>
                      <a:pt x="2415" y="965"/>
                      <a:pt x="2415" y="965"/>
                    </a:cubicBezTo>
                    <a:cubicBezTo>
                      <a:pt x="2415" y="965"/>
                      <a:pt x="2469" y="933"/>
                      <a:pt x="2412" y="896"/>
                    </a:cubicBezTo>
                    <a:cubicBezTo>
                      <a:pt x="2356" y="859"/>
                      <a:pt x="909" y="26"/>
                      <a:pt x="909" y="26"/>
                    </a:cubicBezTo>
                    <a:cubicBezTo>
                      <a:pt x="909" y="26"/>
                      <a:pt x="863" y="0"/>
                      <a:pt x="815" y="30"/>
                    </a:cubicBezTo>
                    <a:lnTo>
                      <a:pt x="83" y="449"/>
                    </a:lnTo>
                    <a:close/>
                  </a:path>
                </a:pathLst>
              </a:custGeom>
              <a:solidFill>
                <a:schemeClr val="accent1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02" name="Freeform 276">
                <a:extLst>
                  <a:ext uri="{FF2B5EF4-FFF2-40B4-BE49-F238E27FC236}">
                    <a16:creationId xmlns:a16="http://schemas.microsoft.com/office/drawing/2014/main" id="{87B976D9-EA59-AE40-BDA1-02878B7B52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0" y="4156"/>
                <a:ext cx="5643" cy="2355"/>
              </a:xfrm>
              <a:custGeom>
                <a:avLst/>
                <a:gdLst>
                  <a:gd name="T0" fmla="*/ 2393 w 2394"/>
                  <a:gd name="T1" fmla="*/ 426 h 1000"/>
                  <a:gd name="T2" fmla="*/ 2371 w 2394"/>
                  <a:gd name="T3" fmla="*/ 461 h 1000"/>
                  <a:gd name="T4" fmla="*/ 1649 w 2394"/>
                  <a:gd name="T5" fmla="*/ 880 h 1000"/>
                  <a:gd name="T6" fmla="*/ 1522 w 2394"/>
                  <a:gd name="T7" fmla="*/ 885 h 1000"/>
                  <a:gd name="T8" fmla="*/ 38 w 2394"/>
                  <a:gd name="T9" fmla="*/ 36 h 1000"/>
                  <a:gd name="T10" fmla="*/ 0 w 2394"/>
                  <a:gd name="T11" fmla="*/ 0 h 1000"/>
                  <a:gd name="T12" fmla="*/ 0 w 2394"/>
                  <a:gd name="T13" fmla="*/ 62 h 1000"/>
                  <a:gd name="T14" fmla="*/ 26 w 2394"/>
                  <a:gd name="T15" fmla="*/ 103 h 1000"/>
                  <a:gd name="T16" fmla="*/ 1516 w 2394"/>
                  <a:gd name="T17" fmla="*/ 965 h 1000"/>
                  <a:gd name="T18" fmla="*/ 1643 w 2394"/>
                  <a:gd name="T19" fmla="*/ 960 h 1000"/>
                  <a:gd name="T20" fmla="*/ 2364 w 2394"/>
                  <a:gd name="T21" fmla="*/ 544 h 1000"/>
                  <a:gd name="T22" fmla="*/ 2392 w 2394"/>
                  <a:gd name="T23" fmla="*/ 493 h 1000"/>
                  <a:gd name="T24" fmla="*/ 2392 w 2394"/>
                  <a:gd name="T25" fmla="*/ 426 h 1000"/>
                  <a:gd name="T26" fmla="*/ 2393 w 2394"/>
                  <a:gd name="T27" fmla="*/ 426 h 10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94" h="1000">
                    <a:moveTo>
                      <a:pt x="2393" y="426"/>
                    </a:moveTo>
                    <a:cubicBezTo>
                      <a:pt x="2394" y="447"/>
                      <a:pt x="2371" y="461"/>
                      <a:pt x="2371" y="461"/>
                    </a:cubicBezTo>
                    <a:cubicBezTo>
                      <a:pt x="2371" y="461"/>
                      <a:pt x="1722" y="837"/>
                      <a:pt x="1649" y="880"/>
                    </a:cubicBezTo>
                    <a:cubicBezTo>
                      <a:pt x="1576" y="924"/>
                      <a:pt x="1522" y="885"/>
                      <a:pt x="1522" y="885"/>
                    </a:cubicBezTo>
                    <a:cubicBezTo>
                      <a:pt x="38" y="36"/>
                      <a:pt x="38" y="36"/>
                      <a:pt x="38" y="36"/>
                    </a:cubicBezTo>
                    <a:cubicBezTo>
                      <a:pt x="15" y="24"/>
                      <a:pt x="4" y="11"/>
                      <a:pt x="0" y="0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62"/>
                      <a:pt x="1" y="86"/>
                      <a:pt x="26" y="103"/>
                    </a:cubicBezTo>
                    <a:cubicBezTo>
                      <a:pt x="51" y="120"/>
                      <a:pt x="1516" y="965"/>
                      <a:pt x="1516" y="965"/>
                    </a:cubicBezTo>
                    <a:cubicBezTo>
                      <a:pt x="1516" y="965"/>
                      <a:pt x="1575" y="1000"/>
                      <a:pt x="1643" y="960"/>
                    </a:cubicBezTo>
                    <a:cubicBezTo>
                      <a:pt x="2364" y="544"/>
                      <a:pt x="2364" y="544"/>
                      <a:pt x="2364" y="544"/>
                    </a:cubicBezTo>
                    <a:cubicBezTo>
                      <a:pt x="2364" y="544"/>
                      <a:pt x="2392" y="526"/>
                      <a:pt x="2392" y="493"/>
                    </a:cubicBezTo>
                    <a:cubicBezTo>
                      <a:pt x="2392" y="426"/>
                      <a:pt x="2392" y="426"/>
                      <a:pt x="2392" y="426"/>
                    </a:cubicBezTo>
                    <a:lnTo>
                      <a:pt x="2393" y="426"/>
                    </a:lnTo>
                    <a:close/>
                  </a:path>
                </a:pathLst>
              </a:custGeom>
              <a:solidFill>
                <a:schemeClr val="tx1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03" name="Freeform 277">
                <a:extLst>
                  <a:ext uri="{FF2B5EF4-FFF2-40B4-BE49-F238E27FC236}">
                    <a16:creationId xmlns:a16="http://schemas.microsoft.com/office/drawing/2014/main" id="{32F328D7-2B44-1942-87E3-5849E8A49E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8" y="3200"/>
                <a:ext cx="4790" cy="2762"/>
              </a:xfrm>
              <a:custGeom>
                <a:avLst/>
                <a:gdLst>
                  <a:gd name="T0" fmla="*/ 4790 w 4790"/>
                  <a:gd name="T1" fmla="*/ 1726 h 2762"/>
                  <a:gd name="T2" fmla="*/ 2998 w 4790"/>
                  <a:gd name="T3" fmla="*/ 2762 h 2762"/>
                  <a:gd name="T4" fmla="*/ 0 w 4790"/>
                  <a:gd name="T5" fmla="*/ 1036 h 2762"/>
                  <a:gd name="T6" fmla="*/ 1780 w 4790"/>
                  <a:gd name="T7" fmla="*/ 0 h 2762"/>
                  <a:gd name="T8" fmla="*/ 4790 w 4790"/>
                  <a:gd name="T9" fmla="*/ 1726 h 2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90" h="2762">
                    <a:moveTo>
                      <a:pt x="4790" y="1726"/>
                    </a:moveTo>
                    <a:lnTo>
                      <a:pt x="2998" y="2762"/>
                    </a:lnTo>
                    <a:lnTo>
                      <a:pt x="0" y="1036"/>
                    </a:lnTo>
                    <a:lnTo>
                      <a:pt x="1780" y="0"/>
                    </a:lnTo>
                    <a:lnTo>
                      <a:pt x="4790" y="1726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04" name="Oval 278">
                <a:extLst>
                  <a:ext uri="{FF2B5EF4-FFF2-40B4-BE49-F238E27FC236}">
                    <a16:creationId xmlns:a16="http://schemas.microsoft.com/office/drawing/2014/main" id="{A2308B19-E065-B940-B60D-62598D8642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418" y="5451"/>
                <a:ext cx="403" cy="250"/>
              </a:xfrm>
              <a:prstGeom prst="ellipse">
                <a:avLst/>
              </a:pr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05" name="Freeform 279">
                <a:extLst>
                  <a:ext uri="{FF2B5EF4-FFF2-40B4-BE49-F238E27FC236}">
                    <a16:creationId xmlns:a16="http://schemas.microsoft.com/office/drawing/2014/main" id="{E8076C9F-9A7B-B64C-9720-21DAE68793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8" y="3982"/>
                <a:ext cx="955" cy="560"/>
              </a:xfrm>
              <a:custGeom>
                <a:avLst/>
                <a:gdLst>
                  <a:gd name="T0" fmla="*/ 533 w 955"/>
                  <a:gd name="T1" fmla="*/ 560 h 560"/>
                  <a:gd name="T2" fmla="*/ 955 w 955"/>
                  <a:gd name="T3" fmla="*/ 315 h 560"/>
                  <a:gd name="T4" fmla="*/ 436 w 955"/>
                  <a:gd name="T5" fmla="*/ 0 h 560"/>
                  <a:gd name="T6" fmla="*/ 0 w 955"/>
                  <a:gd name="T7" fmla="*/ 254 h 560"/>
                  <a:gd name="T8" fmla="*/ 533 w 955"/>
                  <a:gd name="T9" fmla="*/ 560 h 5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55" h="560">
                    <a:moveTo>
                      <a:pt x="533" y="560"/>
                    </a:moveTo>
                    <a:lnTo>
                      <a:pt x="955" y="315"/>
                    </a:lnTo>
                    <a:lnTo>
                      <a:pt x="436" y="0"/>
                    </a:lnTo>
                    <a:lnTo>
                      <a:pt x="0" y="254"/>
                    </a:lnTo>
                    <a:lnTo>
                      <a:pt x="533" y="56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06" name="Freeform 280">
                <a:extLst>
                  <a:ext uri="{FF2B5EF4-FFF2-40B4-BE49-F238E27FC236}">
                    <a16:creationId xmlns:a16="http://schemas.microsoft.com/office/drawing/2014/main" id="{971C67AA-316A-754C-B05C-C830E24880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4" y="4528"/>
                <a:ext cx="1070" cy="636"/>
              </a:xfrm>
              <a:custGeom>
                <a:avLst/>
                <a:gdLst>
                  <a:gd name="T0" fmla="*/ 646 w 1070"/>
                  <a:gd name="T1" fmla="*/ 636 h 636"/>
                  <a:gd name="T2" fmla="*/ 1070 w 1070"/>
                  <a:gd name="T3" fmla="*/ 388 h 636"/>
                  <a:gd name="T4" fmla="*/ 439 w 1070"/>
                  <a:gd name="T5" fmla="*/ 0 h 636"/>
                  <a:gd name="T6" fmla="*/ 0 w 1070"/>
                  <a:gd name="T7" fmla="*/ 264 h 636"/>
                  <a:gd name="T8" fmla="*/ 646 w 1070"/>
                  <a:gd name="T9" fmla="*/ 636 h 6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70" h="636">
                    <a:moveTo>
                      <a:pt x="646" y="636"/>
                    </a:moveTo>
                    <a:lnTo>
                      <a:pt x="1070" y="388"/>
                    </a:lnTo>
                    <a:lnTo>
                      <a:pt x="439" y="0"/>
                    </a:lnTo>
                    <a:lnTo>
                      <a:pt x="0" y="264"/>
                    </a:lnTo>
                    <a:lnTo>
                      <a:pt x="646" y="636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07" name="Freeform 281">
                <a:extLst>
                  <a:ext uri="{FF2B5EF4-FFF2-40B4-BE49-F238E27FC236}">
                    <a16:creationId xmlns:a16="http://schemas.microsoft.com/office/drawing/2014/main" id="{1082F5C5-EACE-4641-970F-064110A32D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48" y="3996"/>
                <a:ext cx="976" cy="555"/>
              </a:xfrm>
              <a:custGeom>
                <a:avLst/>
                <a:gdLst>
                  <a:gd name="T0" fmla="*/ 448 w 976"/>
                  <a:gd name="T1" fmla="*/ 555 h 555"/>
                  <a:gd name="T2" fmla="*/ 976 w 976"/>
                  <a:gd name="T3" fmla="*/ 242 h 555"/>
                  <a:gd name="T4" fmla="*/ 511 w 976"/>
                  <a:gd name="T5" fmla="*/ 0 h 555"/>
                  <a:gd name="T6" fmla="*/ 0 w 976"/>
                  <a:gd name="T7" fmla="*/ 306 h 555"/>
                  <a:gd name="T8" fmla="*/ 448 w 976"/>
                  <a:gd name="T9" fmla="*/ 555 h 5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6" h="555">
                    <a:moveTo>
                      <a:pt x="448" y="555"/>
                    </a:moveTo>
                    <a:lnTo>
                      <a:pt x="976" y="242"/>
                    </a:lnTo>
                    <a:lnTo>
                      <a:pt x="511" y="0"/>
                    </a:lnTo>
                    <a:lnTo>
                      <a:pt x="0" y="306"/>
                    </a:lnTo>
                    <a:lnTo>
                      <a:pt x="448" y="555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08" name="Freeform 282">
                <a:extLst>
                  <a:ext uri="{FF2B5EF4-FFF2-40B4-BE49-F238E27FC236}">
                    <a16:creationId xmlns:a16="http://schemas.microsoft.com/office/drawing/2014/main" id="{9CE67516-5A9A-B540-B93D-C2155023D4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54" y="4250"/>
                <a:ext cx="976" cy="575"/>
              </a:xfrm>
              <a:custGeom>
                <a:avLst/>
                <a:gdLst>
                  <a:gd name="T0" fmla="*/ 627 w 976"/>
                  <a:gd name="T1" fmla="*/ 575 h 575"/>
                  <a:gd name="T2" fmla="*/ 976 w 976"/>
                  <a:gd name="T3" fmla="*/ 356 h 575"/>
                  <a:gd name="T4" fmla="*/ 332 w 976"/>
                  <a:gd name="T5" fmla="*/ 0 h 575"/>
                  <a:gd name="T6" fmla="*/ 0 w 976"/>
                  <a:gd name="T7" fmla="*/ 212 h 575"/>
                  <a:gd name="T8" fmla="*/ 627 w 976"/>
                  <a:gd name="T9" fmla="*/ 575 h 5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6" h="575">
                    <a:moveTo>
                      <a:pt x="627" y="575"/>
                    </a:moveTo>
                    <a:lnTo>
                      <a:pt x="976" y="356"/>
                    </a:lnTo>
                    <a:lnTo>
                      <a:pt x="332" y="0"/>
                    </a:lnTo>
                    <a:lnTo>
                      <a:pt x="0" y="212"/>
                    </a:lnTo>
                    <a:lnTo>
                      <a:pt x="627" y="575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09" name="Freeform 283">
                <a:extLst>
                  <a:ext uri="{FF2B5EF4-FFF2-40B4-BE49-F238E27FC236}">
                    <a16:creationId xmlns:a16="http://schemas.microsoft.com/office/drawing/2014/main" id="{017601D1-6755-B346-B333-1345A42FB5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89" y="4655"/>
                <a:ext cx="731" cy="443"/>
              </a:xfrm>
              <a:custGeom>
                <a:avLst/>
                <a:gdLst>
                  <a:gd name="T0" fmla="*/ 212 w 731"/>
                  <a:gd name="T1" fmla="*/ 443 h 443"/>
                  <a:gd name="T2" fmla="*/ 731 w 731"/>
                  <a:gd name="T3" fmla="*/ 130 h 443"/>
                  <a:gd name="T4" fmla="*/ 502 w 731"/>
                  <a:gd name="T5" fmla="*/ 0 h 443"/>
                  <a:gd name="T6" fmla="*/ 0 w 731"/>
                  <a:gd name="T7" fmla="*/ 306 h 443"/>
                  <a:gd name="T8" fmla="*/ 212 w 731"/>
                  <a:gd name="T9" fmla="*/ 443 h 4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1" h="443">
                    <a:moveTo>
                      <a:pt x="212" y="443"/>
                    </a:moveTo>
                    <a:lnTo>
                      <a:pt x="731" y="130"/>
                    </a:lnTo>
                    <a:lnTo>
                      <a:pt x="502" y="0"/>
                    </a:lnTo>
                    <a:lnTo>
                      <a:pt x="0" y="306"/>
                    </a:lnTo>
                    <a:lnTo>
                      <a:pt x="212" y="443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10" name="Freeform 284">
                <a:extLst>
                  <a:ext uri="{FF2B5EF4-FFF2-40B4-BE49-F238E27FC236}">
                    <a16:creationId xmlns:a16="http://schemas.microsoft.com/office/drawing/2014/main" id="{B7416229-1238-7A45-809B-A232953D9D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2" y="3704"/>
                <a:ext cx="1118" cy="640"/>
              </a:xfrm>
              <a:custGeom>
                <a:avLst/>
                <a:gdLst>
                  <a:gd name="T0" fmla="*/ 561 w 1118"/>
                  <a:gd name="T1" fmla="*/ 640 h 640"/>
                  <a:gd name="T2" fmla="*/ 1118 w 1118"/>
                  <a:gd name="T3" fmla="*/ 308 h 640"/>
                  <a:gd name="T4" fmla="*/ 578 w 1118"/>
                  <a:gd name="T5" fmla="*/ 0 h 640"/>
                  <a:gd name="T6" fmla="*/ 0 w 1118"/>
                  <a:gd name="T7" fmla="*/ 315 h 640"/>
                  <a:gd name="T8" fmla="*/ 561 w 1118"/>
                  <a:gd name="T9" fmla="*/ 640 h 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18" h="640">
                    <a:moveTo>
                      <a:pt x="561" y="640"/>
                    </a:moveTo>
                    <a:lnTo>
                      <a:pt x="1118" y="308"/>
                    </a:lnTo>
                    <a:lnTo>
                      <a:pt x="578" y="0"/>
                    </a:lnTo>
                    <a:lnTo>
                      <a:pt x="0" y="315"/>
                    </a:lnTo>
                    <a:lnTo>
                      <a:pt x="561" y="64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11" name="Freeform 285">
                <a:extLst>
                  <a:ext uri="{FF2B5EF4-FFF2-40B4-BE49-F238E27FC236}">
                    <a16:creationId xmlns:a16="http://schemas.microsoft.com/office/drawing/2014/main" id="{3F4166F7-A2B6-4F48-9AB8-7CCF11EFBE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54" y="3200"/>
                <a:ext cx="979" cy="579"/>
              </a:xfrm>
              <a:custGeom>
                <a:avLst/>
                <a:gdLst>
                  <a:gd name="T0" fmla="*/ 540 w 979"/>
                  <a:gd name="T1" fmla="*/ 579 h 579"/>
                  <a:gd name="T2" fmla="*/ 979 w 979"/>
                  <a:gd name="T3" fmla="*/ 306 h 579"/>
                  <a:gd name="T4" fmla="*/ 444 w 979"/>
                  <a:gd name="T5" fmla="*/ 0 h 579"/>
                  <a:gd name="T6" fmla="*/ 0 w 979"/>
                  <a:gd name="T7" fmla="*/ 266 h 579"/>
                  <a:gd name="T8" fmla="*/ 540 w 979"/>
                  <a:gd name="T9" fmla="*/ 579 h 5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9" h="579">
                    <a:moveTo>
                      <a:pt x="540" y="579"/>
                    </a:moveTo>
                    <a:lnTo>
                      <a:pt x="979" y="306"/>
                    </a:lnTo>
                    <a:lnTo>
                      <a:pt x="444" y="0"/>
                    </a:lnTo>
                    <a:lnTo>
                      <a:pt x="0" y="266"/>
                    </a:lnTo>
                    <a:lnTo>
                      <a:pt x="540" y="579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12" name="Freeform 286">
                <a:extLst>
                  <a:ext uri="{FF2B5EF4-FFF2-40B4-BE49-F238E27FC236}">
                    <a16:creationId xmlns:a16="http://schemas.microsoft.com/office/drawing/2014/main" id="{2BC39EFB-7E34-B640-8518-0DC5C10139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48" y="3539"/>
                <a:ext cx="979" cy="579"/>
              </a:xfrm>
              <a:custGeom>
                <a:avLst/>
                <a:gdLst>
                  <a:gd name="T0" fmla="*/ 540 w 979"/>
                  <a:gd name="T1" fmla="*/ 579 h 579"/>
                  <a:gd name="T2" fmla="*/ 979 w 979"/>
                  <a:gd name="T3" fmla="*/ 306 h 579"/>
                  <a:gd name="T4" fmla="*/ 443 w 979"/>
                  <a:gd name="T5" fmla="*/ 0 h 579"/>
                  <a:gd name="T6" fmla="*/ 0 w 979"/>
                  <a:gd name="T7" fmla="*/ 266 h 579"/>
                  <a:gd name="T8" fmla="*/ 540 w 979"/>
                  <a:gd name="T9" fmla="*/ 579 h 5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9" h="579">
                    <a:moveTo>
                      <a:pt x="540" y="579"/>
                    </a:moveTo>
                    <a:lnTo>
                      <a:pt x="979" y="306"/>
                    </a:lnTo>
                    <a:lnTo>
                      <a:pt x="443" y="0"/>
                    </a:lnTo>
                    <a:lnTo>
                      <a:pt x="0" y="266"/>
                    </a:lnTo>
                    <a:lnTo>
                      <a:pt x="540" y="579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13" name="Freeform 287">
                <a:extLst>
                  <a:ext uri="{FF2B5EF4-FFF2-40B4-BE49-F238E27FC236}">
                    <a16:creationId xmlns:a16="http://schemas.microsoft.com/office/drawing/2014/main" id="{F47A9387-BFFC-2045-9726-0CDDFA3CF5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17" y="4975"/>
                <a:ext cx="1419" cy="815"/>
              </a:xfrm>
              <a:custGeom>
                <a:avLst/>
                <a:gdLst>
                  <a:gd name="T0" fmla="*/ 0 w 1419"/>
                  <a:gd name="T1" fmla="*/ 241 h 815"/>
                  <a:gd name="T2" fmla="*/ 429 w 1419"/>
                  <a:gd name="T3" fmla="*/ 0 h 815"/>
                  <a:gd name="T4" fmla="*/ 1419 w 1419"/>
                  <a:gd name="T5" fmla="*/ 566 h 815"/>
                  <a:gd name="T6" fmla="*/ 1002 w 1419"/>
                  <a:gd name="T7" fmla="*/ 815 h 815"/>
                  <a:gd name="T8" fmla="*/ 0 w 1419"/>
                  <a:gd name="T9" fmla="*/ 241 h 8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19" h="815">
                    <a:moveTo>
                      <a:pt x="0" y="241"/>
                    </a:moveTo>
                    <a:lnTo>
                      <a:pt x="429" y="0"/>
                    </a:lnTo>
                    <a:lnTo>
                      <a:pt x="1419" y="566"/>
                    </a:lnTo>
                    <a:lnTo>
                      <a:pt x="1002" y="815"/>
                    </a:lnTo>
                    <a:lnTo>
                      <a:pt x="0" y="241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14" name="Freeform 288">
                <a:extLst>
                  <a:ext uri="{FF2B5EF4-FFF2-40B4-BE49-F238E27FC236}">
                    <a16:creationId xmlns:a16="http://schemas.microsoft.com/office/drawing/2014/main" id="{2A5A8A8A-1AEB-7043-B531-BCC6C7A154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61" y="4634"/>
                <a:ext cx="1047" cy="612"/>
              </a:xfrm>
              <a:custGeom>
                <a:avLst/>
                <a:gdLst>
                  <a:gd name="T0" fmla="*/ 495 w 1047"/>
                  <a:gd name="T1" fmla="*/ 612 h 612"/>
                  <a:gd name="T2" fmla="*/ 0 w 1047"/>
                  <a:gd name="T3" fmla="*/ 320 h 612"/>
                  <a:gd name="T4" fmla="*/ 535 w 1047"/>
                  <a:gd name="T5" fmla="*/ 0 h 612"/>
                  <a:gd name="T6" fmla="*/ 1047 w 1047"/>
                  <a:gd name="T7" fmla="*/ 292 h 612"/>
                  <a:gd name="T8" fmla="*/ 495 w 1047"/>
                  <a:gd name="T9" fmla="*/ 612 h 6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47" h="612">
                    <a:moveTo>
                      <a:pt x="495" y="612"/>
                    </a:moveTo>
                    <a:lnTo>
                      <a:pt x="0" y="320"/>
                    </a:lnTo>
                    <a:lnTo>
                      <a:pt x="535" y="0"/>
                    </a:lnTo>
                    <a:lnTo>
                      <a:pt x="1047" y="292"/>
                    </a:lnTo>
                    <a:lnTo>
                      <a:pt x="495" y="612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15" name="Freeform 289">
                <a:extLst>
                  <a:ext uri="{FF2B5EF4-FFF2-40B4-BE49-F238E27FC236}">
                    <a16:creationId xmlns:a16="http://schemas.microsoft.com/office/drawing/2014/main" id="{29539800-43D8-F541-8628-DA502BD449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70" y="4231"/>
                <a:ext cx="1118" cy="667"/>
              </a:xfrm>
              <a:custGeom>
                <a:avLst/>
                <a:gdLst>
                  <a:gd name="T0" fmla="*/ 1118 w 1118"/>
                  <a:gd name="T1" fmla="*/ 337 h 667"/>
                  <a:gd name="T2" fmla="*/ 594 w 1118"/>
                  <a:gd name="T3" fmla="*/ 667 h 667"/>
                  <a:gd name="T4" fmla="*/ 0 w 1118"/>
                  <a:gd name="T5" fmla="*/ 325 h 667"/>
                  <a:gd name="T6" fmla="*/ 526 w 1118"/>
                  <a:gd name="T7" fmla="*/ 0 h 667"/>
                  <a:gd name="T8" fmla="*/ 1118 w 1118"/>
                  <a:gd name="T9" fmla="*/ 337 h 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18" h="667">
                    <a:moveTo>
                      <a:pt x="1118" y="337"/>
                    </a:moveTo>
                    <a:lnTo>
                      <a:pt x="594" y="667"/>
                    </a:lnTo>
                    <a:lnTo>
                      <a:pt x="0" y="325"/>
                    </a:lnTo>
                    <a:lnTo>
                      <a:pt x="526" y="0"/>
                    </a:lnTo>
                    <a:lnTo>
                      <a:pt x="1118" y="337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16" name="Freeform 290">
                <a:extLst>
                  <a:ext uri="{FF2B5EF4-FFF2-40B4-BE49-F238E27FC236}">
                    <a16:creationId xmlns:a16="http://schemas.microsoft.com/office/drawing/2014/main" id="{372A3B1F-ECC8-E142-A7F4-E2476EC945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65" y="1914"/>
                <a:ext cx="122" cy="1733"/>
              </a:xfrm>
              <a:custGeom>
                <a:avLst/>
                <a:gdLst>
                  <a:gd name="T0" fmla="*/ 122 w 122"/>
                  <a:gd name="T1" fmla="*/ 0 h 1733"/>
                  <a:gd name="T2" fmla="*/ 0 w 122"/>
                  <a:gd name="T3" fmla="*/ 66 h 1733"/>
                  <a:gd name="T4" fmla="*/ 0 w 122"/>
                  <a:gd name="T5" fmla="*/ 1733 h 1733"/>
                  <a:gd name="T6" fmla="*/ 122 w 122"/>
                  <a:gd name="T7" fmla="*/ 1667 h 1733"/>
                  <a:gd name="T8" fmla="*/ 122 w 122"/>
                  <a:gd name="T9" fmla="*/ 0 h 17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2" h="1733">
                    <a:moveTo>
                      <a:pt x="122" y="0"/>
                    </a:moveTo>
                    <a:lnTo>
                      <a:pt x="0" y="66"/>
                    </a:lnTo>
                    <a:lnTo>
                      <a:pt x="0" y="1733"/>
                    </a:lnTo>
                    <a:lnTo>
                      <a:pt x="122" y="1667"/>
                    </a:lnTo>
                    <a:lnTo>
                      <a:pt x="122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17" name="Freeform 291">
                <a:extLst>
                  <a:ext uri="{FF2B5EF4-FFF2-40B4-BE49-F238E27FC236}">
                    <a16:creationId xmlns:a16="http://schemas.microsoft.com/office/drawing/2014/main" id="{C8BC275F-DDC1-5D45-9601-C9486EE3BD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87" y="1914"/>
                <a:ext cx="123" cy="1733"/>
              </a:xfrm>
              <a:custGeom>
                <a:avLst/>
                <a:gdLst>
                  <a:gd name="T0" fmla="*/ 0 w 123"/>
                  <a:gd name="T1" fmla="*/ 0 h 1733"/>
                  <a:gd name="T2" fmla="*/ 123 w 123"/>
                  <a:gd name="T3" fmla="*/ 66 h 1733"/>
                  <a:gd name="T4" fmla="*/ 123 w 123"/>
                  <a:gd name="T5" fmla="*/ 1733 h 1733"/>
                  <a:gd name="T6" fmla="*/ 0 w 123"/>
                  <a:gd name="T7" fmla="*/ 1667 h 1733"/>
                  <a:gd name="T8" fmla="*/ 0 w 123"/>
                  <a:gd name="T9" fmla="*/ 0 h 17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3" h="1733">
                    <a:moveTo>
                      <a:pt x="0" y="0"/>
                    </a:moveTo>
                    <a:lnTo>
                      <a:pt x="123" y="66"/>
                    </a:lnTo>
                    <a:lnTo>
                      <a:pt x="123" y="1733"/>
                    </a:lnTo>
                    <a:lnTo>
                      <a:pt x="0" y="166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18" name="Freeform 292">
                <a:extLst>
                  <a:ext uri="{FF2B5EF4-FFF2-40B4-BE49-F238E27FC236}">
                    <a16:creationId xmlns:a16="http://schemas.microsoft.com/office/drawing/2014/main" id="{006A52E6-66AC-954D-A884-849356E164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10" y="1914"/>
                <a:ext cx="122" cy="1733"/>
              </a:xfrm>
              <a:custGeom>
                <a:avLst/>
                <a:gdLst>
                  <a:gd name="T0" fmla="*/ 122 w 122"/>
                  <a:gd name="T1" fmla="*/ 0 h 1733"/>
                  <a:gd name="T2" fmla="*/ 0 w 122"/>
                  <a:gd name="T3" fmla="*/ 66 h 1733"/>
                  <a:gd name="T4" fmla="*/ 0 w 122"/>
                  <a:gd name="T5" fmla="*/ 1733 h 1733"/>
                  <a:gd name="T6" fmla="*/ 122 w 122"/>
                  <a:gd name="T7" fmla="*/ 1667 h 1733"/>
                  <a:gd name="T8" fmla="*/ 122 w 122"/>
                  <a:gd name="T9" fmla="*/ 0 h 17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2" h="1733">
                    <a:moveTo>
                      <a:pt x="122" y="0"/>
                    </a:moveTo>
                    <a:lnTo>
                      <a:pt x="0" y="66"/>
                    </a:lnTo>
                    <a:lnTo>
                      <a:pt x="0" y="1733"/>
                    </a:lnTo>
                    <a:lnTo>
                      <a:pt x="122" y="1667"/>
                    </a:lnTo>
                    <a:lnTo>
                      <a:pt x="122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19" name="Freeform 293">
                <a:extLst>
                  <a:ext uri="{FF2B5EF4-FFF2-40B4-BE49-F238E27FC236}">
                    <a16:creationId xmlns:a16="http://schemas.microsoft.com/office/drawing/2014/main" id="{49F687DD-E769-7D4F-8CDA-B3F5357C5E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76" y="1876"/>
                <a:ext cx="189" cy="1771"/>
              </a:xfrm>
              <a:custGeom>
                <a:avLst/>
                <a:gdLst>
                  <a:gd name="T0" fmla="*/ 0 w 189"/>
                  <a:gd name="T1" fmla="*/ 0 h 1771"/>
                  <a:gd name="T2" fmla="*/ 189 w 189"/>
                  <a:gd name="T3" fmla="*/ 104 h 1771"/>
                  <a:gd name="T4" fmla="*/ 189 w 189"/>
                  <a:gd name="T5" fmla="*/ 1771 h 1771"/>
                  <a:gd name="T6" fmla="*/ 0 w 189"/>
                  <a:gd name="T7" fmla="*/ 1668 h 1771"/>
                  <a:gd name="T8" fmla="*/ 0 w 189"/>
                  <a:gd name="T9" fmla="*/ 0 h 17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9" h="1771">
                    <a:moveTo>
                      <a:pt x="0" y="0"/>
                    </a:moveTo>
                    <a:lnTo>
                      <a:pt x="189" y="104"/>
                    </a:lnTo>
                    <a:lnTo>
                      <a:pt x="189" y="1771"/>
                    </a:lnTo>
                    <a:lnTo>
                      <a:pt x="0" y="166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20" name="Freeform 294">
                <a:extLst>
                  <a:ext uri="{FF2B5EF4-FFF2-40B4-BE49-F238E27FC236}">
                    <a16:creationId xmlns:a16="http://schemas.microsoft.com/office/drawing/2014/main" id="{90F2E932-8E13-6B4A-80A7-44F7AB8659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95" y="1926"/>
                <a:ext cx="38" cy="1618"/>
              </a:xfrm>
              <a:custGeom>
                <a:avLst/>
                <a:gdLst>
                  <a:gd name="T0" fmla="*/ 0 w 38"/>
                  <a:gd name="T1" fmla="*/ 0 h 1618"/>
                  <a:gd name="T2" fmla="*/ 38 w 38"/>
                  <a:gd name="T3" fmla="*/ 23 h 1618"/>
                  <a:gd name="T4" fmla="*/ 38 w 38"/>
                  <a:gd name="T5" fmla="*/ 1618 h 1618"/>
                  <a:gd name="T6" fmla="*/ 0 w 38"/>
                  <a:gd name="T7" fmla="*/ 1594 h 1618"/>
                  <a:gd name="T8" fmla="*/ 0 w 38"/>
                  <a:gd name="T9" fmla="*/ 0 h 16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1618">
                    <a:moveTo>
                      <a:pt x="0" y="0"/>
                    </a:moveTo>
                    <a:lnTo>
                      <a:pt x="38" y="23"/>
                    </a:lnTo>
                    <a:lnTo>
                      <a:pt x="38" y="1618"/>
                    </a:lnTo>
                    <a:lnTo>
                      <a:pt x="0" y="159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21" name="Freeform 295">
                <a:extLst>
                  <a:ext uri="{FF2B5EF4-FFF2-40B4-BE49-F238E27FC236}">
                    <a16:creationId xmlns:a16="http://schemas.microsoft.com/office/drawing/2014/main" id="{8296434C-DC86-0545-954A-1DEB4FE9EB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51" y="1963"/>
                <a:ext cx="38" cy="1618"/>
              </a:xfrm>
              <a:custGeom>
                <a:avLst/>
                <a:gdLst>
                  <a:gd name="T0" fmla="*/ 0 w 38"/>
                  <a:gd name="T1" fmla="*/ 0 h 1618"/>
                  <a:gd name="T2" fmla="*/ 38 w 38"/>
                  <a:gd name="T3" fmla="*/ 24 h 1618"/>
                  <a:gd name="T4" fmla="*/ 38 w 38"/>
                  <a:gd name="T5" fmla="*/ 1618 h 1618"/>
                  <a:gd name="T6" fmla="*/ 0 w 38"/>
                  <a:gd name="T7" fmla="*/ 1595 h 1618"/>
                  <a:gd name="T8" fmla="*/ 0 w 38"/>
                  <a:gd name="T9" fmla="*/ 0 h 16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1618">
                    <a:moveTo>
                      <a:pt x="0" y="0"/>
                    </a:moveTo>
                    <a:lnTo>
                      <a:pt x="38" y="24"/>
                    </a:lnTo>
                    <a:lnTo>
                      <a:pt x="38" y="1618"/>
                    </a:lnTo>
                    <a:lnTo>
                      <a:pt x="0" y="159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22" name="Freeform 296">
                <a:extLst>
                  <a:ext uri="{FF2B5EF4-FFF2-40B4-BE49-F238E27FC236}">
                    <a16:creationId xmlns:a16="http://schemas.microsoft.com/office/drawing/2014/main" id="{EC32FA67-3970-FD49-9434-1D25527169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08" y="1992"/>
                <a:ext cx="38" cy="1617"/>
              </a:xfrm>
              <a:custGeom>
                <a:avLst/>
                <a:gdLst>
                  <a:gd name="T0" fmla="*/ 0 w 38"/>
                  <a:gd name="T1" fmla="*/ 0 h 1617"/>
                  <a:gd name="T2" fmla="*/ 38 w 38"/>
                  <a:gd name="T3" fmla="*/ 23 h 1617"/>
                  <a:gd name="T4" fmla="*/ 38 w 38"/>
                  <a:gd name="T5" fmla="*/ 1617 h 1617"/>
                  <a:gd name="T6" fmla="*/ 0 w 38"/>
                  <a:gd name="T7" fmla="*/ 1594 h 1617"/>
                  <a:gd name="T8" fmla="*/ 0 w 38"/>
                  <a:gd name="T9" fmla="*/ 0 h 16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1617">
                    <a:moveTo>
                      <a:pt x="0" y="0"/>
                    </a:moveTo>
                    <a:lnTo>
                      <a:pt x="38" y="23"/>
                    </a:lnTo>
                    <a:lnTo>
                      <a:pt x="38" y="1617"/>
                    </a:lnTo>
                    <a:lnTo>
                      <a:pt x="0" y="159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23" name="Freeform 297">
                <a:extLst>
                  <a:ext uri="{FF2B5EF4-FFF2-40B4-BE49-F238E27FC236}">
                    <a16:creationId xmlns:a16="http://schemas.microsoft.com/office/drawing/2014/main" id="{F913FF95-1B77-5A40-890F-C8431038BC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85" y="1808"/>
                <a:ext cx="312" cy="172"/>
              </a:xfrm>
              <a:custGeom>
                <a:avLst/>
                <a:gdLst>
                  <a:gd name="T0" fmla="*/ 0 w 312"/>
                  <a:gd name="T1" fmla="*/ 68 h 172"/>
                  <a:gd name="T2" fmla="*/ 118 w 312"/>
                  <a:gd name="T3" fmla="*/ 0 h 172"/>
                  <a:gd name="T4" fmla="*/ 312 w 312"/>
                  <a:gd name="T5" fmla="*/ 106 h 172"/>
                  <a:gd name="T6" fmla="*/ 189 w 312"/>
                  <a:gd name="T7" fmla="*/ 172 h 172"/>
                  <a:gd name="T8" fmla="*/ 0 w 312"/>
                  <a:gd name="T9" fmla="*/ 68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2" h="172">
                    <a:moveTo>
                      <a:pt x="0" y="68"/>
                    </a:moveTo>
                    <a:lnTo>
                      <a:pt x="118" y="0"/>
                    </a:lnTo>
                    <a:lnTo>
                      <a:pt x="312" y="106"/>
                    </a:lnTo>
                    <a:lnTo>
                      <a:pt x="189" y="172"/>
                    </a:lnTo>
                    <a:lnTo>
                      <a:pt x="0" y="68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24" name="Freeform 298">
                <a:extLst>
                  <a:ext uri="{FF2B5EF4-FFF2-40B4-BE49-F238E27FC236}">
                    <a16:creationId xmlns:a16="http://schemas.microsoft.com/office/drawing/2014/main" id="{F039E063-687E-FD44-B684-CD009F314E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02" y="1683"/>
                <a:ext cx="540" cy="294"/>
              </a:xfrm>
              <a:custGeom>
                <a:avLst/>
                <a:gdLst>
                  <a:gd name="T0" fmla="*/ 540 w 540"/>
                  <a:gd name="T1" fmla="*/ 231 h 294"/>
                  <a:gd name="T2" fmla="*/ 127 w 540"/>
                  <a:gd name="T3" fmla="*/ 0 h 294"/>
                  <a:gd name="T4" fmla="*/ 0 w 540"/>
                  <a:gd name="T5" fmla="*/ 68 h 294"/>
                  <a:gd name="T6" fmla="*/ 415 w 540"/>
                  <a:gd name="T7" fmla="*/ 294 h 294"/>
                  <a:gd name="T8" fmla="*/ 540 w 540"/>
                  <a:gd name="T9" fmla="*/ 231 h 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0" h="294">
                    <a:moveTo>
                      <a:pt x="540" y="231"/>
                    </a:moveTo>
                    <a:lnTo>
                      <a:pt x="127" y="0"/>
                    </a:lnTo>
                    <a:lnTo>
                      <a:pt x="0" y="68"/>
                    </a:lnTo>
                    <a:lnTo>
                      <a:pt x="415" y="294"/>
                    </a:lnTo>
                    <a:lnTo>
                      <a:pt x="540" y="231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25" name="Freeform 299">
                <a:extLst>
                  <a:ext uri="{FF2B5EF4-FFF2-40B4-BE49-F238E27FC236}">
                    <a16:creationId xmlns:a16="http://schemas.microsoft.com/office/drawing/2014/main" id="{03ED456D-9D8B-DA45-8D9F-99EF6B988E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95" y="1751"/>
                <a:ext cx="99" cy="113"/>
              </a:xfrm>
              <a:custGeom>
                <a:avLst/>
                <a:gdLst>
                  <a:gd name="T0" fmla="*/ 0 w 99"/>
                  <a:gd name="T1" fmla="*/ 0 h 113"/>
                  <a:gd name="T2" fmla="*/ 0 w 99"/>
                  <a:gd name="T3" fmla="*/ 113 h 113"/>
                  <a:gd name="T4" fmla="*/ 99 w 99"/>
                  <a:gd name="T5" fmla="*/ 57 h 113"/>
                  <a:gd name="T6" fmla="*/ 0 w 99"/>
                  <a:gd name="T7" fmla="*/ 0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9" h="113">
                    <a:moveTo>
                      <a:pt x="0" y="0"/>
                    </a:moveTo>
                    <a:lnTo>
                      <a:pt x="0" y="113"/>
                    </a:lnTo>
                    <a:lnTo>
                      <a:pt x="99" y="5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26" name="Freeform 300">
                <a:extLst>
                  <a:ext uri="{FF2B5EF4-FFF2-40B4-BE49-F238E27FC236}">
                    <a16:creationId xmlns:a16="http://schemas.microsoft.com/office/drawing/2014/main" id="{BC79436D-B234-AD42-9023-00443FEA2F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0" y="3332"/>
                <a:ext cx="358" cy="1106"/>
              </a:xfrm>
              <a:custGeom>
                <a:avLst/>
                <a:gdLst>
                  <a:gd name="T0" fmla="*/ 358 w 358"/>
                  <a:gd name="T1" fmla="*/ 1106 h 1106"/>
                  <a:gd name="T2" fmla="*/ 0 w 358"/>
                  <a:gd name="T3" fmla="*/ 902 h 1106"/>
                  <a:gd name="T4" fmla="*/ 0 w 358"/>
                  <a:gd name="T5" fmla="*/ 0 h 1106"/>
                  <a:gd name="T6" fmla="*/ 358 w 358"/>
                  <a:gd name="T7" fmla="*/ 204 h 1106"/>
                  <a:gd name="T8" fmla="*/ 358 w 358"/>
                  <a:gd name="T9" fmla="*/ 1106 h 1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8" h="1106">
                    <a:moveTo>
                      <a:pt x="358" y="1106"/>
                    </a:moveTo>
                    <a:lnTo>
                      <a:pt x="0" y="902"/>
                    </a:lnTo>
                    <a:lnTo>
                      <a:pt x="0" y="0"/>
                    </a:lnTo>
                    <a:lnTo>
                      <a:pt x="358" y="204"/>
                    </a:lnTo>
                    <a:lnTo>
                      <a:pt x="358" y="1106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27" name="Freeform 301">
                <a:extLst>
                  <a:ext uri="{FF2B5EF4-FFF2-40B4-BE49-F238E27FC236}">
                    <a16:creationId xmlns:a16="http://schemas.microsoft.com/office/drawing/2014/main" id="{BCA681E6-C05B-E544-B83D-2DBACFD940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48" y="3395"/>
                <a:ext cx="227" cy="1043"/>
              </a:xfrm>
              <a:custGeom>
                <a:avLst/>
                <a:gdLst>
                  <a:gd name="T0" fmla="*/ 0 w 227"/>
                  <a:gd name="T1" fmla="*/ 1043 h 1043"/>
                  <a:gd name="T2" fmla="*/ 227 w 227"/>
                  <a:gd name="T3" fmla="*/ 902 h 1043"/>
                  <a:gd name="T4" fmla="*/ 227 w 227"/>
                  <a:gd name="T5" fmla="*/ 0 h 1043"/>
                  <a:gd name="T6" fmla="*/ 0 w 227"/>
                  <a:gd name="T7" fmla="*/ 141 h 1043"/>
                  <a:gd name="T8" fmla="*/ 0 w 227"/>
                  <a:gd name="T9" fmla="*/ 1043 h 10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7" h="1043">
                    <a:moveTo>
                      <a:pt x="0" y="1043"/>
                    </a:moveTo>
                    <a:lnTo>
                      <a:pt x="227" y="902"/>
                    </a:lnTo>
                    <a:lnTo>
                      <a:pt x="227" y="0"/>
                    </a:lnTo>
                    <a:lnTo>
                      <a:pt x="0" y="141"/>
                    </a:lnTo>
                    <a:lnTo>
                      <a:pt x="0" y="1043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28" name="Freeform 302">
                <a:extLst>
                  <a:ext uri="{FF2B5EF4-FFF2-40B4-BE49-F238E27FC236}">
                    <a16:creationId xmlns:a16="http://schemas.microsoft.com/office/drawing/2014/main" id="{EB068A86-58B1-0047-B889-4FC9C4DB5B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77" y="4170"/>
                <a:ext cx="169" cy="198"/>
              </a:xfrm>
              <a:custGeom>
                <a:avLst/>
                <a:gdLst>
                  <a:gd name="T0" fmla="*/ 0 w 169"/>
                  <a:gd name="T1" fmla="*/ 198 h 198"/>
                  <a:gd name="T2" fmla="*/ 169 w 169"/>
                  <a:gd name="T3" fmla="*/ 89 h 198"/>
                  <a:gd name="T4" fmla="*/ 169 w 169"/>
                  <a:gd name="T5" fmla="*/ 0 h 198"/>
                  <a:gd name="T6" fmla="*/ 0 w 169"/>
                  <a:gd name="T7" fmla="*/ 108 h 198"/>
                  <a:gd name="T8" fmla="*/ 0 w 169"/>
                  <a:gd name="T9" fmla="*/ 198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9" h="198">
                    <a:moveTo>
                      <a:pt x="0" y="198"/>
                    </a:moveTo>
                    <a:lnTo>
                      <a:pt x="169" y="89"/>
                    </a:lnTo>
                    <a:lnTo>
                      <a:pt x="169" y="0"/>
                    </a:lnTo>
                    <a:lnTo>
                      <a:pt x="0" y="108"/>
                    </a:lnTo>
                    <a:lnTo>
                      <a:pt x="0" y="198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29" name="Freeform 303">
                <a:extLst>
                  <a:ext uri="{FF2B5EF4-FFF2-40B4-BE49-F238E27FC236}">
                    <a16:creationId xmlns:a16="http://schemas.microsoft.com/office/drawing/2014/main" id="{6DA4F213-894B-824E-BE53-B0AFB8AAAC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77" y="4029"/>
                <a:ext cx="169" cy="197"/>
              </a:xfrm>
              <a:custGeom>
                <a:avLst/>
                <a:gdLst>
                  <a:gd name="T0" fmla="*/ 0 w 169"/>
                  <a:gd name="T1" fmla="*/ 197 h 197"/>
                  <a:gd name="T2" fmla="*/ 169 w 169"/>
                  <a:gd name="T3" fmla="*/ 89 h 197"/>
                  <a:gd name="T4" fmla="*/ 169 w 169"/>
                  <a:gd name="T5" fmla="*/ 0 h 197"/>
                  <a:gd name="T6" fmla="*/ 0 w 169"/>
                  <a:gd name="T7" fmla="*/ 108 h 197"/>
                  <a:gd name="T8" fmla="*/ 0 w 169"/>
                  <a:gd name="T9" fmla="*/ 197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9" h="197">
                    <a:moveTo>
                      <a:pt x="0" y="197"/>
                    </a:moveTo>
                    <a:lnTo>
                      <a:pt x="169" y="89"/>
                    </a:lnTo>
                    <a:lnTo>
                      <a:pt x="169" y="0"/>
                    </a:lnTo>
                    <a:lnTo>
                      <a:pt x="0" y="108"/>
                    </a:lnTo>
                    <a:lnTo>
                      <a:pt x="0" y="197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30" name="Freeform 304">
                <a:extLst>
                  <a:ext uri="{FF2B5EF4-FFF2-40B4-BE49-F238E27FC236}">
                    <a16:creationId xmlns:a16="http://schemas.microsoft.com/office/drawing/2014/main" id="{EEF22B46-643A-F04A-B770-D912B10485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77" y="3887"/>
                <a:ext cx="169" cy="198"/>
              </a:xfrm>
              <a:custGeom>
                <a:avLst/>
                <a:gdLst>
                  <a:gd name="T0" fmla="*/ 0 w 169"/>
                  <a:gd name="T1" fmla="*/ 198 h 198"/>
                  <a:gd name="T2" fmla="*/ 169 w 169"/>
                  <a:gd name="T3" fmla="*/ 90 h 198"/>
                  <a:gd name="T4" fmla="*/ 169 w 169"/>
                  <a:gd name="T5" fmla="*/ 0 h 198"/>
                  <a:gd name="T6" fmla="*/ 0 w 169"/>
                  <a:gd name="T7" fmla="*/ 111 h 198"/>
                  <a:gd name="T8" fmla="*/ 0 w 169"/>
                  <a:gd name="T9" fmla="*/ 198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9" h="198">
                    <a:moveTo>
                      <a:pt x="0" y="198"/>
                    </a:moveTo>
                    <a:lnTo>
                      <a:pt x="169" y="90"/>
                    </a:lnTo>
                    <a:lnTo>
                      <a:pt x="169" y="0"/>
                    </a:lnTo>
                    <a:lnTo>
                      <a:pt x="0" y="111"/>
                    </a:lnTo>
                    <a:lnTo>
                      <a:pt x="0" y="198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31" name="Freeform 305">
                <a:extLst>
                  <a:ext uri="{FF2B5EF4-FFF2-40B4-BE49-F238E27FC236}">
                    <a16:creationId xmlns:a16="http://schemas.microsoft.com/office/drawing/2014/main" id="{AAED040D-D7C3-CF4F-AEAB-9AE7070CCD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77" y="3746"/>
                <a:ext cx="169" cy="198"/>
              </a:xfrm>
              <a:custGeom>
                <a:avLst/>
                <a:gdLst>
                  <a:gd name="T0" fmla="*/ 0 w 169"/>
                  <a:gd name="T1" fmla="*/ 198 h 198"/>
                  <a:gd name="T2" fmla="*/ 169 w 169"/>
                  <a:gd name="T3" fmla="*/ 90 h 198"/>
                  <a:gd name="T4" fmla="*/ 169 w 169"/>
                  <a:gd name="T5" fmla="*/ 0 h 198"/>
                  <a:gd name="T6" fmla="*/ 0 w 169"/>
                  <a:gd name="T7" fmla="*/ 111 h 198"/>
                  <a:gd name="T8" fmla="*/ 0 w 169"/>
                  <a:gd name="T9" fmla="*/ 198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9" h="198">
                    <a:moveTo>
                      <a:pt x="0" y="198"/>
                    </a:moveTo>
                    <a:lnTo>
                      <a:pt x="169" y="90"/>
                    </a:lnTo>
                    <a:lnTo>
                      <a:pt x="169" y="0"/>
                    </a:lnTo>
                    <a:lnTo>
                      <a:pt x="0" y="111"/>
                    </a:lnTo>
                    <a:lnTo>
                      <a:pt x="0" y="198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32" name="Freeform 306">
                <a:extLst>
                  <a:ext uri="{FF2B5EF4-FFF2-40B4-BE49-F238E27FC236}">
                    <a16:creationId xmlns:a16="http://schemas.microsoft.com/office/drawing/2014/main" id="{05530060-703F-144F-B9E9-42B07A3FB1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77" y="3605"/>
                <a:ext cx="169" cy="198"/>
              </a:xfrm>
              <a:custGeom>
                <a:avLst/>
                <a:gdLst>
                  <a:gd name="T0" fmla="*/ 0 w 169"/>
                  <a:gd name="T1" fmla="*/ 198 h 198"/>
                  <a:gd name="T2" fmla="*/ 169 w 169"/>
                  <a:gd name="T3" fmla="*/ 89 h 198"/>
                  <a:gd name="T4" fmla="*/ 169 w 169"/>
                  <a:gd name="T5" fmla="*/ 0 h 198"/>
                  <a:gd name="T6" fmla="*/ 0 w 169"/>
                  <a:gd name="T7" fmla="*/ 110 h 198"/>
                  <a:gd name="T8" fmla="*/ 0 w 169"/>
                  <a:gd name="T9" fmla="*/ 198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9" h="198">
                    <a:moveTo>
                      <a:pt x="0" y="198"/>
                    </a:moveTo>
                    <a:lnTo>
                      <a:pt x="169" y="89"/>
                    </a:lnTo>
                    <a:lnTo>
                      <a:pt x="169" y="0"/>
                    </a:lnTo>
                    <a:lnTo>
                      <a:pt x="0" y="110"/>
                    </a:lnTo>
                    <a:lnTo>
                      <a:pt x="0" y="198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33" name="Freeform 307">
                <a:extLst>
                  <a:ext uri="{FF2B5EF4-FFF2-40B4-BE49-F238E27FC236}">
                    <a16:creationId xmlns:a16="http://schemas.microsoft.com/office/drawing/2014/main" id="{EC78F64C-AEF2-C64D-A11E-076C921F4E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77" y="3466"/>
                <a:ext cx="169" cy="195"/>
              </a:xfrm>
              <a:custGeom>
                <a:avLst/>
                <a:gdLst>
                  <a:gd name="T0" fmla="*/ 0 w 169"/>
                  <a:gd name="T1" fmla="*/ 195 h 195"/>
                  <a:gd name="T2" fmla="*/ 169 w 169"/>
                  <a:gd name="T3" fmla="*/ 87 h 195"/>
                  <a:gd name="T4" fmla="*/ 169 w 169"/>
                  <a:gd name="T5" fmla="*/ 0 h 195"/>
                  <a:gd name="T6" fmla="*/ 0 w 169"/>
                  <a:gd name="T7" fmla="*/ 108 h 195"/>
                  <a:gd name="T8" fmla="*/ 0 w 169"/>
                  <a:gd name="T9" fmla="*/ 195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9" h="195">
                    <a:moveTo>
                      <a:pt x="0" y="195"/>
                    </a:moveTo>
                    <a:lnTo>
                      <a:pt x="169" y="87"/>
                    </a:lnTo>
                    <a:lnTo>
                      <a:pt x="169" y="0"/>
                    </a:lnTo>
                    <a:lnTo>
                      <a:pt x="0" y="108"/>
                    </a:lnTo>
                    <a:lnTo>
                      <a:pt x="0" y="195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34" name="Freeform 308">
                <a:extLst>
                  <a:ext uri="{FF2B5EF4-FFF2-40B4-BE49-F238E27FC236}">
                    <a16:creationId xmlns:a16="http://schemas.microsoft.com/office/drawing/2014/main" id="{C92DD438-DD23-D640-A7CF-3506443B4A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5" y="3193"/>
                <a:ext cx="584" cy="343"/>
              </a:xfrm>
              <a:custGeom>
                <a:avLst/>
                <a:gdLst>
                  <a:gd name="T0" fmla="*/ 0 w 584"/>
                  <a:gd name="T1" fmla="*/ 139 h 343"/>
                  <a:gd name="T2" fmla="*/ 247 w 584"/>
                  <a:gd name="T3" fmla="*/ 0 h 343"/>
                  <a:gd name="T4" fmla="*/ 584 w 584"/>
                  <a:gd name="T5" fmla="*/ 202 h 343"/>
                  <a:gd name="T6" fmla="*/ 358 w 584"/>
                  <a:gd name="T7" fmla="*/ 343 h 343"/>
                  <a:gd name="T8" fmla="*/ 0 w 584"/>
                  <a:gd name="T9" fmla="*/ 139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4" h="343">
                    <a:moveTo>
                      <a:pt x="0" y="139"/>
                    </a:moveTo>
                    <a:lnTo>
                      <a:pt x="247" y="0"/>
                    </a:lnTo>
                    <a:lnTo>
                      <a:pt x="584" y="202"/>
                    </a:lnTo>
                    <a:lnTo>
                      <a:pt x="358" y="343"/>
                    </a:lnTo>
                    <a:lnTo>
                      <a:pt x="0" y="139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35" name="Freeform 309">
                <a:extLst>
                  <a:ext uri="{FF2B5EF4-FFF2-40B4-BE49-F238E27FC236}">
                    <a16:creationId xmlns:a16="http://schemas.microsoft.com/office/drawing/2014/main" id="{412F63BB-52A0-1042-BA33-535FC0757B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79" y="3167"/>
                <a:ext cx="75" cy="148"/>
              </a:xfrm>
              <a:custGeom>
                <a:avLst/>
                <a:gdLst>
                  <a:gd name="T0" fmla="*/ 75 w 75"/>
                  <a:gd name="T1" fmla="*/ 148 h 148"/>
                  <a:gd name="T2" fmla="*/ 0 w 75"/>
                  <a:gd name="T3" fmla="*/ 106 h 148"/>
                  <a:gd name="T4" fmla="*/ 0 w 75"/>
                  <a:gd name="T5" fmla="*/ 0 h 148"/>
                  <a:gd name="T6" fmla="*/ 75 w 75"/>
                  <a:gd name="T7" fmla="*/ 44 h 148"/>
                  <a:gd name="T8" fmla="*/ 75 w 75"/>
                  <a:gd name="T9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148">
                    <a:moveTo>
                      <a:pt x="75" y="148"/>
                    </a:moveTo>
                    <a:lnTo>
                      <a:pt x="0" y="106"/>
                    </a:lnTo>
                    <a:lnTo>
                      <a:pt x="0" y="0"/>
                    </a:lnTo>
                    <a:lnTo>
                      <a:pt x="75" y="44"/>
                    </a:lnTo>
                    <a:lnTo>
                      <a:pt x="75" y="148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36" name="Freeform 310">
                <a:extLst>
                  <a:ext uri="{FF2B5EF4-FFF2-40B4-BE49-F238E27FC236}">
                    <a16:creationId xmlns:a16="http://schemas.microsoft.com/office/drawing/2014/main" id="{CDB35D63-F195-D14B-A1A3-FA8D980050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4" y="3181"/>
                <a:ext cx="38" cy="134"/>
              </a:xfrm>
              <a:custGeom>
                <a:avLst/>
                <a:gdLst>
                  <a:gd name="T0" fmla="*/ 0 w 38"/>
                  <a:gd name="T1" fmla="*/ 134 h 134"/>
                  <a:gd name="T2" fmla="*/ 38 w 38"/>
                  <a:gd name="T3" fmla="*/ 103 h 134"/>
                  <a:gd name="T4" fmla="*/ 38 w 38"/>
                  <a:gd name="T5" fmla="*/ 0 h 134"/>
                  <a:gd name="T6" fmla="*/ 0 w 38"/>
                  <a:gd name="T7" fmla="*/ 30 h 134"/>
                  <a:gd name="T8" fmla="*/ 0 w 38"/>
                  <a:gd name="T9" fmla="*/ 134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134">
                    <a:moveTo>
                      <a:pt x="0" y="134"/>
                    </a:moveTo>
                    <a:lnTo>
                      <a:pt x="38" y="103"/>
                    </a:lnTo>
                    <a:lnTo>
                      <a:pt x="38" y="0"/>
                    </a:lnTo>
                    <a:lnTo>
                      <a:pt x="0" y="30"/>
                    </a:lnTo>
                    <a:lnTo>
                      <a:pt x="0" y="134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37" name="Freeform 311">
                <a:extLst>
                  <a:ext uri="{FF2B5EF4-FFF2-40B4-BE49-F238E27FC236}">
                    <a16:creationId xmlns:a16="http://schemas.microsoft.com/office/drawing/2014/main" id="{DD26FF90-4DA1-3F47-837D-5390E1F56D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83" y="3143"/>
                <a:ext cx="113" cy="68"/>
              </a:xfrm>
              <a:custGeom>
                <a:avLst/>
                <a:gdLst>
                  <a:gd name="T0" fmla="*/ 0 w 113"/>
                  <a:gd name="T1" fmla="*/ 24 h 68"/>
                  <a:gd name="T2" fmla="*/ 45 w 113"/>
                  <a:gd name="T3" fmla="*/ 0 h 68"/>
                  <a:gd name="T4" fmla="*/ 113 w 113"/>
                  <a:gd name="T5" fmla="*/ 38 h 68"/>
                  <a:gd name="T6" fmla="*/ 76 w 113"/>
                  <a:gd name="T7" fmla="*/ 68 h 68"/>
                  <a:gd name="T8" fmla="*/ 0 w 113"/>
                  <a:gd name="T9" fmla="*/ 24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3" h="68">
                    <a:moveTo>
                      <a:pt x="0" y="24"/>
                    </a:moveTo>
                    <a:lnTo>
                      <a:pt x="45" y="0"/>
                    </a:lnTo>
                    <a:lnTo>
                      <a:pt x="113" y="38"/>
                    </a:lnTo>
                    <a:lnTo>
                      <a:pt x="76" y="68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38" name="Freeform 312">
                <a:extLst>
                  <a:ext uri="{FF2B5EF4-FFF2-40B4-BE49-F238E27FC236}">
                    <a16:creationId xmlns:a16="http://schemas.microsoft.com/office/drawing/2014/main" id="{796683F3-F94C-D14B-BBC9-72F3C1EBE5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3" y="3233"/>
                <a:ext cx="75" cy="148"/>
              </a:xfrm>
              <a:custGeom>
                <a:avLst/>
                <a:gdLst>
                  <a:gd name="T0" fmla="*/ 75 w 75"/>
                  <a:gd name="T1" fmla="*/ 148 h 148"/>
                  <a:gd name="T2" fmla="*/ 0 w 75"/>
                  <a:gd name="T3" fmla="*/ 106 h 148"/>
                  <a:gd name="T4" fmla="*/ 0 w 75"/>
                  <a:gd name="T5" fmla="*/ 0 h 148"/>
                  <a:gd name="T6" fmla="*/ 75 w 75"/>
                  <a:gd name="T7" fmla="*/ 44 h 148"/>
                  <a:gd name="T8" fmla="*/ 75 w 75"/>
                  <a:gd name="T9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148">
                    <a:moveTo>
                      <a:pt x="75" y="148"/>
                    </a:moveTo>
                    <a:lnTo>
                      <a:pt x="0" y="106"/>
                    </a:lnTo>
                    <a:lnTo>
                      <a:pt x="0" y="0"/>
                    </a:lnTo>
                    <a:lnTo>
                      <a:pt x="75" y="44"/>
                    </a:lnTo>
                    <a:lnTo>
                      <a:pt x="75" y="148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39" name="Freeform 313">
                <a:extLst>
                  <a:ext uri="{FF2B5EF4-FFF2-40B4-BE49-F238E27FC236}">
                    <a16:creationId xmlns:a16="http://schemas.microsoft.com/office/drawing/2014/main" id="{B5B58E77-3C99-A94F-9ECF-34A63B3F94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88" y="3247"/>
                <a:ext cx="38" cy="134"/>
              </a:xfrm>
              <a:custGeom>
                <a:avLst/>
                <a:gdLst>
                  <a:gd name="T0" fmla="*/ 0 w 38"/>
                  <a:gd name="T1" fmla="*/ 134 h 134"/>
                  <a:gd name="T2" fmla="*/ 38 w 38"/>
                  <a:gd name="T3" fmla="*/ 103 h 134"/>
                  <a:gd name="T4" fmla="*/ 38 w 38"/>
                  <a:gd name="T5" fmla="*/ 0 h 134"/>
                  <a:gd name="T6" fmla="*/ 0 w 38"/>
                  <a:gd name="T7" fmla="*/ 30 h 134"/>
                  <a:gd name="T8" fmla="*/ 0 w 38"/>
                  <a:gd name="T9" fmla="*/ 134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134">
                    <a:moveTo>
                      <a:pt x="0" y="134"/>
                    </a:moveTo>
                    <a:lnTo>
                      <a:pt x="38" y="103"/>
                    </a:lnTo>
                    <a:lnTo>
                      <a:pt x="38" y="0"/>
                    </a:lnTo>
                    <a:lnTo>
                      <a:pt x="0" y="30"/>
                    </a:lnTo>
                    <a:lnTo>
                      <a:pt x="0" y="134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40" name="Freeform 314">
                <a:extLst>
                  <a:ext uri="{FF2B5EF4-FFF2-40B4-BE49-F238E27FC236}">
                    <a16:creationId xmlns:a16="http://schemas.microsoft.com/office/drawing/2014/main" id="{4107E81A-8293-C84E-8703-3FDE3572B1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7" y="3209"/>
                <a:ext cx="113" cy="68"/>
              </a:xfrm>
              <a:custGeom>
                <a:avLst/>
                <a:gdLst>
                  <a:gd name="T0" fmla="*/ 0 w 113"/>
                  <a:gd name="T1" fmla="*/ 24 h 68"/>
                  <a:gd name="T2" fmla="*/ 45 w 113"/>
                  <a:gd name="T3" fmla="*/ 0 h 68"/>
                  <a:gd name="T4" fmla="*/ 113 w 113"/>
                  <a:gd name="T5" fmla="*/ 38 h 68"/>
                  <a:gd name="T6" fmla="*/ 76 w 113"/>
                  <a:gd name="T7" fmla="*/ 68 h 68"/>
                  <a:gd name="T8" fmla="*/ 0 w 113"/>
                  <a:gd name="T9" fmla="*/ 24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3" h="68">
                    <a:moveTo>
                      <a:pt x="0" y="24"/>
                    </a:moveTo>
                    <a:lnTo>
                      <a:pt x="45" y="0"/>
                    </a:lnTo>
                    <a:lnTo>
                      <a:pt x="113" y="38"/>
                    </a:lnTo>
                    <a:lnTo>
                      <a:pt x="76" y="68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41" name="Freeform 315">
                <a:extLst>
                  <a:ext uri="{FF2B5EF4-FFF2-40B4-BE49-F238E27FC236}">
                    <a16:creationId xmlns:a16="http://schemas.microsoft.com/office/drawing/2014/main" id="{378B5C1E-ACAC-6D42-8EE4-6ADE87C915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01" y="3581"/>
                <a:ext cx="170" cy="980"/>
              </a:xfrm>
              <a:custGeom>
                <a:avLst/>
                <a:gdLst>
                  <a:gd name="T0" fmla="*/ 170 w 170"/>
                  <a:gd name="T1" fmla="*/ 980 h 980"/>
                  <a:gd name="T2" fmla="*/ 0 w 170"/>
                  <a:gd name="T3" fmla="*/ 881 h 980"/>
                  <a:gd name="T4" fmla="*/ 0 w 170"/>
                  <a:gd name="T5" fmla="*/ 0 h 980"/>
                  <a:gd name="T6" fmla="*/ 90 w 170"/>
                  <a:gd name="T7" fmla="*/ 118 h 980"/>
                  <a:gd name="T8" fmla="*/ 88 w 170"/>
                  <a:gd name="T9" fmla="*/ 337 h 980"/>
                  <a:gd name="T10" fmla="*/ 170 w 170"/>
                  <a:gd name="T11" fmla="*/ 391 h 980"/>
                  <a:gd name="T12" fmla="*/ 170 w 170"/>
                  <a:gd name="T13" fmla="*/ 980 h 9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0" h="980">
                    <a:moveTo>
                      <a:pt x="170" y="980"/>
                    </a:moveTo>
                    <a:lnTo>
                      <a:pt x="0" y="881"/>
                    </a:lnTo>
                    <a:lnTo>
                      <a:pt x="0" y="0"/>
                    </a:lnTo>
                    <a:lnTo>
                      <a:pt x="90" y="118"/>
                    </a:lnTo>
                    <a:lnTo>
                      <a:pt x="88" y="337"/>
                    </a:lnTo>
                    <a:lnTo>
                      <a:pt x="170" y="391"/>
                    </a:lnTo>
                    <a:lnTo>
                      <a:pt x="170" y="98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42" name="Freeform 316">
                <a:extLst>
                  <a:ext uri="{FF2B5EF4-FFF2-40B4-BE49-F238E27FC236}">
                    <a16:creationId xmlns:a16="http://schemas.microsoft.com/office/drawing/2014/main" id="{25420BF0-A01F-9D40-B6FC-5DA81716E9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71" y="3193"/>
                <a:ext cx="151" cy="1368"/>
              </a:xfrm>
              <a:custGeom>
                <a:avLst/>
                <a:gdLst>
                  <a:gd name="T0" fmla="*/ 151 w 151"/>
                  <a:gd name="T1" fmla="*/ 0 h 1368"/>
                  <a:gd name="T2" fmla="*/ 87 w 151"/>
                  <a:gd name="T3" fmla="*/ 35 h 1368"/>
                  <a:gd name="T4" fmla="*/ 87 w 151"/>
                  <a:gd name="T5" fmla="*/ 659 h 1368"/>
                  <a:gd name="T6" fmla="*/ 0 w 151"/>
                  <a:gd name="T7" fmla="*/ 779 h 1368"/>
                  <a:gd name="T8" fmla="*/ 0 w 151"/>
                  <a:gd name="T9" fmla="*/ 1368 h 1368"/>
                  <a:gd name="T10" fmla="*/ 151 w 151"/>
                  <a:gd name="T11" fmla="*/ 1276 h 1368"/>
                  <a:gd name="T12" fmla="*/ 151 w 151"/>
                  <a:gd name="T13" fmla="*/ 0 h 1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1" h="1368">
                    <a:moveTo>
                      <a:pt x="151" y="0"/>
                    </a:moveTo>
                    <a:lnTo>
                      <a:pt x="87" y="35"/>
                    </a:lnTo>
                    <a:lnTo>
                      <a:pt x="87" y="659"/>
                    </a:lnTo>
                    <a:lnTo>
                      <a:pt x="0" y="779"/>
                    </a:lnTo>
                    <a:lnTo>
                      <a:pt x="0" y="1368"/>
                    </a:lnTo>
                    <a:lnTo>
                      <a:pt x="151" y="1276"/>
                    </a:lnTo>
                    <a:lnTo>
                      <a:pt x="151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43" name="Freeform 317">
                <a:extLst>
                  <a:ext uri="{FF2B5EF4-FFF2-40B4-BE49-F238E27FC236}">
                    <a16:creationId xmlns:a16="http://schemas.microsoft.com/office/drawing/2014/main" id="{0AF79AC4-2066-B04A-BDDC-D939D6C73D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71" y="3117"/>
                <a:ext cx="87" cy="735"/>
              </a:xfrm>
              <a:custGeom>
                <a:avLst/>
                <a:gdLst>
                  <a:gd name="T0" fmla="*/ 0 w 87"/>
                  <a:gd name="T1" fmla="*/ 0 h 735"/>
                  <a:gd name="T2" fmla="*/ 87 w 87"/>
                  <a:gd name="T3" fmla="*/ 111 h 735"/>
                  <a:gd name="T4" fmla="*/ 87 w 87"/>
                  <a:gd name="T5" fmla="*/ 735 h 735"/>
                  <a:gd name="T6" fmla="*/ 0 w 87"/>
                  <a:gd name="T7" fmla="*/ 693 h 735"/>
                  <a:gd name="T8" fmla="*/ 0 w 87"/>
                  <a:gd name="T9" fmla="*/ 0 h 7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735">
                    <a:moveTo>
                      <a:pt x="0" y="0"/>
                    </a:moveTo>
                    <a:lnTo>
                      <a:pt x="87" y="111"/>
                    </a:lnTo>
                    <a:lnTo>
                      <a:pt x="87" y="735"/>
                    </a:lnTo>
                    <a:lnTo>
                      <a:pt x="0" y="69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44" name="Freeform 318">
                <a:extLst>
                  <a:ext uri="{FF2B5EF4-FFF2-40B4-BE49-F238E27FC236}">
                    <a16:creationId xmlns:a16="http://schemas.microsoft.com/office/drawing/2014/main" id="{A067B108-31FA-6B4B-85FA-656015B1D6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89" y="3652"/>
                <a:ext cx="82" cy="266"/>
              </a:xfrm>
              <a:custGeom>
                <a:avLst/>
                <a:gdLst>
                  <a:gd name="T0" fmla="*/ 2 w 82"/>
                  <a:gd name="T1" fmla="*/ 47 h 266"/>
                  <a:gd name="T2" fmla="*/ 82 w 82"/>
                  <a:gd name="T3" fmla="*/ 0 h 266"/>
                  <a:gd name="T4" fmla="*/ 82 w 82"/>
                  <a:gd name="T5" fmla="*/ 160 h 266"/>
                  <a:gd name="T6" fmla="*/ 0 w 82"/>
                  <a:gd name="T7" fmla="*/ 266 h 266"/>
                  <a:gd name="T8" fmla="*/ 2 w 82"/>
                  <a:gd name="T9" fmla="*/ 47 h 2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266">
                    <a:moveTo>
                      <a:pt x="2" y="47"/>
                    </a:moveTo>
                    <a:lnTo>
                      <a:pt x="82" y="0"/>
                    </a:lnTo>
                    <a:lnTo>
                      <a:pt x="82" y="160"/>
                    </a:lnTo>
                    <a:lnTo>
                      <a:pt x="0" y="266"/>
                    </a:lnTo>
                    <a:lnTo>
                      <a:pt x="2" y="47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45" name="Freeform 319">
                <a:extLst>
                  <a:ext uri="{FF2B5EF4-FFF2-40B4-BE49-F238E27FC236}">
                    <a16:creationId xmlns:a16="http://schemas.microsoft.com/office/drawing/2014/main" id="{B41B5AE6-36B3-9A4D-9B9A-347D638487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86" y="3362"/>
                <a:ext cx="85" cy="290"/>
              </a:xfrm>
              <a:custGeom>
                <a:avLst/>
                <a:gdLst>
                  <a:gd name="T0" fmla="*/ 0 w 85"/>
                  <a:gd name="T1" fmla="*/ 0 h 290"/>
                  <a:gd name="T2" fmla="*/ 0 w 85"/>
                  <a:gd name="T3" fmla="*/ 172 h 290"/>
                  <a:gd name="T4" fmla="*/ 85 w 85"/>
                  <a:gd name="T5" fmla="*/ 290 h 290"/>
                  <a:gd name="T6" fmla="*/ 85 w 85"/>
                  <a:gd name="T7" fmla="*/ 68 h 290"/>
                  <a:gd name="T8" fmla="*/ 0 w 85"/>
                  <a:gd name="T9" fmla="*/ 0 h 2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5" h="290">
                    <a:moveTo>
                      <a:pt x="0" y="0"/>
                    </a:moveTo>
                    <a:lnTo>
                      <a:pt x="0" y="172"/>
                    </a:lnTo>
                    <a:lnTo>
                      <a:pt x="85" y="290"/>
                    </a:lnTo>
                    <a:lnTo>
                      <a:pt x="85" y="6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46" name="Freeform 320">
                <a:extLst>
                  <a:ext uri="{FF2B5EF4-FFF2-40B4-BE49-F238E27FC236}">
                    <a16:creationId xmlns:a16="http://schemas.microsoft.com/office/drawing/2014/main" id="{634D662A-FD41-D641-8B4C-F5A2FFF55D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06" y="3534"/>
                <a:ext cx="170" cy="165"/>
              </a:xfrm>
              <a:custGeom>
                <a:avLst/>
                <a:gdLst>
                  <a:gd name="T0" fmla="*/ 0 w 170"/>
                  <a:gd name="T1" fmla="*/ 47 h 165"/>
                  <a:gd name="T2" fmla="*/ 85 w 170"/>
                  <a:gd name="T3" fmla="*/ 0 h 165"/>
                  <a:gd name="T4" fmla="*/ 170 w 170"/>
                  <a:gd name="T5" fmla="*/ 118 h 165"/>
                  <a:gd name="T6" fmla="*/ 87 w 170"/>
                  <a:gd name="T7" fmla="*/ 165 h 165"/>
                  <a:gd name="T8" fmla="*/ 0 w 170"/>
                  <a:gd name="T9" fmla="*/ 47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0" h="165">
                    <a:moveTo>
                      <a:pt x="0" y="47"/>
                    </a:moveTo>
                    <a:lnTo>
                      <a:pt x="85" y="0"/>
                    </a:lnTo>
                    <a:lnTo>
                      <a:pt x="170" y="118"/>
                    </a:lnTo>
                    <a:lnTo>
                      <a:pt x="87" y="165"/>
                    </a:lnTo>
                    <a:lnTo>
                      <a:pt x="0" y="47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47" name="Freeform 321">
                <a:extLst>
                  <a:ext uri="{FF2B5EF4-FFF2-40B4-BE49-F238E27FC236}">
                    <a16:creationId xmlns:a16="http://schemas.microsoft.com/office/drawing/2014/main" id="{51001E52-1B5E-9049-95B6-370D16DEC0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84" y="3249"/>
                <a:ext cx="87" cy="181"/>
              </a:xfrm>
              <a:custGeom>
                <a:avLst/>
                <a:gdLst>
                  <a:gd name="T0" fmla="*/ 0 w 87"/>
                  <a:gd name="T1" fmla="*/ 113 h 181"/>
                  <a:gd name="T2" fmla="*/ 87 w 87"/>
                  <a:gd name="T3" fmla="*/ 0 h 181"/>
                  <a:gd name="T4" fmla="*/ 87 w 87"/>
                  <a:gd name="T5" fmla="*/ 181 h 181"/>
                  <a:gd name="T6" fmla="*/ 0 w 87"/>
                  <a:gd name="T7" fmla="*/ 113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7" h="181">
                    <a:moveTo>
                      <a:pt x="0" y="113"/>
                    </a:moveTo>
                    <a:lnTo>
                      <a:pt x="87" y="0"/>
                    </a:lnTo>
                    <a:lnTo>
                      <a:pt x="87" y="181"/>
                    </a:lnTo>
                    <a:lnTo>
                      <a:pt x="0" y="113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48" name="Freeform 322">
                <a:extLst>
                  <a:ext uri="{FF2B5EF4-FFF2-40B4-BE49-F238E27FC236}">
                    <a16:creationId xmlns:a16="http://schemas.microsoft.com/office/drawing/2014/main" id="{E6B6EBED-0563-5F4E-A684-7F0C0003FC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76" y="3075"/>
                <a:ext cx="151" cy="153"/>
              </a:xfrm>
              <a:custGeom>
                <a:avLst/>
                <a:gdLst>
                  <a:gd name="T0" fmla="*/ 0 w 151"/>
                  <a:gd name="T1" fmla="*/ 42 h 153"/>
                  <a:gd name="T2" fmla="*/ 68 w 151"/>
                  <a:gd name="T3" fmla="*/ 0 h 153"/>
                  <a:gd name="T4" fmla="*/ 151 w 151"/>
                  <a:gd name="T5" fmla="*/ 118 h 153"/>
                  <a:gd name="T6" fmla="*/ 85 w 151"/>
                  <a:gd name="T7" fmla="*/ 153 h 153"/>
                  <a:gd name="T8" fmla="*/ 0 w 151"/>
                  <a:gd name="T9" fmla="*/ 42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1" h="153">
                    <a:moveTo>
                      <a:pt x="0" y="42"/>
                    </a:moveTo>
                    <a:lnTo>
                      <a:pt x="68" y="0"/>
                    </a:lnTo>
                    <a:lnTo>
                      <a:pt x="151" y="118"/>
                    </a:lnTo>
                    <a:lnTo>
                      <a:pt x="85" y="153"/>
                    </a:lnTo>
                    <a:lnTo>
                      <a:pt x="0" y="42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49" name="Freeform 323">
                <a:extLst>
                  <a:ext uri="{FF2B5EF4-FFF2-40B4-BE49-F238E27FC236}">
                    <a16:creationId xmlns:a16="http://schemas.microsoft.com/office/drawing/2014/main" id="{2F11BF49-C05A-8748-B570-8C5A9CC34E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93" y="3810"/>
                <a:ext cx="170" cy="162"/>
              </a:xfrm>
              <a:custGeom>
                <a:avLst/>
                <a:gdLst>
                  <a:gd name="T0" fmla="*/ 83 w 170"/>
                  <a:gd name="T1" fmla="*/ 162 h 162"/>
                  <a:gd name="T2" fmla="*/ 170 w 170"/>
                  <a:gd name="T3" fmla="*/ 42 h 162"/>
                  <a:gd name="T4" fmla="*/ 83 w 170"/>
                  <a:gd name="T5" fmla="*/ 0 h 162"/>
                  <a:gd name="T6" fmla="*/ 0 w 170"/>
                  <a:gd name="T7" fmla="*/ 108 h 162"/>
                  <a:gd name="T8" fmla="*/ 83 w 170"/>
                  <a:gd name="T9" fmla="*/ 162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0" h="162">
                    <a:moveTo>
                      <a:pt x="83" y="162"/>
                    </a:moveTo>
                    <a:lnTo>
                      <a:pt x="170" y="42"/>
                    </a:lnTo>
                    <a:lnTo>
                      <a:pt x="83" y="0"/>
                    </a:lnTo>
                    <a:lnTo>
                      <a:pt x="0" y="108"/>
                    </a:lnTo>
                    <a:lnTo>
                      <a:pt x="83" y="162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50" name="Freeform 324">
                <a:extLst>
                  <a:ext uri="{FF2B5EF4-FFF2-40B4-BE49-F238E27FC236}">
                    <a16:creationId xmlns:a16="http://schemas.microsoft.com/office/drawing/2014/main" id="{320C4762-D957-1D4F-8940-A469724037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15" y="3661"/>
                <a:ext cx="109" cy="1048"/>
              </a:xfrm>
              <a:custGeom>
                <a:avLst/>
                <a:gdLst>
                  <a:gd name="T0" fmla="*/ 5 w 109"/>
                  <a:gd name="T1" fmla="*/ 1048 h 1048"/>
                  <a:gd name="T2" fmla="*/ 0 w 109"/>
                  <a:gd name="T3" fmla="*/ 59 h 1048"/>
                  <a:gd name="T4" fmla="*/ 109 w 109"/>
                  <a:gd name="T5" fmla="*/ 0 h 1048"/>
                  <a:gd name="T6" fmla="*/ 109 w 109"/>
                  <a:gd name="T7" fmla="*/ 989 h 1048"/>
                  <a:gd name="T8" fmla="*/ 5 w 109"/>
                  <a:gd name="T9" fmla="*/ 1048 h 10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9" h="1048">
                    <a:moveTo>
                      <a:pt x="5" y="1048"/>
                    </a:moveTo>
                    <a:lnTo>
                      <a:pt x="0" y="59"/>
                    </a:lnTo>
                    <a:lnTo>
                      <a:pt x="109" y="0"/>
                    </a:lnTo>
                    <a:lnTo>
                      <a:pt x="109" y="989"/>
                    </a:lnTo>
                    <a:lnTo>
                      <a:pt x="5" y="1048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51" name="Freeform 325">
                <a:extLst>
                  <a:ext uri="{FF2B5EF4-FFF2-40B4-BE49-F238E27FC236}">
                    <a16:creationId xmlns:a16="http://schemas.microsoft.com/office/drawing/2014/main" id="{1651C12D-C05C-F343-8818-D361B1DF74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78" y="3544"/>
                <a:ext cx="140" cy="1165"/>
              </a:xfrm>
              <a:custGeom>
                <a:avLst/>
                <a:gdLst>
                  <a:gd name="T0" fmla="*/ 0 w 140"/>
                  <a:gd name="T1" fmla="*/ 0 h 1165"/>
                  <a:gd name="T2" fmla="*/ 137 w 140"/>
                  <a:gd name="T3" fmla="*/ 176 h 1165"/>
                  <a:gd name="T4" fmla="*/ 140 w 140"/>
                  <a:gd name="T5" fmla="*/ 1165 h 1165"/>
                  <a:gd name="T6" fmla="*/ 0 w 140"/>
                  <a:gd name="T7" fmla="*/ 1085 h 1165"/>
                  <a:gd name="T8" fmla="*/ 0 w 140"/>
                  <a:gd name="T9" fmla="*/ 0 h 1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0" h="1165">
                    <a:moveTo>
                      <a:pt x="0" y="0"/>
                    </a:moveTo>
                    <a:lnTo>
                      <a:pt x="137" y="176"/>
                    </a:lnTo>
                    <a:lnTo>
                      <a:pt x="140" y="1165"/>
                    </a:lnTo>
                    <a:lnTo>
                      <a:pt x="0" y="108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52" name="Freeform 326">
                <a:extLst>
                  <a:ext uri="{FF2B5EF4-FFF2-40B4-BE49-F238E27FC236}">
                    <a16:creationId xmlns:a16="http://schemas.microsoft.com/office/drawing/2014/main" id="{2D21E0D4-D069-2945-94A8-8407E2398C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83" y="3478"/>
                <a:ext cx="245" cy="242"/>
              </a:xfrm>
              <a:custGeom>
                <a:avLst/>
                <a:gdLst>
                  <a:gd name="T0" fmla="*/ 0 w 245"/>
                  <a:gd name="T1" fmla="*/ 66 h 242"/>
                  <a:gd name="T2" fmla="*/ 104 w 245"/>
                  <a:gd name="T3" fmla="*/ 0 h 242"/>
                  <a:gd name="T4" fmla="*/ 245 w 245"/>
                  <a:gd name="T5" fmla="*/ 183 h 242"/>
                  <a:gd name="T6" fmla="*/ 135 w 245"/>
                  <a:gd name="T7" fmla="*/ 242 h 242"/>
                  <a:gd name="T8" fmla="*/ 0 w 245"/>
                  <a:gd name="T9" fmla="*/ 66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5" h="242">
                    <a:moveTo>
                      <a:pt x="0" y="66"/>
                    </a:moveTo>
                    <a:lnTo>
                      <a:pt x="104" y="0"/>
                    </a:lnTo>
                    <a:lnTo>
                      <a:pt x="245" y="183"/>
                    </a:lnTo>
                    <a:lnTo>
                      <a:pt x="135" y="242"/>
                    </a:lnTo>
                    <a:lnTo>
                      <a:pt x="0" y="66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53" name="Freeform 327">
                <a:extLst>
                  <a:ext uri="{FF2B5EF4-FFF2-40B4-BE49-F238E27FC236}">
                    <a16:creationId xmlns:a16="http://schemas.microsoft.com/office/drawing/2014/main" id="{1906A14B-6D45-0444-95A9-0689F70ACC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71" y="2797"/>
                <a:ext cx="235" cy="1359"/>
              </a:xfrm>
              <a:custGeom>
                <a:avLst/>
                <a:gdLst>
                  <a:gd name="T0" fmla="*/ 235 w 235"/>
                  <a:gd name="T1" fmla="*/ 1359 h 1359"/>
                  <a:gd name="T2" fmla="*/ 0 w 235"/>
                  <a:gd name="T3" fmla="*/ 1222 h 1359"/>
                  <a:gd name="T4" fmla="*/ 0 w 235"/>
                  <a:gd name="T5" fmla="*/ 0 h 1359"/>
                  <a:gd name="T6" fmla="*/ 122 w 235"/>
                  <a:gd name="T7" fmla="*/ 165 h 1359"/>
                  <a:gd name="T8" fmla="*/ 120 w 235"/>
                  <a:gd name="T9" fmla="*/ 469 h 1359"/>
                  <a:gd name="T10" fmla="*/ 235 w 235"/>
                  <a:gd name="T11" fmla="*/ 544 h 1359"/>
                  <a:gd name="T12" fmla="*/ 235 w 235"/>
                  <a:gd name="T13" fmla="*/ 1359 h 1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5" h="1359">
                    <a:moveTo>
                      <a:pt x="235" y="1359"/>
                    </a:moveTo>
                    <a:lnTo>
                      <a:pt x="0" y="1222"/>
                    </a:lnTo>
                    <a:lnTo>
                      <a:pt x="0" y="0"/>
                    </a:lnTo>
                    <a:lnTo>
                      <a:pt x="122" y="165"/>
                    </a:lnTo>
                    <a:lnTo>
                      <a:pt x="120" y="469"/>
                    </a:lnTo>
                    <a:lnTo>
                      <a:pt x="235" y="544"/>
                    </a:lnTo>
                    <a:lnTo>
                      <a:pt x="235" y="1359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54" name="Freeform 328">
                <a:extLst>
                  <a:ext uri="{FF2B5EF4-FFF2-40B4-BE49-F238E27FC236}">
                    <a16:creationId xmlns:a16="http://schemas.microsoft.com/office/drawing/2014/main" id="{05C3E7A7-B29A-244D-975E-3574A6379C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06" y="2260"/>
                <a:ext cx="208" cy="1896"/>
              </a:xfrm>
              <a:custGeom>
                <a:avLst/>
                <a:gdLst>
                  <a:gd name="T0" fmla="*/ 208 w 208"/>
                  <a:gd name="T1" fmla="*/ 0 h 1896"/>
                  <a:gd name="T2" fmla="*/ 118 w 208"/>
                  <a:gd name="T3" fmla="*/ 49 h 1896"/>
                  <a:gd name="T4" fmla="*/ 123 w 208"/>
                  <a:gd name="T5" fmla="*/ 914 h 1896"/>
                  <a:gd name="T6" fmla="*/ 0 w 208"/>
                  <a:gd name="T7" fmla="*/ 1081 h 1896"/>
                  <a:gd name="T8" fmla="*/ 0 w 208"/>
                  <a:gd name="T9" fmla="*/ 1896 h 1896"/>
                  <a:gd name="T10" fmla="*/ 208 w 208"/>
                  <a:gd name="T11" fmla="*/ 1769 h 1896"/>
                  <a:gd name="T12" fmla="*/ 208 w 208"/>
                  <a:gd name="T13" fmla="*/ 0 h 18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8" h="1896">
                    <a:moveTo>
                      <a:pt x="208" y="0"/>
                    </a:moveTo>
                    <a:lnTo>
                      <a:pt x="118" y="49"/>
                    </a:lnTo>
                    <a:lnTo>
                      <a:pt x="123" y="914"/>
                    </a:lnTo>
                    <a:lnTo>
                      <a:pt x="0" y="1081"/>
                    </a:lnTo>
                    <a:lnTo>
                      <a:pt x="0" y="1896"/>
                    </a:lnTo>
                    <a:lnTo>
                      <a:pt x="208" y="1769"/>
                    </a:lnTo>
                    <a:lnTo>
                      <a:pt x="208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55" name="Freeform 329">
                <a:extLst>
                  <a:ext uri="{FF2B5EF4-FFF2-40B4-BE49-F238E27FC236}">
                    <a16:creationId xmlns:a16="http://schemas.microsoft.com/office/drawing/2014/main" id="{933C7674-8580-8947-8C58-236BA203A3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06" y="2156"/>
                <a:ext cx="123" cy="1018"/>
              </a:xfrm>
              <a:custGeom>
                <a:avLst/>
                <a:gdLst>
                  <a:gd name="T0" fmla="*/ 0 w 123"/>
                  <a:gd name="T1" fmla="*/ 0 h 1018"/>
                  <a:gd name="T2" fmla="*/ 120 w 123"/>
                  <a:gd name="T3" fmla="*/ 153 h 1018"/>
                  <a:gd name="T4" fmla="*/ 123 w 123"/>
                  <a:gd name="T5" fmla="*/ 1018 h 1018"/>
                  <a:gd name="T6" fmla="*/ 0 w 123"/>
                  <a:gd name="T7" fmla="*/ 961 h 1018"/>
                  <a:gd name="T8" fmla="*/ 0 w 123"/>
                  <a:gd name="T9" fmla="*/ 0 h 10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3" h="1018">
                    <a:moveTo>
                      <a:pt x="0" y="0"/>
                    </a:moveTo>
                    <a:lnTo>
                      <a:pt x="120" y="153"/>
                    </a:lnTo>
                    <a:lnTo>
                      <a:pt x="123" y="1018"/>
                    </a:lnTo>
                    <a:lnTo>
                      <a:pt x="0" y="96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56" name="Freeform 330">
                <a:extLst>
                  <a:ext uri="{FF2B5EF4-FFF2-40B4-BE49-F238E27FC236}">
                    <a16:creationId xmlns:a16="http://schemas.microsoft.com/office/drawing/2014/main" id="{B1D07B21-CD66-784A-B3FA-CF1DD461F9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91" y="2896"/>
                <a:ext cx="115" cy="370"/>
              </a:xfrm>
              <a:custGeom>
                <a:avLst/>
                <a:gdLst>
                  <a:gd name="T0" fmla="*/ 2 w 115"/>
                  <a:gd name="T1" fmla="*/ 66 h 370"/>
                  <a:gd name="T2" fmla="*/ 115 w 115"/>
                  <a:gd name="T3" fmla="*/ 0 h 370"/>
                  <a:gd name="T4" fmla="*/ 115 w 115"/>
                  <a:gd name="T5" fmla="*/ 221 h 370"/>
                  <a:gd name="T6" fmla="*/ 0 w 115"/>
                  <a:gd name="T7" fmla="*/ 370 h 370"/>
                  <a:gd name="T8" fmla="*/ 2 w 115"/>
                  <a:gd name="T9" fmla="*/ 66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5" h="370">
                    <a:moveTo>
                      <a:pt x="2" y="66"/>
                    </a:moveTo>
                    <a:lnTo>
                      <a:pt x="115" y="0"/>
                    </a:lnTo>
                    <a:lnTo>
                      <a:pt x="115" y="221"/>
                    </a:lnTo>
                    <a:lnTo>
                      <a:pt x="0" y="370"/>
                    </a:lnTo>
                    <a:lnTo>
                      <a:pt x="2" y="66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57" name="Freeform 331">
                <a:extLst>
                  <a:ext uri="{FF2B5EF4-FFF2-40B4-BE49-F238E27FC236}">
                    <a16:creationId xmlns:a16="http://schemas.microsoft.com/office/drawing/2014/main" id="{4D6AA956-6704-284E-AEAE-BDFD53DDBC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84" y="2493"/>
                <a:ext cx="122" cy="403"/>
              </a:xfrm>
              <a:custGeom>
                <a:avLst/>
                <a:gdLst>
                  <a:gd name="T0" fmla="*/ 0 w 122"/>
                  <a:gd name="T1" fmla="*/ 0 h 403"/>
                  <a:gd name="T2" fmla="*/ 0 w 122"/>
                  <a:gd name="T3" fmla="*/ 240 h 403"/>
                  <a:gd name="T4" fmla="*/ 122 w 122"/>
                  <a:gd name="T5" fmla="*/ 403 h 403"/>
                  <a:gd name="T6" fmla="*/ 122 w 122"/>
                  <a:gd name="T7" fmla="*/ 94 h 403"/>
                  <a:gd name="T8" fmla="*/ 0 w 122"/>
                  <a:gd name="T9" fmla="*/ 0 h 4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2" h="403">
                    <a:moveTo>
                      <a:pt x="0" y="0"/>
                    </a:moveTo>
                    <a:lnTo>
                      <a:pt x="0" y="240"/>
                    </a:lnTo>
                    <a:lnTo>
                      <a:pt x="122" y="403"/>
                    </a:lnTo>
                    <a:lnTo>
                      <a:pt x="122" y="9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58" name="Freeform 332">
                <a:extLst>
                  <a:ext uri="{FF2B5EF4-FFF2-40B4-BE49-F238E27FC236}">
                    <a16:creationId xmlns:a16="http://schemas.microsoft.com/office/drawing/2014/main" id="{21E82D1A-63C8-664F-AFE5-45FAC691D4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75" y="2733"/>
                <a:ext cx="236" cy="229"/>
              </a:xfrm>
              <a:custGeom>
                <a:avLst/>
                <a:gdLst>
                  <a:gd name="T0" fmla="*/ 0 w 236"/>
                  <a:gd name="T1" fmla="*/ 64 h 229"/>
                  <a:gd name="T2" fmla="*/ 118 w 236"/>
                  <a:gd name="T3" fmla="*/ 0 h 229"/>
                  <a:gd name="T4" fmla="*/ 236 w 236"/>
                  <a:gd name="T5" fmla="*/ 163 h 229"/>
                  <a:gd name="T6" fmla="*/ 120 w 236"/>
                  <a:gd name="T7" fmla="*/ 229 h 229"/>
                  <a:gd name="T8" fmla="*/ 0 w 236"/>
                  <a:gd name="T9" fmla="*/ 64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6" h="229">
                    <a:moveTo>
                      <a:pt x="0" y="64"/>
                    </a:moveTo>
                    <a:lnTo>
                      <a:pt x="118" y="0"/>
                    </a:lnTo>
                    <a:lnTo>
                      <a:pt x="236" y="163"/>
                    </a:lnTo>
                    <a:lnTo>
                      <a:pt x="120" y="229"/>
                    </a:lnTo>
                    <a:lnTo>
                      <a:pt x="0" y="64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59" name="Freeform 333">
                <a:extLst>
                  <a:ext uri="{FF2B5EF4-FFF2-40B4-BE49-F238E27FC236}">
                    <a16:creationId xmlns:a16="http://schemas.microsoft.com/office/drawing/2014/main" id="{D8877989-C657-1E4D-A626-1725BB4964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86" y="2340"/>
                <a:ext cx="120" cy="247"/>
              </a:xfrm>
              <a:custGeom>
                <a:avLst/>
                <a:gdLst>
                  <a:gd name="T0" fmla="*/ 0 w 120"/>
                  <a:gd name="T1" fmla="*/ 153 h 247"/>
                  <a:gd name="T2" fmla="*/ 120 w 120"/>
                  <a:gd name="T3" fmla="*/ 0 h 247"/>
                  <a:gd name="T4" fmla="*/ 120 w 120"/>
                  <a:gd name="T5" fmla="*/ 247 h 247"/>
                  <a:gd name="T6" fmla="*/ 0 w 120"/>
                  <a:gd name="T7" fmla="*/ 153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0" h="247">
                    <a:moveTo>
                      <a:pt x="0" y="153"/>
                    </a:moveTo>
                    <a:lnTo>
                      <a:pt x="120" y="0"/>
                    </a:lnTo>
                    <a:lnTo>
                      <a:pt x="120" y="247"/>
                    </a:lnTo>
                    <a:lnTo>
                      <a:pt x="0" y="153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60" name="Freeform 334">
                <a:extLst>
                  <a:ext uri="{FF2B5EF4-FFF2-40B4-BE49-F238E27FC236}">
                    <a16:creationId xmlns:a16="http://schemas.microsoft.com/office/drawing/2014/main" id="{B76D7069-78A2-E14F-A16E-CF5CD4A93D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1" y="2098"/>
                <a:ext cx="207" cy="211"/>
              </a:xfrm>
              <a:custGeom>
                <a:avLst/>
                <a:gdLst>
                  <a:gd name="T0" fmla="*/ 0 w 207"/>
                  <a:gd name="T1" fmla="*/ 58 h 211"/>
                  <a:gd name="T2" fmla="*/ 94 w 207"/>
                  <a:gd name="T3" fmla="*/ 0 h 211"/>
                  <a:gd name="T4" fmla="*/ 207 w 207"/>
                  <a:gd name="T5" fmla="*/ 162 h 211"/>
                  <a:gd name="T6" fmla="*/ 118 w 207"/>
                  <a:gd name="T7" fmla="*/ 211 h 211"/>
                  <a:gd name="T8" fmla="*/ 0 w 207"/>
                  <a:gd name="T9" fmla="*/ 58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7" h="211">
                    <a:moveTo>
                      <a:pt x="0" y="58"/>
                    </a:moveTo>
                    <a:lnTo>
                      <a:pt x="94" y="0"/>
                    </a:lnTo>
                    <a:lnTo>
                      <a:pt x="207" y="162"/>
                    </a:lnTo>
                    <a:lnTo>
                      <a:pt x="118" y="211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61" name="Freeform 335">
                <a:extLst>
                  <a:ext uri="{FF2B5EF4-FFF2-40B4-BE49-F238E27FC236}">
                    <a16:creationId xmlns:a16="http://schemas.microsoft.com/office/drawing/2014/main" id="{CF6AA402-FE8A-6848-81CF-79C1EE5690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95" y="3117"/>
                <a:ext cx="236" cy="224"/>
              </a:xfrm>
              <a:custGeom>
                <a:avLst/>
                <a:gdLst>
                  <a:gd name="T0" fmla="*/ 116 w 236"/>
                  <a:gd name="T1" fmla="*/ 224 h 224"/>
                  <a:gd name="T2" fmla="*/ 236 w 236"/>
                  <a:gd name="T3" fmla="*/ 57 h 224"/>
                  <a:gd name="T4" fmla="*/ 116 w 236"/>
                  <a:gd name="T5" fmla="*/ 0 h 224"/>
                  <a:gd name="T6" fmla="*/ 0 w 236"/>
                  <a:gd name="T7" fmla="*/ 149 h 224"/>
                  <a:gd name="T8" fmla="*/ 116 w 236"/>
                  <a:gd name="T9" fmla="*/ 224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6" h="224">
                    <a:moveTo>
                      <a:pt x="116" y="224"/>
                    </a:moveTo>
                    <a:lnTo>
                      <a:pt x="236" y="57"/>
                    </a:lnTo>
                    <a:lnTo>
                      <a:pt x="116" y="0"/>
                    </a:lnTo>
                    <a:lnTo>
                      <a:pt x="0" y="149"/>
                    </a:lnTo>
                    <a:lnTo>
                      <a:pt x="116" y="224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62" name="Freeform 336">
                <a:extLst>
                  <a:ext uri="{FF2B5EF4-FFF2-40B4-BE49-F238E27FC236}">
                    <a16:creationId xmlns:a16="http://schemas.microsoft.com/office/drawing/2014/main" id="{6A5C51E5-8A3A-E940-9C01-5A7CF75A19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69" y="4961"/>
                <a:ext cx="1131" cy="655"/>
              </a:xfrm>
              <a:custGeom>
                <a:avLst/>
                <a:gdLst>
                  <a:gd name="T0" fmla="*/ 848 w 1131"/>
                  <a:gd name="T1" fmla="*/ 655 h 655"/>
                  <a:gd name="T2" fmla="*/ 0 w 1131"/>
                  <a:gd name="T3" fmla="*/ 158 h 655"/>
                  <a:gd name="T4" fmla="*/ 259 w 1131"/>
                  <a:gd name="T5" fmla="*/ 0 h 655"/>
                  <a:gd name="T6" fmla="*/ 1131 w 1131"/>
                  <a:gd name="T7" fmla="*/ 492 h 655"/>
                  <a:gd name="T8" fmla="*/ 848 w 1131"/>
                  <a:gd name="T9" fmla="*/ 655 h 6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31" h="655">
                    <a:moveTo>
                      <a:pt x="848" y="655"/>
                    </a:moveTo>
                    <a:lnTo>
                      <a:pt x="0" y="158"/>
                    </a:lnTo>
                    <a:lnTo>
                      <a:pt x="259" y="0"/>
                    </a:lnTo>
                    <a:lnTo>
                      <a:pt x="1131" y="492"/>
                    </a:lnTo>
                    <a:lnTo>
                      <a:pt x="848" y="655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63" name="Freeform 337">
                <a:extLst>
                  <a:ext uri="{FF2B5EF4-FFF2-40B4-BE49-F238E27FC236}">
                    <a16:creationId xmlns:a16="http://schemas.microsoft.com/office/drawing/2014/main" id="{E4C293CB-A948-304E-8725-8226D1F038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7" y="4403"/>
                <a:ext cx="587" cy="337"/>
              </a:xfrm>
              <a:custGeom>
                <a:avLst/>
                <a:gdLst>
                  <a:gd name="T0" fmla="*/ 0 w 587"/>
                  <a:gd name="T1" fmla="*/ 245 h 337"/>
                  <a:gd name="T2" fmla="*/ 434 w 587"/>
                  <a:gd name="T3" fmla="*/ 0 h 337"/>
                  <a:gd name="T4" fmla="*/ 587 w 587"/>
                  <a:gd name="T5" fmla="*/ 83 h 337"/>
                  <a:gd name="T6" fmla="*/ 158 w 587"/>
                  <a:gd name="T7" fmla="*/ 337 h 337"/>
                  <a:gd name="T8" fmla="*/ 0 w 587"/>
                  <a:gd name="T9" fmla="*/ 245 h 3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7" h="337">
                    <a:moveTo>
                      <a:pt x="0" y="245"/>
                    </a:moveTo>
                    <a:lnTo>
                      <a:pt x="434" y="0"/>
                    </a:lnTo>
                    <a:lnTo>
                      <a:pt x="587" y="83"/>
                    </a:lnTo>
                    <a:lnTo>
                      <a:pt x="158" y="337"/>
                    </a:lnTo>
                    <a:lnTo>
                      <a:pt x="0" y="245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64" name="Freeform 338">
                <a:extLst>
                  <a:ext uri="{FF2B5EF4-FFF2-40B4-BE49-F238E27FC236}">
                    <a16:creationId xmlns:a16="http://schemas.microsoft.com/office/drawing/2014/main" id="{A1924CA3-90F9-374F-A4AA-B362C72A46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10" y="4080"/>
                <a:ext cx="311" cy="961"/>
              </a:xfrm>
              <a:custGeom>
                <a:avLst/>
                <a:gdLst>
                  <a:gd name="T0" fmla="*/ 311 w 311"/>
                  <a:gd name="T1" fmla="*/ 0 h 961"/>
                  <a:gd name="T2" fmla="*/ 0 w 311"/>
                  <a:gd name="T3" fmla="*/ 179 h 961"/>
                  <a:gd name="T4" fmla="*/ 0 w 311"/>
                  <a:gd name="T5" fmla="*/ 961 h 961"/>
                  <a:gd name="T6" fmla="*/ 311 w 311"/>
                  <a:gd name="T7" fmla="*/ 782 h 961"/>
                  <a:gd name="T8" fmla="*/ 311 w 311"/>
                  <a:gd name="T9" fmla="*/ 0 h 9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1" h="961">
                    <a:moveTo>
                      <a:pt x="311" y="0"/>
                    </a:moveTo>
                    <a:lnTo>
                      <a:pt x="0" y="179"/>
                    </a:lnTo>
                    <a:lnTo>
                      <a:pt x="0" y="961"/>
                    </a:lnTo>
                    <a:lnTo>
                      <a:pt x="311" y="782"/>
                    </a:lnTo>
                    <a:lnTo>
                      <a:pt x="311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65" name="Freeform 339">
                <a:extLst>
                  <a:ext uri="{FF2B5EF4-FFF2-40B4-BE49-F238E27FC236}">
                    <a16:creationId xmlns:a16="http://schemas.microsoft.com/office/drawing/2014/main" id="{FBE236E1-A243-D545-963F-E102592C94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9" y="4080"/>
                <a:ext cx="321" cy="961"/>
              </a:xfrm>
              <a:custGeom>
                <a:avLst/>
                <a:gdLst>
                  <a:gd name="T0" fmla="*/ 0 w 321"/>
                  <a:gd name="T1" fmla="*/ 0 h 961"/>
                  <a:gd name="T2" fmla="*/ 321 w 321"/>
                  <a:gd name="T3" fmla="*/ 179 h 961"/>
                  <a:gd name="T4" fmla="*/ 321 w 321"/>
                  <a:gd name="T5" fmla="*/ 961 h 961"/>
                  <a:gd name="T6" fmla="*/ 0 w 321"/>
                  <a:gd name="T7" fmla="*/ 782 h 961"/>
                  <a:gd name="T8" fmla="*/ 0 w 321"/>
                  <a:gd name="T9" fmla="*/ 0 h 9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1" h="961">
                    <a:moveTo>
                      <a:pt x="0" y="0"/>
                    </a:moveTo>
                    <a:lnTo>
                      <a:pt x="321" y="179"/>
                    </a:lnTo>
                    <a:lnTo>
                      <a:pt x="321" y="961"/>
                    </a:lnTo>
                    <a:lnTo>
                      <a:pt x="0" y="78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66" name="Freeform 340">
                <a:extLst>
                  <a:ext uri="{FF2B5EF4-FFF2-40B4-BE49-F238E27FC236}">
                    <a16:creationId xmlns:a16="http://schemas.microsoft.com/office/drawing/2014/main" id="{4C4DD17A-8D71-2747-9C7F-40190C977E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99" y="3897"/>
                <a:ext cx="632" cy="362"/>
              </a:xfrm>
              <a:custGeom>
                <a:avLst/>
                <a:gdLst>
                  <a:gd name="T0" fmla="*/ 0 w 632"/>
                  <a:gd name="T1" fmla="*/ 183 h 362"/>
                  <a:gd name="T2" fmla="*/ 313 w 632"/>
                  <a:gd name="T3" fmla="*/ 0 h 362"/>
                  <a:gd name="T4" fmla="*/ 632 w 632"/>
                  <a:gd name="T5" fmla="*/ 183 h 362"/>
                  <a:gd name="T6" fmla="*/ 320 w 632"/>
                  <a:gd name="T7" fmla="*/ 362 h 362"/>
                  <a:gd name="T8" fmla="*/ 0 w 632"/>
                  <a:gd name="T9" fmla="*/ 183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2" h="362">
                    <a:moveTo>
                      <a:pt x="0" y="183"/>
                    </a:moveTo>
                    <a:lnTo>
                      <a:pt x="313" y="0"/>
                    </a:lnTo>
                    <a:lnTo>
                      <a:pt x="632" y="183"/>
                    </a:lnTo>
                    <a:lnTo>
                      <a:pt x="320" y="362"/>
                    </a:lnTo>
                    <a:lnTo>
                      <a:pt x="0" y="183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67" name="Freeform 341">
                <a:extLst>
                  <a:ext uri="{FF2B5EF4-FFF2-40B4-BE49-F238E27FC236}">
                    <a16:creationId xmlns:a16="http://schemas.microsoft.com/office/drawing/2014/main" id="{D2ADF77F-6A1A-6946-BAAE-66E743668A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10" y="4778"/>
                <a:ext cx="273" cy="197"/>
              </a:xfrm>
              <a:custGeom>
                <a:avLst/>
                <a:gdLst>
                  <a:gd name="T0" fmla="*/ 273 w 273"/>
                  <a:gd name="T1" fmla="*/ 0 h 197"/>
                  <a:gd name="T2" fmla="*/ 0 w 273"/>
                  <a:gd name="T3" fmla="*/ 160 h 197"/>
                  <a:gd name="T4" fmla="*/ 0 w 273"/>
                  <a:gd name="T5" fmla="*/ 197 h 197"/>
                  <a:gd name="T6" fmla="*/ 273 w 273"/>
                  <a:gd name="T7" fmla="*/ 37 h 197"/>
                  <a:gd name="T8" fmla="*/ 273 w 273"/>
                  <a:gd name="T9" fmla="*/ 0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3" h="197">
                    <a:moveTo>
                      <a:pt x="273" y="0"/>
                    </a:moveTo>
                    <a:lnTo>
                      <a:pt x="0" y="160"/>
                    </a:lnTo>
                    <a:lnTo>
                      <a:pt x="0" y="197"/>
                    </a:lnTo>
                    <a:lnTo>
                      <a:pt x="273" y="37"/>
                    </a:lnTo>
                    <a:lnTo>
                      <a:pt x="273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68" name="Freeform 342">
                <a:extLst>
                  <a:ext uri="{FF2B5EF4-FFF2-40B4-BE49-F238E27FC236}">
                    <a16:creationId xmlns:a16="http://schemas.microsoft.com/office/drawing/2014/main" id="{DBA672CB-2A96-4943-9682-36E94A3874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10" y="4693"/>
                <a:ext cx="273" cy="198"/>
              </a:xfrm>
              <a:custGeom>
                <a:avLst/>
                <a:gdLst>
                  <a:gd name="T0" fmla="*/ 273 w 273"/>
                  <a:gd name="T1" fmla="*/ 0 h 198"/>
                  <a:gd name="T2" fmla="*/ 0 w 273"/>
                  <a:gd name="T3" fmla="*/ 160 h 198"/>
                  <a:gd name="T4" fmla="*/ 0 w 273"/>
                  <a:gd name="T5" fmla="*/ 198 h 198"/>
                  <a:gd name="T6" fmla="*/ 273 w 273"/>
                  <a:gd name="T7" fmla="*/ 37 h 198"/>
                  <a:gd name="T8" fmla="*/ 273 w 273"/>
                  <a:gd name="T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3" h="198">
                    <a:moveTo>
                      <a:pt x="273" y="0"/>
                    </a:moveTo>
                    <a:lnTo>
                      <a:pt x="0" y="160"/>
                    </a:lnTo>
                    <a:lnTo>
                      <a:pt x="0" y="198"/>
                    </a:lnTo>
                    <a:lnTo>
                      <a:pt x="273" y="37"/>
                    </a:lnTo>
                    <a:lnTo>
                      <a:pt x="273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69" name="Freeform 343">
                <a:extLst>
                  <a:ext uri="{FF2B5EF4-FFF2-40B4-BE49-F238E27FC236}">
                    <a16:creationId xmlns:a16="http://schemas.microsoft.com/office/drawing/2014/main" id="{A7CECB12-2783-6B4C-8F45-B331B706E0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10" y="4608"/>
                <a:ext cx="273" cy="198"/>
              </a:xfrm>
              <a:custGeom>
                <a:avLst/>
                <a:gdLst>
                  <a:gd name="T0" fmla="*/ 273 w 273"/>
                  <a:gd name="T1" fmla="*/ 0 h 198"/>
                  <a:gd name="T2" fmla="*/ 0 w 273"/>
                  <a:gd name="T3" fmla="*/ 160 h 198"/>
                  <a:gd name="T4" fmla="*/ 0 w 273"/>
                  <a:gd name="T5" fmla="*/ 198 h 198"/>
                  <a:gd name="T6" fmla="*/ 273 w 273"/>
                  <a:gd name="T7" fmla="*/ 38 h 198"/>
                  <a:gd name="T8" fmla="*/ 273 w 273"/>
                  <a:gd name="T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3" h="198">
                    <a:moveTo>
                      <a:pt x="273" y="0"/>
                    </a:moveTo>
                    <a:lnTo>
                      <a:pt x="0" y="160"/>
                    </a:lnTo>
                    <a:lnTo>
                      <a:pt x="0" y="198"/>
                    </a:lnTo>
                    <a:lnTo>
                      <a:pt x="273" y="38"/>
                    </a:lnTo>
                    <a:lnTo>
                      <a:pt x="273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70" name="Freeform 344">
                <a:extLst>
                  <a:ext uri="{FF2B5EF4-FFF2-40B4-BE49-F238E27FC236}">
                    <a16:creationId xmlns:a16="http://schemas.microsoft.com/office/drawing/2014/main" id="{9AD7893C-E598-E141-B08C-078F4360F9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10" y="4523"/>
                <a:ext cx="273" cy="198"/>
              </a:xfrm>
              <a:custGeom>
                <a:avLst/>
                <a:gdLst>
                  <a:gd name="T0" fmla="*/ 273 w 273"/>
                  <a:gd name="T1" fmla="*/ 0 h 198"/>
                  <a:gd name="T2" fmla="*/ 0 w 273"/>
                  <a:gd name="T3" fmla="*/ 160 h 198"/>
                  <a:gd name="T4" fmla="*/ 0 w 273"/>
                  <a:gd name="T5" fmla="*/ 198 h 198"/>
                  <a:gd name="T6" fmla="*/ 273 w 273"/>
                  <a:gd name="T7" fmla="*/ 38 h 198"/>
                  <a:gd name="T8" fmla="*/ 273 w 273"/>
                  <a:gd name="T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3" h="198">
                    <a:moveTo>
                      <a:pt x="273" y="0"/>
                    </a:moveTo>
                    <a:lnTo>
                      <a:pt x="0" y="160"/>
                    </a:lnTo>
                    <a:lnTo>
                      <a:pt x="0" y="198"/>
                    </a:lnTo>
                    <a:lnTo>
                      <a:pt x="273" y="38"/>
                    </a:lnTo>
                    <a:lnTo>
                      <a:pt x="273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71" name="Freeform 345">
                <a:extLst>
                  <a:ext uri="{FF2B5EF4-FFF2-40B4-BE49-F238E27FC236}">
                    <a16:creationId xmlns:a16="http://schemas.microsoft.com/office/drawing/2014/main" id="{5D3B8EA4-A82F-5246-A3DD-2AA1B2F77E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10" y="4438"/>
                <a:ext cx="273" cy="198"/>
              </a:xfrm>
              <a:custGeom>
                <a:avLst/>
                <a:gdLst>
                  <a:gd name="T0" fmla="*/ 273 w 273"/>
                  <a:gd name="T1" fmla="*/ 0 h 198"/>
                  <a:gd name="T2" fmla="*/ 0 w 273"/>
                  <a:gd name="T3" fmla="*/ 161 h 198"/>
                  <a:gd name="T4" fmla="*/ 0 w 273"/>
                  <a:gd name="T5" fmla="*/ 198 h 198"/>
                  <a:gd name="T6" fmla="*/ 273 w 273"/>
                  <a:gd name="T7" fmla="*/ 38 h 198"/>
                  <a:gd name="T8" fmla="*/ 273 w 273"/>
                  <a:gd name="T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3" h="198">
                    <a:moveTo>
                      <a:pt x="273" y="0"/>
                    </a:moveTo>
                    <a:lnTo>
                      <a:pt x="0" y="161"/>
                    </a:lnTo>
                    <a:lnTo>
                      <a:pt x="0" y="198"/>
                    </a:lnTo>
                    <a:lnTo>
                      <a:pt x="273" y="38"/>
                    </a:lnTo>
                    <a:lnTo>
                      <a:pt x="273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72" name="Freeform 346">
                <a:extLst>
                  <a:ext uri="{FF2B5EF4-FFF2-40B4-BE49-F238E27FC236}">
                    <a16:creationId xmlns:a16="http://schemas.microsoft.com/office/drawing/2014/main" id="{04F3EEFD-8FF8-E24D-8065-1EA5C8EED0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10" y="4354"/>
                <a:ext cx="273" cy="197"/>
              </a:xfrm>
              <a:custGeom>
                <a:avLst/>
                <a:gdLst>
                  <a:gd name="T0" fmla="*/ 273 w 273"/>
                  <a:gd name="T1" fmla="*/ 0 h 197"/>
                  <a:gd name="T2" fmla="*/ 0 w 273"/>
                  <a:gd name="T3" fmla="*/ 160 h 197"/>
                  <a:gd name="T4" fmla="*/ 0 w 273"/>
                  <a:gd name="T5" fmla="*/ 197 h 197"/>
                  <a:gd name="T6" fmla="*/ 273 w 273"/>
                  <a:gd name="T7" fmla="*/ 37 h 197"/>
                  <a:gd name="T8" fmla="*/ 273 w 273"/>
                  <a:gd name="T9" fmla="*/ 0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3" h="197">
                    <a:moveTo>
                      <a:pt x="273" y="0"/>
                    </a:moveTo>
                    <a:lnTo>
                      <a:pt x="0" y="160"/>
                    </a:lnTo>
                    <a:lnTo>
                      <a:pt x="0" y="197"/>
                    </a:lnTo>
                    <a:lnTo>
                      <a:pt x="273" y="37"/>
                    </a:lnTo>
                    <a:lnTo>
                      <a:pt x="273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73" name="Freeform 347">
                <a:extLst>
                  <a:ext uri="{FF2B5EF4-FFF2-40B4-BE49-F238E27FC236}">
                    <a16:creationId xmlns:a16="http://schemas.microsoft.com/office/drawing/2014/main" id="{31AB682E-AC9E-8147-B407-E49ACEE41B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10" y="4269"/>
                <a:ext cx="273" cy="198"/>
              </a:xfrm>
              <a:custGeom>
                <a:avLst/>
                <a:gdLst>
                  <a:gd name="T0" fmla="*/ 273 w 273"/>
                  <a:gd name="T1" fmla="*/ 0 h 198"/>
                  <a:gd name="T2" fmla="*/ 0 w 273"/>
                  <a:gd name="T3" fmla="*/ 160 h 198"/>
                  <a:gd name="T4" fmla="*/ 0 w 273"/>
                  <a:gd name="T5" fmla="*/ 198 h 198"/>
                  <a:gd name="T6" fmla="*/ 273 w 273"/>
                  <a:gd name="T7" fmla="*/ 38 h 198"/>
                  <a:gd name="T8" fmla="*/ 273 w 273"/>
                  <a:gd name="T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3" h="198">
                    <a:moveTo>
                      <a:pt x="273" y="0"/>
                    </a:moveTo>
                    <a:lnTo>
                      <a:pt x="0" y="160"/>
                    </a:lnTo>
                    <a:lnTo>
                      <a:pt x="0" y="198"/>
                    </a:lnTo>
                    <a:lnTo>
                      <a:pt x="273" y="38"/>
                    </a:lnTo>
                    <a:lnTo>
                      <a:pt x="273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74" name="Freeform 348">
                <a:extLst>
                  <a:ext uri="{FF2B5EF4-FFF2-40B4-BE49-F238E27FC236}">
                    <a16:creationId xmlns:a16="http://schemas.microsoft.com/office/drawing/2014/main" id="{09149BD6-24EF-0943-9983-07FA2F5D03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10" y="4184"/>
                <a:ext cx="273" cy="198"/>
              </a:xfrm>
              <a:custGeom>
                <a:avLst/>
                <a:gdLst>
                  <a:gd name="T0" fmla="*/ 273 w 273"/>
                  <a:gd name="T1" fmla="*/ 0 h 198"/>
                  <a:gd name="T2" fmla="*/ 0 w 273"/>
                  <a:gd name="T3" fmla="*/ 160 h 198"/>
                  <a:gd name="T4" fmla="*/ 0 w 273"/>
                  <a:gd name="T5" fmla="*/ 198 h 198"/>
                  <a:gd name="T6" fmla="*/ 273 w 273"/>
                  <a:gd name="T7" fmla="*/ 38 h 198"/>
                  <a:gd name="T8" fmla="*/ 273 w 273"/>
                  <a:gd name="T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3" h="198">
                    <a:moveTo>
                      <a:pt x="273" y="0"/>
                    </a:moveTo>
                    <a:lnTo>
                      <a:pt x="0" y="160"/>
                    </a:lnTo>
                    <a:lnTo>
                      <a:pt x="0" y="198"/>
                    </a:lnTo>
                    <a:lnTo>
                      <a:pt x="273" y="38"/>
                    </a:lnTo>
                    <a:lnTo>
                      <a:pt x="273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75" name="Freeform 349">
                <a:extLst>
                  <a:ext uri="{FF2B5EF4-FFF2-40B4-BE49-F238E27FC236}">
                    <a16:creationId xmlns:a16="http://schemas.microsoft.com/office/drawing/2014/main" id="{81573246-C180-F841-BD48-10A2ABC597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37" y="4778"/>
                <a:ext cx="273" cy="197"/>
              </a:xfrm>
              <a:custGeom>
                <a:avLst/>
                <a:gdLst>
                  <a:gd name="T0" fmla="*/ 0 w 273"/>
                  <a:gd name="T1" fmla="*/ 0 h 197"/>
                  <a:gd name="T2" fmla="*/ 273 w 273"/>
                  <a:gd name="T3" fmla="*/ 160 h 197"/>
                  <a:gd name="T4" fmla="*/ 273 w 273"/>
                  <a:gd name="T5" fmla="*/ 197 h 197"/>
                  <a:gd name="T6" fmla="*/ 0 w 273"/>
                  <a:gd name="T7" fmla="*/ 37 h 197"/>
                  <a:gd name="T8" fmla="*/ 0 w 273"/>
                  <a:gd name="T9" fmla="*/ 0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3" h="197">
                    <a:moveTo>
                      <a:pt x="0" y="0"/>
                    </a:moveTo>
                    <a:lnTo>
                      <a:pt x="273" y="160"/>
                    </a:lnTo>
                    <a:lnTo>
                      <a:pt x="273" y="197"/>
                    </a:lnTo>
                    <a:lnTo>
                      <a:pt x="0" y="3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76" name="Freeform 350">
                <a:extLst>
                  <a:ext uri="{FF2B5EF4-FFF2-40B4-BE49-F238E27FC236}">
                    <a16:creationId xmlns:a16="http://schemas.microsoft.com/office/drawing/2014/main" id="{9A810751-B575-3B46-BA58-641B364963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37" y="4693"/>
                <a:ext cx="273" cy="198"/>
              </a:xfrm>
              <a:custGeom>
                <a:avLst/>
                <a:gdLst>
                  <a:gd name="T0" fmla="*/ 0 w 273"/>
                  <a:gd name="T1" fmla="*/ 0 h 198"/>
                  <a:gd name="T2" fmla="*/ 273 w 273"/>
                  <a:gd name="T3" fmla="*/ 160 h 198"/>
                  <a:gd name="T4" fmla="*/ 273 w 273"/>
                  <a:gd name="T5" fmla="*/ 198 h 198"/>
                  <a:gd name="T6" fmla="*/ 0 w 273"/>
                  <a:gd name="T7" fmla="*/ 37 h 198"/>
                  <a:gd name="T8" fmla="*/ 0 w 273"/>
                  <a:gd name="T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3" h="198">
                    <a:moveTo>
                      <a:pt x="0" y="0"/>
                    </a:moveTo>
                    <a:lnTo>
                      <a:pt x="273" y="160"/>
                    </a:lnTo>
                    <a:lnTo>
                      <a:pt x="273" y="198"/>
                    </a:lnTo>
                    <a:lnTo>
                      <a:pt x="0" y="3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77" name="Freeform 351">
                <a:extLst>
                  <a:ext uri="{FF2B5EF4-FFF2-40B4-BE49-F238E27FC236}">
                    <a16:creationId xmlns:a16="http://schemas.microsoft.com/office/drawing/2014/main" id="{B3AD2DDE-6A4D-3941-AED7-612624AC69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37" y="4608"/>
                <a:ext cx="273" cy="198"/>
              </a:xfrm>
              <a:custGeom>
                <a:avLst/>
                <a:gdLst>
                  <a:gd name="T0" fmla="*/ 0 w 273"/>
                  <a:gd name="T1" fmla="*/ 0 h 198"/>
                  <a:gd name="T2" fmla="*/ 273 w 273"/>
                  <a:gd name="T3" fmla="*/ 160 h 198"/>
                  <a:gd name="T4" fmla="*/ 273 w 273"/>
                  <a:gd name="T5" fmla="*/ 198 h 198"/>
                  <a:gd name="T6" fmla="*/ 0 w 273"/>
                  <a:gd name="T7" fmla="*/ 38 h 198"/>
                  <a:gd name="T8" fmla="*/ 0 w 273"/>
                  <a:gd name="T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3" h="198">
                    <a:moveTo>
                      <a:pt x="0" y="0"/>
                    </a:moveTo>
                    <a:lnTo>
                      <a:pt x="273" y="160"/>
                    </a:lnTo>
                    <a:lnTo>
                      <a:pt x="273" y="198"/>
                    </a:lnTo>
                    <a:lnTo>
                      <a:pt x="0" y="3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78" name="Freeform 352">
                <a:extLst>
                  <a:ext uri="{FF2B5EF4-FFF2-40B4-BE49-F238E27FC236}">
                    <a16:creationId xmlns:a16="http://schemas.microsoft.com/office/drawing/2014/main" id="{6C5BEDD0-2A68-AE4D-9317-80112A7C80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37" y="4523"/>
                <a:ext cx="273" cy="198"/>
              </a:xfrm>
              <a:custGeom>
                <a:avLst/>
                <a:gdLst>
                  <a:gd name="T0" fmla="*/ 0 w 273"/>
                  <a:gd name="T1" fmla="*/ 0 h 198"/>
                  <a:gd name="T2" fmla="*/ 273 w 273"/>
                  <a:gd name="T3" fmla="*/ 160 h 198"/>
                  <a:gd name="T4" fmla="*/ 273 w 273"/>
                  <a:gd name="T5" fmla="*/ 198 h 198"/>
                  <a:gd name="T6" fmla="*/ 0 w 273"/>
                  <a:gd name="T7" fmla="*/ 38 h 198"/>
                  <a:gd name="T8" fmla="*/ 0 w 273"/>
                  <a:gd name="T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3" h="198">
                    <a:moveTo>
                      <a:pt x="0" y="0"/>
                    </a:moveTo>
                    <a:lnTo>
                      <a:pt x="273" y="160"/>
                    </a:lnTo>
                    <a:lnTo>
                      <a:pt x="273" y="198"/>
                    </a:lnTo>
                    <a:lnTo>
                      <a:pt x="0" y="3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79" name="Freeform 353">
                <a:extLst>
                  <a:ext uri="{FF2B5EF4-FFF2-40B4-BE49-F238E27FC236}">
                    <a16:creationId xmlns:a16="http://schemas.microsoft.com/office/drawing/2014/main" id="{F8A694E0-D4B1-8446-94A6-163C00667B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37" y="4438"/>
                <a:ext cx="273" cy="198"/>
              </a:xfrm>
              <a:custGeom>
                <a:avLst/>
                <a:gdLst>
                  <a:gd name="T0" fmla="*/ 0 w 273"/>
                  <a:gd name="T1" fmla="*/ 0 h 198"/>
                  <a:gd name="T2" fmla="*/ 273 w 273"/>
                  <a:gd name="T3" fmla="*/ 161 h 198"/>
                  <a:gd name="T4" fmla="*/ 273 w 273"/>
                  <a:gd name="T5" fmla="*/ 198 h 198"/>
                  <a:gd name="T6" fmla="*/ 0 w 273"/>
                  <a:gd name="T7" fmla="*/ 38 h 198"/>
                  <a:gd name="T8" fmla="*/ 0 w 273"/>
                  <a:gd name="T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3" h="198">
                    <a:moveTo>
                      <a:pt x="0" y="0"/>
                    </a:moveTo>
                    <a:lnTo>
                      <a:pt x="273" y="161"/>
                    </a:lnTo>
                    <a:lnTo>
                      <a:pt x="273" y="198"/>
                    </a:lnTo>
                    <a:lnTo>
                      <a:pt x="0" y="3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80" name="Freeform 354">
                <a:extLst>
                  <a:ext uri="{FF2B5EF4-FFF2-40B4-BE49-F238E27FC236}">
                    <a16:creationId xmlns:a16="http://schemas.microsoft.com/office/drawing/2014/main" id="{C378A93E-C121-3A45-80EB-0420268BCE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37" y="4354"/>
                <a:ext cx="273" cy="197"/>
              </a:xfrm>
              <a:custGeom>
                <a:avLst/>
                <a:gdLst>
                  <a:gd name="T0" fmla="*/ 0 w 273"/>
                  <a:gd name="T1" fmla="*/ 0 h 197"/>
                  <a:gd name="T2" fmla="*/ 273 w 273"/>
                  <a:gd name="T3" fmla="*/ 160 h 197"/>
                  <a:gd name="T4" fmla="*/ 273 w 273"/>
                  <a:gd name="T5" fmla="*/ 197 h 197"/>
                  <a:gd name="T6" fmla="*/ 0 w 273"/>
                  <a:gd name="T7" fmla="*/ 37 h 197"/>
                  <a:gd name="T8" fmla="*/ 0 w 273"/>
                  <a:gd name="T9" fmla="*/ 0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3" h="197">
                    <a:moveTo>
                      <a:pt x="0" y="0"/>
                    </a:moveTo>
                    <a:lnTo>
                      <a:pt x="273" y="160"/>
                    </a:lnTo>
                    <a:lnTo>
                      <a:pt x="273" y="197"/>
                    </a:lnTo>
                    <a:lnTo>
                      <a:pt x="0" y="3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81" name="Freeform 355">
                <a:extLst>
                  <a:ext uri="{FF2B5EF4-FFF2-40B4-BE49-F238E27FC236}">
                    <a16:creationId xmlns:a16="http://schemas.microsoft.com/office/drawing/2014/main" id="{3F0E1910-C982-3544-99B9-841F15DCB7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37" y="4269"/>
                <a:ext cx="273" cy="198"/>
              </a:xfrm>
              <a:custGeom>
                <a:avLst/>
                <a:gdLst>
                  <a:gd name="T0" fmla="*/ 0 w 273"/>
                  <a:gd name="T1" fmla="*/ 0 h 198"/>
                  <a:gd name="T2" fmla="*/ 273 w 273"/>
                  <a:gd name="T3" fmla="*/ 160 h 198"/>
                  <a:gd name="T4" fmla="*/ 273 w 273"/>
                  <a:gd name="T5" fmla="*/ 198 h 198"/>
                  <a:gd name="T6" fmla="*/ 0 w 273"/>
                  <a:gd name="T7" fmla="*/ 38 h 198"/>
                  <a:gd name="T8" fmla="*/ 0 w 273"/>
                  <a:gd name="T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3" h="198">
                    <a:moveTo>
                      <a:pt x="0" y="0"/>
                    </a:moveTo>
                    <a:lnTo>
                      <a:pt x="273" y="160"/>
                    </a:lnTo>
                    <a:lnTo>
                      <a:pt x="273" y="198"/>
                    </a:lnTo>
                    <a:lnTo>
                      <a:pt x="0" y="3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82" name="Freeform 356">
                <a:extLst>
                  <a:ext uri="{FF2B5EF4-FFF2-40B4-BE49-F238E27FC236}">
                    <a16:creationId xmlns:a16="http://schemas.microsoft.com/office/drawing/2014/main" id="{A60AEF7F-038D-AD48-82F4-D91176FBE9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37" y="4184"/>
                <a:ext cx="273" cy="198"/>
              </a:xfrm>
              <a:custGeom>
                <a:avLst/>
                <a:gdLst>
                  <a:gd name="T0" fmla="*/ 0 w 273"/>
                  <a:gd name="T1" fmla="*/ 0 h 198"/>
                  <a:gd name="T2" fmla="*/ 273 w 273"/>
                  <a:gd name="T3" fmla="*/ 160 h 198"/>
                  <a:gd name="T4" fmla="*/ 273 w 273"/>
                  <a:gd name="T5" fmla="*/ 198 h 198"/>
                  <a:gd name="T6" fmla="*/ 0 w 273"/>
                  <a:gd name="T7" fmla="*/ 38 h 198"/>
                  <a:gd name="T8" fmla="*/ 0 w 273"/>
                  <a:gd name="T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3" h="198">
                    <a:moveTo>
                      <a:pt x="0" y="0"/>
                    </a:moveTo>
                    <a:lnTo>
                      <a:pt x="273" y="160"/>
                    </a:lnTo>
                    <a:lnTo>
                      <a:pt x="273" y="198"/>
                    </a:lnTo>
                    <a:lnTo>
                      <a:pt x="0" y="3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83" name="Freeform 357">
                <a:extLst>
                  <a:ext uri="{FF2B5EF4-FFF2-40B4-BE49-F238E27FC236}">
                    <a16:creationId xmlns:a16="http://schemas.microsoft.com/office/drawing/2014/main" id="{CFFA0029-B5B5-6C45-84C9-BAE1ADCDBC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10" y="4033"/>
                <a:ext cx="217" cy="179"/>
              </a:xfrm>
              <a:custGeom>
                <a:avLst/>
                <a:gdLst>
                  <a:gd name="T0" fmla="*/ 217 w 217"/>
                  <a:gd name="T1" fmla="*/ 0 h 179"/>
                  <a:gd name="T2" fmla="*/ 0 w 217"/>
                  <a:gd name="T3" fmla="*/ 132 h 179"/>
                  <a:gd name="T4" fmla="*/ 0 w 217"/>
                  <a:gd name="T5" fmla="*/ 179 h 179"/>
                  <a:gd name="T6" fmla="*/ 217 w 217"/>
                  <a:gd name="T7" fmla="*/ 47 h 179"/>
                  <a:gd name="T8" fmla="*/ 217 w 217"/>
                  <a:gd name="T9" fmla="*/ 0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7" h="179">
                    <a:moveTo>
                      <a:pt x="217" y="0"/>
                    </a:moveTo>
                    <a:lnTo>
                      <a:pt x="0" y="132"/>
                    </a:lnTo>
                    <a:lnTo>
                      <a:pt x="0" y="179"/>
                    </a:lnTo>
                    <a:lnTo>
                      <a:pt x="217" y="47"/>
                    </a:lnTo>
                    <a:lnTo>
                      <a:pt x="217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84" name="Freeform 358">
                <a:extLst>
                  <a:ext uri="{FF2B5EF4-FFF2-40B4-BE49-F238E27FC236}">
                    <a16:creationId xmlns:a16="http://schemas.microsoft.com/office/drawing/2014/main" id="{8C40ABE4-8F2D-2945-8764-56C122DFCB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10" y="3996"/>
                <a:ext cx="132" cy="122"/>
              </a:xfrm>
              <a:custGeom>
                <a:avLst/>
                <a:gdLst>
                  <a:gd name="T0" fmla="*/ 132 w 132"/>
                  <a:gd name="T1" fmla="*/ 0 h 122"/>
                  <a:gd name="T2" fmla="*/ 0 w 132"/>
                  <a:gd name="T3" fmla="*/ 75 h 122"/>
                  <a:gd name="T4" fmla="*/ 0 w 132"/>
                  <a:gd name="T5" fmla="*/ 122 h 122"/>
                  <a:gd name="T6" fmla="*/ 132 w 132"/>
                  <a:gd name="T7" fmla="*/ 47 h 122"/>
                  <a:gd name="T8" fmla="*/ 132 w 132"/>
                  <a:gd name="T9" fmla="*/ 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2" h="122">
                    <a:moveTo>
                      <a:pt x="132" y="0"/>
                    </a:moveTo>
                    <a:lnTo>
                      <a:pt x="0" y="75"/>
                    </a:lnTo>
                    <a:lnTo>
                      <a:pt x="0" y="122"/>
                    </a:lnTo>
                    <a:lnTo>
                      <a:pt x="132" y="47"/>
                    </a:lnTo>
                    <a:lnTo>
                      <a:pt x="132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85" name="Freeform 359">
                <a:extLst>
                  <a:ext uri="{FF2B5EF4-FFF2-40B4-BE49-F238E27FC236}">
                    <a16:creationId xmlns:a16="http://schemas.microsoft.com/office/drawing/2014/main" id="{FEA0D27D-7E61-0A49-8A19-3933DE6ABF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10" y="3958"/>
                <a:ext cx="47" cy="75"/>
              </a:xfrm>
              <a:custGeom>
                <a:avLst/>
                <a:gdLst>
                  <a:gd name="T0" fmla="*/ 47 w 47"/>
                  <a:gd name="T1" fmla="*/ 0 h 75"/>
                  <a:gd name="T2" fmla="*/ 0 w 47"/>
                  <a:gd name="T3" fmla="*/ 28 h 75"/>
                  <a:gd name="T4" fmla="*/ 0 w 47"/>
                  <a:gd name="T5" fmla="*/ 75 h 75"/>
                  <a:gd name="T6" fmla="*/ 47 w 47"/>
                  <a:gd name="T7" fmla="*/ 47 h 75"/>
                  <a:gd name="T8" fmla="*/ 47 w 47"/>
                  <a:gd name="T9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75">
                    <a:moveTo>
                      <a:pt x="47" y="0"/>
                    </a:moveTo>
                    <a:lnTo>
                      <a:pt x="0" y="28"/>
                    </a:lnTo>
                    <a:lnTo>
                      <a:pt x="0" y="75"/>
                    </a:lnTo>
                    <a:lnTo>
                      <a:pt x="47" y="47"/>
                    </a:lnTo>
                    <a:lnTo>
                      <a:pt x="47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86" name="Freeform 360">
                <a:extLst>
                  <a:ext uri="{FF2B5EF4-FFF2-40B4-BE49-F238E27FC236}">
                    <a16:creationId xmlns:a16="http://schemas.microsoft.com/office/drawing/2014/main" id="{854C0F21-3CD9-F146-AC3C-13ED36ED57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63" y="3958"/>
                <a:ext cx="52" cy="75"/>
              </a:xfrm>
              <a:custGeom>
                <a:avLst/>
                <a:gdLst>
                  <a:gd name="T0" fmla="*/ 52 w 52"/>
                  <a:gd name="T1" fmla="*/ 75 h 75"/>
                  <a:gd name="T2" fmla="*/ 0 w 52"/>
                  <a:gd name="T3" fmla="*/ 47 h 75"/>
                  <a:gd name="T4" fmla="*/ 0 w 52"/>
                  <a:gd name="T5" fmla="*/ 0 h 75"/>
                  <a:gd name="T6" fmla="*/ 49 w 52"/>
                  <a:gd name="T7" fmla="*/ 28 h 75"/>
                  <a:gd name="T8" fmla="*/ 52 w 52"/>
                  <a:gd name="T9" fmla="*/ 75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75">
                    <a:moveTo>
                      <a:pt x="52" y="75"/>
                    </a:moveTo>
                    <a:lnTo>
                      <a:pt x="0" y="47"/>
                    </a:lnTo>
                    <a:lnTo>
                      <a:pt x="0" y="0"/>
                    </a:lnTo>
                    <a:lnTo>
                      <a:pt x="49" y="28"/>
                    </a:lnTo>
                    <a:lnTo>
                      <a:pt x="52" y="7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87" name="Freeform 361">
                <a:extLst>
                  <a:ext uri="{FF2B5EF4-FFF2-40B4-BE49-F238E27FC236}">
                    <a16:creationId xmlns:a16="http://schemas.microsoft.com/office/drawing/2014/main" id="{2FE474C7-71AC-4447-B747-76D165DD18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63" y="3958"/>
                <a:ext cx="52" cy="75"/>
              </a:xfrm>
              <a:custGeom>
                <a:avLst/>
                <a:gdLst>
                  <a:gd name="T0" fmla="*/ 52 w 52"/>
                  <a:gd name="T1" fmla="*/ 75 h 75"/>
                  <a:gd name="T2" fmla="*/ 0 w 52"/>
                  <a:gd name="T3" fmla="*/ 47 h 75"/>
                  <a:gd name="T4" fmla="*/ 0 w 52"/>
                  <a:gd name="T5" fmla="*/ 0 h 75"/>
                  <a:gd name="T6" fmla="*/ 49 w 52"/>
                  <a:gd name="T7" fmla="*/ 28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2" h="75">
                    <a:moveTo>
                      <a:pt x="52" y="75"/>
                    </a:moveTo>
                    <a:lnTo>
                      <a:pt x="0" y="47"/>
                    </a:lnTo>
                    <a:lnTo>
                      <a:pt x="0" y="0"/>
                    </a:lnTo>
                    <a:lnTo>
                      <a:pt x="49" y="28"/>
                    </a:lnTo>
                  </a:path>
                </a:pathLst>
              </a:custGeom>
              <a:noFill/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88" name="Freeform 362">
                <a:extLst>
                  <a:ext uri="{FF2B5EF4-FFF2-40B4-BE49-F238E27FC236}">
                    <a16:creationId xmlns:a16="http://schemas.microsoft.com/office/drawing/2014/main" id="{BBAF56DA-90F5-1749-A171-44BE5A486E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78" y="3996"/>
                <a:ext cx="137" cy="122"/>
              </a:xfrm>
              <a:custGeom>
                <a:avLst/>
                <a:gdLst>
                  <a:gd name="T0" fmla="*/ 137 w 137"/>
                  <a:gd name="T1" fmla="*/ 122 h 122"/>
                  <a:gd name="T2" fmla="*/ 0 w 137"/>
                  <a:gd name="T3" fmla="*/ 47 h 122"/>
                  <a:gd name="T4" fmla="*/ 0 w 137"/>
                  <a:gd name="T5" fmla="*/ 0 h 122"/>
                  <a:gd name="T6" fmla="*/ 134 w 137"/>
                  <a:gd name="T7" fmla="*/ 75 h 122"/>
                  <a:gd name="T8" fmla="*/ 137 w 137"/>
                  <a:gd name="T9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7" h="122">
                    <a:moveTo>
                      <a:pt x="137" y="122"/>
                    </a:moveTo>
                    <a:lnTo>
                      <a:pt x="0" y="47"/>
                    </a:lnTo>
                    <a:lnTo>
                      <a:pt x="0" y="0"/>
                    </a:lnTo>
                    <a:lnTo>
                      <a:pt x="134" y="75"/>
                    </a:lnTo>
                    <a:lnTo>
                      <a:pt x="137" y="12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89" name="Freeform 363">
                <a:extLst>
                  <a:ext uri="{FF2B5EF4-FFF2-40B4-BE49-F238E27FC236}">
                    <a16:creationId xmlns:a16="http://schemas.microsoft.com/office/drawing/2014/main" id="{0CCB9870-E9EF-C84F-B7F2-5B530421FC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78" y="3996"/>
                <a:ext cx="137" cy="122"/>
              </a:xfrm>
              <a:custGeom>
                <a:avLst/>
                <a:gdLst>
                  <a:gd name="T0" fmla="*/ 137 w 137"/>
                  <a:gd name="T1" fmla="*/ 122 h 122"/>
                  <a:gd name="T2" fmla="*/ 0 w 137"/>
                  <a:gd name="T3" fmla="*/ 47 h 122"/>
                  <a:gd name="T4" fmla="*/ 0 w 137"/>
                  <a:gd name="T5" fmla="*/ 0 h 122"/>
                  <a:gd name="T6" fmla="*/ 134 w 137"/>
                  <a:gd name="T7" fmla="*/ 75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7" h="122">
                    <a:moveTo>
                      <a:pt x="137" y="122"/>
                    </a:moveTo>
                    <a:lnTo>
                      <a:pt x="0" y="47"/>
                    </a:lnTo>
                    <a:lnTo>
                      <a:pt x="0" y="0"/>
                    </a:lnTo>
                    <a:lnTo>
                      <a:pt x="134" y="75"/>
                    </a:lnTo>
                  </a:path>
                </a:pathLst>
              </a:custGeom>
              <a:noFill/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90" name="Freeform 364">
                <a:extLst>
                  <a:ext uri="{FF2B5EF4-FFF2-40B4-BE49-F238E27FC236}">
                    <a16:creationId xmlns:a16="http://schemas.microsoft.com/office/drawing/2014/main" id="{E940DE88-9514-8A47-A9FB-E3AA807398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93" y="4033"/>
                <a:ext cx="217" cy="179"/>
              </a:xfrm>
              <a:custGeom>
                <a:avLst/>
                <a:gdLst>
                  <a:gd name="T0" fmla="*/ 0 w 217"/>
                  <a:gd name="T1" fmla="*/ 0 h 179"/>
                  <a:gd name="T2" fmla="*/ 217 w 217"/>
                  <a:gd name="T3" fmla="*/ 132 h 179"/>
                  <a:gd name="T4" fmla="*/ 217 w 217"/>
                  <a:gd name="T5" fmla="*/ 179 h 179"/>
                  <a:gd name="T6" fmla="*/ 0 w 217"/>
                  <a:gd name="T7" fmla="*/ 47 h 179"/>
                  <a:gd name="T8" fmla="*/ 0 w 217"/>
                  <a:gd name="T9" fmla="*/ 0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7" h="179">
                    <a:moveTo>
                      <a:pt x="0" y="0"/>
                    </a:moveTo>
                    <a:lnTo>
                      <a:pt x="217" y="132"/>
                    </a:lnTo>
                    <a:lnTo>
                      <a:pt x="217" y="179"/>
                    </a:lnTo>
                    <a:lnTo>
                      <a:pt x="0" y="4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91" name="Freeform 365">
                <a:extLst>
                  <a:ext uri="{FF2B5EF4-FFF2-40B4-BE49-F238E27FC236}">
                    <a16:creationId xmlns:a16="http://schemas.microsoft.com/office/drawing/2014/main" id="{3C1FA8E5-BEC9-4749-AFEB-576A9EBE81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34" y="3035"/>
                <a:ext cx="311" cy="961"/>
              </a:xfrm>
              <a:custGeom>
                <a:avLst/>
                <a:gdLst>
                  <a:gd name="T0" fmla="*/ 311 w 311"/>
                  <a:gd name="T1" fmla="*/ 0 h 961"/>
                  <a:gd name="T2" fmla="*/ 0 w 311"/>
                  <a:gd name="T3" fmla="*/ 179 h 961"/>
                  <a:gd name="T4" fmla="*/ 0 w 311"/>
                  <a:gd name="T5" fmla="*/ 961 h 961"/>
                  <a:gd name="T6" fmla="*/ 311 w 311"/>
                  <a:gd name="T7" fmla="*/ 782 h 961"/>
                  <a:gd name="T8" fmla="*/ 311 w 311"/>
                  <a:gd name="T9" fmla="*/ 0 h 9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1" h="961">
                    <a:moveTo>
                      <a:pt x="311" y="0"/>
                    </a:moveTo>
                    <a:lnTo>
                      <a:pt x="0" y="179"/>
                    </a:lnTo>
                    <a:lnTo>
                      <a:pt x="0" y="961"/>
                    </a:lnTo>
                    <a:lnTo>
                      <a:pt x="311" y="782"/>
                    </a:lnTo>
                    <a:lnTo>
                      <a:pt x="311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92" name="Freeform 366">
                <a:extLst>
                  <a:ext uri="{FF2B5EF4-FFF2-40B4-BE49-F238E27FC236}">
                    <a16:creationId xmlns:a16="http://schemas.microsoft.com/office/drawing/2014/main" id="{37EA8113-0F44-3440-913A-12F663BA59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13" y="3035"/>
                <a:ext cx="321" cy="961"/>
              </a:xfrm>
              <a:custGeom>
                <a:avLst/>
                <a:gdLst>
                  <a:gd name="T0" fmla="*/ 0 w 321"/>
                  <a:gd name="T1" fmla="*/ 0 h 961"/>
                  <a:gd name="T2" fmla="*/ 321 w 321"/>
                  <a:gd name="T3" fmla="*/ 179 h 961"/>
                  <a:gd name="T4" fmla="*/ 321 w 321"/>
                  <a:gd name="T5" fmla="*/ 961 h 961"/>
                  <a:gd name="T6" fmla="*/ 0 w 321"/>
                  <a:gd name="T7" fmla="*/ 782 h 961"/>
                  <a:gd name="T8" fmla="*/ 0 w 321"/>
                  <a:gd name="T9" fmla="*/ 0 h 9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1" h="961">
                    <a:moveTo>
                      <a:pt x="0" y="0"/>
                    </a:moveTo>
                    <a:lnTo>
                      <a:pt x="321" y="179"/>
                    </a:lnTo>
                    <a:lnTo>
                      <a:pt x="321" y="961"/>
                    </a:lnTo>
                    <a:lnTo>
                      <a:pt x="0" y="78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93" name="Freeform 367">
                <a:extLst>
                  <a:ext uri="{FF2B5EF4-FFF2-40B4-BE49-F238E27FC236}">
                    <a16:creationId xmlns:a16="http://schemas.microsoft.com/office/drawing/2014/main" id="{12302598-9E18-8647-AF0E-0F40EB5CFC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23" y="2851"/>
                <a:ext cx="631" cy="363"/>
              </a:xfrm>
              <a:custGeom>
                <a:avLst/>
                <a:gdLst>
                  <a:gd name="T0" fmla="*/ 0 w 631"/>
                  <a:gd name="T1" fmla="*/ 184 h 363"/>
                  <a:gd name="T2" fmla="*/ 313 w 631"/>
                  <a:gd name="T3" fmla="*/ 0 h 363"/>
                  <a:gd name="T4" fmla="*/ 631 w 631"/>
                  <a:gd name="T5" fmla="*/ 184 h 363"/>
                  <a:gd name="T6" fmla="*/ 320 w 631"/>
                  <a:gd name="T7" fmla="*/ 363 h 363"/>
                  <a:gd name="T8" fmla="*/ 0 w 631"/>
                  <a:gd name="T9" fmla="*/ 184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1" h="363">
                    <a:moveTo>
                      <a:pt x="0" y="184"/>
                    </a:moveTo>
                    <a:lnTo>
                      <a:pt x="313" y="0"/>
                    </a:lnTo>
                    <a:lnTo>
                      <a:pt x="631" y="184"/>
                    </a:lnTo>
                    <a:lnTo>
                      <a:pt x="320" y="363"/>
                    </a:lnTo>
                    <a:lnTo>
                      <a:pt x="0" y="184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94" name="Freeform 368">
                <a:extLst>
                  <a:ext uri="{FF2B5EF4-FFF2-40B4-BE49-F238E27FC236}">
                    <a16:creationId xmlns:a16="http://schemas.microsoft.com/office/drawing/2014/main" id="{094667BE-E14E-2849-BC85-678A55CC33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34" y="3732"/>
                <a:ext cx="273" cy="198"/>
              </a:xfrm>
              <a:custGeom>
                <a:avLst/>
                <a:gdLst>
                  <a:gd name="T0" fmla="*/ 273 w 273"/>
                  <a:gd name="T1" fmla="*/ 0 h 198"/>
                  <a:gd name="T2" fmla="*/ 0 w 273"/>
                  <a:gd name="T3" fmla="*/ 160 h 198"/>
                  <a:gd name="T4" fmla="*/ 0 w 273"/>
                  <a:gd name="T5" fmla="*/ 198 h 198"/>
                  <a:gd name="T6" fmla="*/ 273 w 273"/>
                  <a:gd name="T7" fmla="*/ 38 h 198"/>
                  <a:gd name="T8" fmla="*/ 273 w 273"/>
                  <a:gd name="T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3" h="198">
                    <a:moveTo>
                      <a:pt x="273" y="0"/>
                    </a:moveTo>
                    <a:lnTo>
                      <a:pt x="0" y="160"/>
                    </a:lnTo>
                    <a:lnTo>
                      <a:pt x="0" y="198"/>
                    </a:lnTo>
                    <a:lnTo>
                      <a:pt x="273" y="38"/>
                    </a:lnTo>
                    <a:lnTo>
                      <a:pt x="273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95" name="Freeform 369">
                <a:extLst>
                  <a:ext uri="{FF2B5EF4-FFF2-40B4-BE49-F238E27FC236}">
                    <a16:creationId xmlns:a16="http://schemas.microsoft.com/office/drawing/2014/main" id="{CD5D0F17-BCA8-7742-9A96-3ACECA76B2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34" y="3647"/>
                <a:ext cx="273" cy="198"/>
              </a:xfrm>
              <a:custGeom>
                <a:avLst/>
                <a:gdLst>
                  <a:gd name="T0" fmla="*/ 273 w 273"/>
                  <a:gd name="T1" fmla="*/ 0 h 198"/>
                  <a:gd name="T2" fmla="*/ 0 w 273"/>
                  <a:gd name="T3" fmla="*/ 160 h 198"/>
                  <a:gd name="T4" fmla="*/ 0 w 273"/>
                  <a:gd name="T5" fmla="*/ 198 h 198"/>
                  <a:gd name="T6" fmla="*/ 273 w 273"/>
                  <a:gd name="T7" fmla="*/ 38 h 198"/>
                  <a:gd name="T8" fmla="*/ 273 w 273"/>
                  <a:gd name="T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3" h="198">
                    <a:moveTo>
                      <a:pt x="273" y="0"/>
                    </a:moveTo>
                    <a:lnTo>
                      <a:pt x="0" y="160"/>
                    </a:lnTo>
                    <a:lnTo>
                      <a:pt x="0" y="198"/>
                    </a:lnTo>
                    <a:lnTo>
                      <a:pt x="273" y="38"/>
                    </a:lnTo>
                    <a:lnTo>
                      <a:pt x="273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96" name="Freeform 370">
                <a:extLst>
                  <a:ext uri="{FF2B5EF4-FFF2-40B4-BE49-F238E27FC236}">
                    <a16:creationId xmlns:a16="http://schemas.microsoft.com/office/drawing/2014/main" id="{AE3937E8-ADE7-074F-8F4B-187E2290DD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34" y="3562"/>
                <a:ext cx="273" cy="198"/>
              </a:xfrm>
              <a:custGeom>
                <a:avLst/>
                <a:gdLst>
                  <a:gd name="T0" fmla="*/ 273 w 273"/>
                  <a:gd name="T1" fmla="*/ 0 h 198"/>
                  <a:gd name="T2" fmla="*/ 0 w 273"/>
                  <a:gd name="T3" fmla="*/ 160 h 198"/>
                  <a:gd name="T4" fmla="*/ 0 w 273"/>
                  <a:gd name="T5" fmla="*/ 198 h 198"/>
                  <a:gd name="T6" fmla="*/ 273 w 273"/>
                  <a:gd name="T7" fmla="*/ 38 h 198"/>
                  <a:gd name="T8" fmla="*/ 273 w 273"/>
                  <a:gd name="T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3" h="198">
                    <a:moveTo>
                      <a:pt x="273" y="0"/>
                    </a:moveTo>
                    <a:lnTo>
                      <a:pt x="0" y="160"/>
                    </a:lnTo>
                    <a:lnTo>
                      <a:pt x="0" y="198"/>
                    </a:lnTo>
                    <a:lnTo>
                      <a:pt x="273" y="38"/>
                    </a:lnTo>
                    <a:lnTo>
                      <a:pt x="273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97" name="Freeform 371">
                <a:extLst>
                  <a:ext uri="{FF2B5EF4-FFF2-40B4-BE49-F238E27FC236}">
                    <a16:creationId xmlns:a16="http://schemas.microsoft.com/office/drawing/2014/main" id="{1476BB58-8565-084D-9ED2-D506034159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34" y="3478"/>
                <a:ext cx="273" cy="197"/>
              </a:xfrm>
              <a:custGeom>
                <a:avLst/>
                <a:gdLst>
                  <a:gd name="T0" fmla="*/ 273 w 273"/>
                  <a:gd name="T1" fmla="*/ 0 h 197"/>
                  <a:gd name="T2" fmla="*/ 0 w 273"/>
                  <a:gd name="T3" fmla="*/ 160 h 197"/>
                  <a:gd name="T4" fmla="*/ 0 w 273"/>
                  <a:gd name="T5" fmla="*/ 197 h 197"/>
                  <a:gd name="T6" fmla="*/ 273 w 273"/>
                  <a:gd name="T7" fmla="*/ 37 h 197"/>
                  <a:gd name="T8" fmla="*/ 273 w 273"/>
                  <a:gd name="T9" fmla="*/ 0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3" h="197">
                    <a:moveTo>
                      <a:pt x="273" y="0"/>
                    </a:moveTo>
                    <a:lnTo>
                      <a:pt x="0" y="160"/>
                    </a:lnTo>
                    <a:lnTo>
                      <a:pt x="0" y="197"/>
                    </a:lnTo>
                    <a:lnTo>
                      <a:pt x="273" y="37"/>
                    </a:lnTo>
                    <a:lnTo>
                      <a:pt x="273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98" name="Freeform 372">
                <a:extLst>
                  <a:ext uri="{FF2B5EF4-FFF2-40B4-BE49-F238E27FC236}">
                    <a16:creationId xmlns:a16="http://schemas.microsoft.com/office/drawing/2014/main" id="{CF6F45CF-2184-4140-94F4-5962E48CD7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34" y="3393"/>
                <a:ext cx="273" cy="198"/>
              </a:xfrm>
              <a:custGeom>
                <a:avLst/>
                <a:gdLst>
                  <a:gd name="T0" fmla="*/ 273 w 273"/>
                  <a:gd name="T1" fmla="*/ 0 h 198"/>
                  <a:gd name="T2" fmla="*/ 0 w 273"/>
                  <a:gd name="T3" fmla="*/ 160 h 198"/>
                  <a:gd name="T4" fmla="*/ 0 w 273"/>
                  <a:gd name="T5" fmla="*/ 198 h 198"/>
                  <a:gd name="T6" fmla="*/ 273 w 273"/>
                  <a:gd name="T7" fmla="*/ 37 h 198"/>
                  <a:gd name="T8" fmla="*/ 273 w 273"/>
                  <a:gd name="T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3" h="198">
                    <a:moveTo>
                      <a:pt x="273" y="0"/>
                    </a:moveTo>
                    <a:lnTo>
                      <a:pt x="0" y="160"/>
                    </a:lnTo>
                    <a:lnTo>
                      <a:pt x="0" y="198"/>
                    </a:lnTo>
                    <a:lnTo>
                      <a:pt x="273" y="37"/>
                    </a:lnTo>
                    <a:lnTo>
                      <a:pt x="273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199" name="Freeform 373">
                <a:extLst>
                  <a:ext uri="{FF2B5EF4-FFF2-40B4-BE49-F238E27FC236}">
                    <a16:creationId xmlns:a16="http://schemas.microsoft.com/office/drawing/2014/main" id="{78887A3D-0449-A741-B9AC-9A6019A0EC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34" y="3308"/>
                <a:ext cx="273" cy="198"/>
              </a:xfrm>
              <a:custGeom>
                <a:avLst/>
                <a:gdLst>
                  <a:gd name="T0" fmla="*/ 273 w 273"/>
                  <a:gd name="T1" fmla="*/ 0 h 198"/>
                  <a:gd name="T2" fmla="*/ 0 w 273"/>
                  <a:gd name="T3" fmla="*/ 160 h 198"/>
                  <a:gd name="T4" fmla="*/ 0 w 273"/>
                  <a:gd name="T5" fmla="*/ 198 h 198"/>
                  <a:gd name="T6" fmla="*/ 273 w 273"/>
                  <a:gd name="T7" fmla="*/ 38 h 198"/>
                  <a:gd name="T8" fmla="*/ 273 w 273"/>
                  <a:gd name="T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3" h="198">
                    <a:moveTo>
                      <a:pt x="273" y="0"/>
                    </a:moveTo>
                    <a:lnTo>
                      <a:pt x="0" y="160"/>
                    </a:lnTo>
                    <a:lnTo>
                      <a:pt x="0" y="198"/>
                    </a:lnTo>
                    <a:lnTo>
                      <a:pt x="273" y="38"/>
                    </a:lnTo>
                    <a:lnTo>
                      <a:pt x="273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00" name="Freeform 374">
                <a:extLst>
                  <a:ext uri="{FF2B5EF4-FFF2-40B4-BE49-F238E27FC236}">
                    <a16:creationId xmlns:a16="http://schemas.microsoft.com/office/drawing/2014/main" id="{02627388-A9F6-C742-8BE6-CAF7F9DA57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34" y="3223"/>
                <a:ext cx="273" cy="198"/>
              </a:xfrm>
              <a:custGeom>
                <a:avLst/>
                <a:gdLst>
                  <a:gd name="T0" fmla="*/ 273 w 273"/>
                  <a:gd name="T1" fmla="*/ 0 h 198"/>
                  <a:gd name="T2" fmla="*/ 0 w 273"/>
                  <a:gd name="T3" fmla="*/ 160 h 198"/>
                  <a:gd name="T4" fmla="*/ 0 w 273"/>
                  <a:gd name="T5" fmla="*/ 198 h 198"/>
                  <a:gd name="T6" fmla="*/ 273 w 273"/>
                  <a:gd name="T7" fmla="*/ 38 h 198"/>
                  <a:gd name="T8" fmla="*/ 273 w 273"/>
                  <a:gd name="T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3" h="198">
                    <a:moveTo>
                      <a:pt x="273" y="0"/>
                    </a:moveTo>
                    <a:lnTo>
                      <a:pt x="0" y="160"/>
                    </a:lnTo>
                    <a:lnTo>
                      <a:pt x="0" y="198"/>
                    </a:lnTo>
                    <a:lnTo>
                      <a:pt x="273" y="38"/>
                    </a:lnTo>
                    <a:lnTo>
                      <a:pt x="273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01" name="Freeform 375">
                <a:extLst>
                  <a:ext uri="{FF2B5EF4-FFF2-40B4-BE49-F238E27FC236}">
                    <a16:creationId xmlns:a16="http://schemas.microsoft.com/office/drawing/2014/main" id="{FB263B5B-3E29-F241-B089-2188D65AAA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34" y="3138"/>
                <a:ext cx="273" cy="198"/>
              </a:xfrm>
              <a:custGeom>
                <a:avLst/>
                <a:gdLst>
                  <a:gd name="T0" fmla="*/ 273 w 273"/>
                  <a:gd name="T1" fmla="*/ 0 h 198"/>
                  <a:gd name="T2" fmla="*/ 0 w 273"/>
                  <a:gd name="T3" fmla="*/ 161 h 198"/>
                  <a:gd name="T4" fmla="*/ 0 w 273"/>
                  <a:gd name="T5" fmla="*/ 198 h 198"/>
                  <a:gd name="T6" fmla="*/ 273 w 273"/>
                  <a:gd name="T7" fmla="*/ 38 h 198"/>
                  <a:gd name="T8" fmla="*/ 273 w 273"/>
                  <a:gd name="T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3" h="198">
                    <a:moveTo>
                      <a:pt x="273" y="0"/>
                    </a:moveTo>
                    <a:lnTo>
                      <a:pt x="0" y="161"/>
                    </a:lnTo>
                    <a:lnTo>
                      <a:pt x="0" y="198"/>
                    </a:lnTo>
                    <a:lnTo>
                      <a:pt x="273" y="38"/>
                    </a:lnTo>
                    <a:lnTo>
                      <a:pt x="273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02" name="Freeform 376">
                <a:extLst>
                  <a:ext uri="{FF2B5EF4-FFF2-40B4-BE49-F238E27FC236}">
                    <a16:creationId xmlns:a16="http://schemas.microsoft.com/office/drawing/2014/main" id="{778FB7EB-F526-3944-99A8-BC0BE3FDB1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60" y="3732"/>
                <a:ext cx="274" cy="198"/>
              </a:xfrm>
              <a:custGeom>
                <a:avLst/>
                <a:gdLst>
                  <a:gd name="T0" fmla="*/ 0 w 274"/>
                  <a:gd name="T1" fmla="*/ 0 h 198"/>
                  <a:gd name="T2" fmla="*/ 274 w 274"/>
                  <a:gd name="T3" fmla="*/ 160 h 198"/>
                  <a:gd name="T4" fmla="*/ 274 w 274"/>
                  <a:gd name="T5" fmla="*/ 198 h 198"/>
                  <a:gd name="T6" fmla="*/ 0 w 274"/>
                  <a:gd name="T7" fmla="*/ 38 h 198"/>
                  <a:gd name="T8" fmla="*/ 0 w 274"/>
                  <a:gd name="T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4" h="198">
                    <a:moveTo>
                      <a:pt x="0" y="0"/>
                    </a:moveTo>
                    <a:lnTo>
                      <a:pt x="274" y="160"/>
                    </a:lnTo>
                    <a:lnTo>
                      <a:pt x="274" y="198"/>
                    </a:lnTo>
                    <a:lnTo>
                      <a:pt x="0" y="3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03" name="Freeform 377">
                <a:extLst>
                  <a:ext uri="{FF2B5EF4-FFF2-40B4-BE49-F238E27FC236}">
                    <a16:creationId xmlns:a16="http://schemas.microsoft.com/office/drawing/2014/main" id="{09175384-14E6-FE48-A317-7BE4455CC1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60" y="3647"/>
                <a:ext cx="274" cy="198"/>
              </a:xfrm>
              <a:custGeom>
                <a:avLst/>
                <a:gdLst>
                  <a:gd name="T0" fmla="*/ 0 w 274"/>
                  <a:gd name="T1" fmla="*/ 0 h 198"/>
                  <a:gd name="T2" fmla="*/ 274 w 274"/>
                  <a:gd name="T3" fmla="*/ 160 h 198"/>
                  <a:gd name="T4" fmla="*/ 274 w 274"/>
                  <a:gd name="T5" fmla="*/ 198 h 198"/>
                  <a:gd name="T6" fmla="*/ 0 w 274"/>
                  <a:gd name="T7" fmla="*/ 38 h 198"/>
                  <a:gd name="T8" fmla="*/ 0 w 274"/>
                  <a:gd name="T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4" h="198">
                    <a:moveTo>
                      <a:pt x="0" y="0"/>
                    </a:moveTo>
                    <a:lnTo>
                      <a:pt x="274" y="160"/>
                    </a:lnTo>
                    <a:lnTo>
                      <a:pt x="274" y="198"/>
                    </a:lnTo>
                    <a:lnTo>
                      <a:pt x="0" y="3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04" name="Freeform 378">
                <a:extLst>
                  <a:ext uri="{FF2B5EF4-FFF2-40B4-BE49-F238E27FC236}">
                    <a16:creationId xmlns:a16="http://schemas.microsoft.com/office/drawing/2014/main" id="{1F60C4A9-60E3-6E49-852A-817476AB3A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60" y="3562"/>
                <a:ext cx="274" cy="198"/>
              </a:xfrm>
              <a:custGeom>
                <a:avLst/>
                <a:gdLst>
                  <a:gd name="T0" fmla="*/ 0 w 274"/>
                  <a:gd name="T1" fmla="*/ 0 h 198"/>
                  <a:gd name="T2" fmla="*/ 274 w 274"/>
                  <a:gd name="T3" fmla="*/ 160 h 198"/>
                  <a:gd name="T4" fmla="*/ 274 w 274"/>
                  <a:gd name="T5" fmla="*/ 198 h 198"/>
                  <a:gd name="T6" fmla="*/ 0 w 274"/>
                  <a:gd name="T7" fmla="*/ 38 h 198"/>
                  <a:gd name="T8" fmla="*/ 0 w 274"/>
                  <a:gd name="T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4" h="198">
                    <a:moveTo>
                      <a:pt x="0" y="0"/>
                    </a:moveTo>
                    <a:lnTo>
                      <a:pt x="274" y="160"/>
                    </a:lnTo>
                    <a:lnTo>
                      <a:pt x="274" y="198"/>
                    </a:lnTo>
                    <a:lnTo>
                      <a:pt x="0" y="3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05" name="Freeform 379">
                <a:extLst>
                  <a:ext uri="{FF2B5EF4-FFF2-40B4-BE49-F238E27FC236}">
                    <a16:creationId xmlns:a16="http://schemas.microsoft.com/office/drawing/2014/main" id="{5D0EE861-5F9F-0049-947D-C324AE394D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60" y="3478"/>
                <a:ext cx="274" cy="197"/>
              </a:xfrm>
              <a:custGeom>
                <a:avLst/>
                <a:gdLst>
                  <a:gd name="T0" fmla="*/ 0 w 274"/>
                  <a:gd name="T1" fmla="*/ 0 h 197"/>
                  <a:gd name="T2" fmla="*/ 274 w 274"/>
                  <a:gd name="T3" fmla="*/ 160 h 197"/>
                  <a:gd name="T4" fmla="*/ 274 w 274"/>
                  <a:gd name="T5" fmla="*/ 197 h 197"/>
                  <a:gd name="T6" fmla="*/ 0 w 274"/>
                  <a:gd name="T7" fmla="*/ 37 h 197"/>
                  <a:gd name="T8" fmla="*/ 0 w 274"/>
                  <a:gd name="T9" fmla="*/ 0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4" h="197">
                    <a:moveTo>
                      <a:pt x="0" y="0"/>
                    </a:moveTo>
                    <a:lnTo>
                      <a:pt x="274" y="160"/>
                    </a:lnTo>
                    <a:lnTo>
                      <a:pt x="274" y="197"/>
                    </a:lnTo>
                    <a:lnTo>
                      <a:pt x="0" y="3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06" name="Freeform 380">
                <a:extLst>
                  <a:ext uri="{FF2B5EF4-FFF2-40B4-BE49-F238E27FC236}">
                    <a16:creationId xmlns:a16="http://schemas.microsoft.com/office/drawing/2014/main" id="{555446A5-03C9-0B46-BF62-38E91A6E39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60" y="3393"/>
                <a:ext cx="274" cy="198"/>
              </a:xfrm>
              <a:custGeom>
                <a:avLst/>
                <a:gdLst>
                  <a:gd name="T0" fmla="*/ 0 w 274"/>
                  <a:gd name="T1" fmla="*/ 0 h 198"/>
                  <a:gd name="T2" fmla="*/ 274 w 274"/>
                  <a:gd name="T3" fmla="*/ 160 h 198"/>
                  <a:gd name="T4" fmla="*/ 274 w 274"/>
                  <a:gd name="T5" fmla="*/ 198 h 198"/>
                  <a:gd name="T6" fmla="*/ 0 w 274"/>
                  <a:gd name="T7" fmla="*/ 37 h 198"/>
                  <a:gd name="T8" fmla="*/ 0 w 274"/>
                  <a:gd name="T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4" h="198">
                    <a:moveTo>
                      <a:pt x="0" y="0"/>
                    </a:moveTo>
                    <a:lnTo>
                      <a:pt x="274" y="160"/>
                    </a:lnTo>
                    <a:lnTo>
                      <a:pt x="274" y="198"/>
                    </a:lnTo>
                    <a:lnTo>
                      <a:pt x="0" y="3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07" name="Freeform 381">
                <a:extLst>
                  <a:ext uri="{FF2B5EF4-FFF2-40B4-BE49-F238E27FC236}">
                    <a16:creationId xmlns:a16="http://schemas.microsoft.com/office/drawing/2014/main" id="{B79F4897-A247-3B44-A4A8-C330B5CBF5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60" y="3308"/>
                <a:ext cx="274" cy="198"/>
              </a:xfrm>
              <a:custGeom>
                <a:avLst/>
                <a:gdLst>
                  <a:gd name="T0" fmla="*/ 0 w 274"/>
                  <a:gd name="T1" fmla="*/ 0 h 198"/>
                  <a:gd name="T2" fmla="*/ 274 w 274"/>
                  <a:gd name="T3" fmla="*/ 160 h 198"/>
                  <a:gd name="T4" fmla="*/ 274 w 274"/>
                  <a:gd name="T5" fmla="*/ 198 h 198"/>
                  <a:gd name="T6" fmla="*/ 0 w 274"/>
                  <a:gd name="T7" fmla="*/ 38 h 198"/>
                  <a:gd name="T8" fmla="*/ 0 w 274"/>
                  <a:gd name="T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4" h="198">
                    <a:moveTo>
                      <a:pt x="0" y="0"/>
                    </a:moveTo>
                    <a:lnTo>
                      <a:pt x="274" y="160"/>
                    </a:lnTo>
                    <a:lnTo>
                      <a:pt x="274" y="198"/>
                    </a:lnTo>
                    <a:lnTo>
                      <a:pt x="0" y="3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08" name="Freeform 382">
                <a:extLst>
                  <a:ext uri="{FF2B5EF4-FFF2-40B4-BE49-F238E27FC236}">
                    <a16:creationId xmlns:a16="http://schemas.microsoft.com/office/drawing/2014/main" id="{B997C644-5074-7842-855A-3B968AF1D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60" y="3223"/>
                <a:ext cx="274" cy="198"/>
              </a:xfrm>
              <a:custGeom>
                <a:avLst/>
                <a:gdLst>
                  <a:gd name="T0" fmla="*/ 0 w 274"/>
                  <a:gd name="T1" fmla="*/ 0 h 198"/>
                  <a:gd name="T2" fmla="*/ 274 w 274"/>
                  <a:gd name="T3" fmla="*/ 160 h 198"/>
                  <a:gd name="T4" fmla="*/ 274 w 274"/>
                  <a:gd name="T5" fmla="*/ 198 h 198"/>
                  <a:gd name="T6" fmla="*/ 0 w 274"/>
                  <a:gd name="T7" fmla="*/ 38 h 198"/>
                  <a:gd name="T8" fmla="*/ 0 w 274"/>
                  <a:gd name="T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4" h="198">
                    <a:moveTo>
                      <a:pt x="0" y="0"/>
                    </a:moveTo>
                    <a:lnTo>
                      <a:pt x="274" y="160"/>
                    </a:lnTo>
                    <a:lnTo>
                      <a:pt x="274" y="198"/>
                    </a:lnTo>
                    <a:lnTo>
                      <a:pt x="0" y="3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09" name="Freeform 383">
                <a:extLst>
                  <a:ext uri="{FF2B5EF4-FFF2-40B4-BE49-F238E27FC236}">
                    <a16:creationId xmlns:a16="http://schemas.microsoft.com/office/drawing/2014/main" id="{0C0754E0-E198-B748-9524-50D6BF05E6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60" y="3138"/>
                <a:ext cx="274" cy="198"/>
              </a:xfrm>
              <a:custGeom>
                <a:avLst/>
                <a:gdLst>
                  <a:gd name="T0" fmla="*/ 0 w 274"/>
                  <a:gd name="T1" fmla="*/ 0 h 198"/>
                  <a:gd name="T2" fmla="*/ 274 w 274"/>
                  <a:gd name="T3" fmla="*/ 161 h 198"/>
                  <a:gd name="T4" fmla="*/ 274 w 274"/>
                  <a:gd name="T5" fmla="*/ 198 h 198"/>
                  <a:gd name="T6" fmla="*/ 0 w 274"/>
                  <a:gd name="T7" fmla="*/ 38 h 198"/>
                  <a:gd name="T8" fmla="*/ 0 w 274"/>
                  <a:gd name="T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4" h="198">
                    <a:moveTo>
                      <a:pt x="0" y="0"/>
                    </a:moveTo>
                    <a:lnTo>
                      <a:pt x="274" y="161"/>
                    </a:lnTo>
                    <a:lnTo>
                      <a:pt x="274" y="198"/>
                    </a:lnTo>
                    <a:lnTo>
                      <a:pt x="0" y="3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10" name="Freeform 384">
                <a:extLst>
                  <a:ext uri="{FF2B5EF4-FFF2-40B4-BE49-F238E27FC236}">
                    <a16:creationId xmlns:a16="http://schemas.microsoft.com/office/drawing/2014/main" id="{39E0FCBB-1DC0-B84D-A921-DFADF0F5EC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34" y="2988"/>
                <a:ext cx="217" cy="179"/>
              </a:xfrm>
              <a:custGeom>
                <a:avLst/>
                <a:gdLst>
                  <a:gd name="T0" fmla="*/ 217 w 217"/>
                  <a:gd name="T1" fmla="*/ 0 h 179"/>
                  <a:gd name="T2" fmla="*/ 0 w 217"/>
                  <a:gd name="T3" fmla="*/ 132 h 179"/>
                  <a:gd name="T4" fmla="*/ 0 w 217"/>
                  <a:gd name="T5" fmla="*/ 179 h 179"/>
                  <a:gd name="T6" fmla="*/ 217 w 217"/>
                  <a:gd name="T7" fmla="*/ 47 h 179"/>
                  <a:gd name="T8" fmla="*/ 217 w 217"/>
                  <a:gd name="T9" fmla="*/ 0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7" h="179">
                    <a:moveTo>
                      <a:pt x="217" y="0"/>
                    </a:moveTo>
                    <a:lnTo>
                      <a:pt x="0" y="132"/>
                    </a:lnTo>
                    <a:lnTo>
                      <a:pt x="0" y="179"/>
                    </a:lnTo>
                    <a:lnTo>
                      <a:pt x="217" y="47"/>
                    </a:lnTo>
                    <a:lnTo>
                      <a:pt x="217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11" name="Freeform 385">
                <a:extLst>
                  <a:ext uri="{FF2B5EF4-FFF2-40B4-BE49-F238E27FC236}">
                    <a16:creationId xmlns:a16="http://schemas.microsoft.com/office/drawing/2014/main" id="{CDAC7DDA-3CC1-2A4C-B832-70FA40F56E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34" y="2950"/>
                <a:ext cx="132" cy="122"/>
              </a:xfrm>
              <a:custGeom>
                <a:avLst/>
                <a:gdLst>
                  <a:gd name="T0" fmla="*/ 132 w 132"/>
                  <a:gd name="T1" fmla="*/ 0 h 122"/>
                  <a:gd name="T2" fmla="*/ 0 w 132"/>
                  <a:gd name="T3" fmla="*/ 75 h 122"/>
                  <a:gd name="T4" fmla="*/ 0 w 132"/>
                  <a:gd name="T5" fmla="*/ 122 h 122"/>
                  <a:gd name="T6" fmla="*/ 132 w 132"/>
                  <a:gd name="T7" fmla="*/ 47 h 122"/>
                  <a:gd name="T8" fmla="*/ 132 w 132"/>
                  <a:gd name="T9" fmla="*/ 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2" h="122">
                    <a:moveTo>
                      <a:pt x="132" y="0"/>
                    </a:moveTo>
                    <a:lnTo>
                      <a:pt x="0" y="75"/>
                    </a:lnTo>
                    <a:lnTo>
                      <a:pt x="0" y="122"/>
                    </a:lnTo>
                    <a:lnTo>
                      <a:pt x="132" y="47"/>
                    </a:lnTo>
                    <a:lnTo>
                      <a:pt x="132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12" name="Freeform 386">
                <a:extLst>
                  <a:ext uri="{FF2B5EF4-FFF2-40B4-BE49-F238E27FC236}">
                    <a16:creationId xmlns:a16="http://schemas.microsoft.com/office/drawing/2014/main" id="{89650C99-D6B4-204C-91C4-4D3DD836E4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34" y="2912"/>
                <a:ext cx="47" cy="76"/>
              </a:xfrm>
              <a:custGeom>
                <a:avLst/>
                <a:gdLst>
                  <a:gd name="T0" fmla="*/ 47 w 47"/>
                  <a:gd name="T1" fmla="*/ 0 h 76"/>
                  <a:gd name="T2" fmla="*/ 0 w 47"/>
                  <a:gd name="T3" fmla="*/ 29 h 76"/>
                  <a:gd name="T4" fmla="*/ 0 w 47"/>
                  <a:gd name="T5" fmla="*/ 76 h 76"/>
                  <a:gd name="T6" fmla="*/ 47 w 47"/>
                  <a:gd name="T7" fmla="*/ 47 h 76"/>
                  <a:gd name="T8" fmla="*/ 47 w 47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76">
                    <a:moveTo>
                      <a:pt x="47" y="0"/>
                    </a:moveTo>
                    <a:lnTo>
                      <a:pt x="0" y="29"/>
                    </a:lnTo>
                    <a:lnTo>
                      <a:pt x="0" y="76"/>
                    </a:lnTo>
                    <a:lnTo>
                      <a:pt x="47" y="47"/>
                    </a:lnTo>
                    <a:lnTo>
                      <a:pt x="47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13" name="Freeform 387">
                <a:extLst>
                  <a:ext uri="{FF2B5EF4-FFF2-40B4-BE49-F238E27FC236}">
                    <a16:creationId xmlns:a16="http://schemas.microsoft.com/office/drawing/2014/main" id="{576A8256-9878-9642-BAB5-D93CC4E3CE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87" y="2912"/>
                <a:ext cx="52" cy="76"/>
              </a:xfrm>
              <a:custGeom>
                <a:avLst/>
                <a:gdLst>
                  <a:gd name="T0" fmla="*/ 52 w 52"/>
                  <a:gd name="T1" fmla="*/ 76 h 76"/>
                  <a:gd name="T2" fmla="*/ 0 w 52"/>
                  <a:gd name="T3" fmla="*/ 47 h 76"/>
                  <a:gd name="T4" fmla="*/ 0 w 52"/>
                  <a:gd name="T5" fmla="*/ 0 h 76"/>
                  <a:gd name="T6" fmla="*/ 49 w 52"/>
                  <a:gd name="T7" fmla="*/ 29 h 76"/>
                  <a:gd name="T8" fmla="*/ 52 w 52"/>
                  <a:gd name="T9" fmla="*/ 76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76">
                    <a:moveTo>
                      <a:pt x="52" y="76"/>
                    </a:moveTo>
                    <a:lnTo>
                      <a:pt x="0" y="47"/>
                    </a:lnTo>
                    <a:lnTo>
                      <a:pt x="0" y="0"/>
                    </a:lnTo>
                    <a:lnTo>
                      <a:pt x="49" y="29"/>
                    </a:lnTo>
                    <a:lnTo>
                      <a:pt x="52" y="7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14" name="Freeform 388">
                <a:extLst>
                  <a:ext uri="{FF2B5EF4-FFF2-40B4-BE49-F238E27FC236}">
                    <a16:creationId xmlns:a16="http://schemas.microsoft.com/office/drawing/2014/main" id="{2096F719-2C68-A04A-BD9C-14E6355AE2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87" y="2912"/>
                <a:ext cx="52" cy="76"/>
              </a:xfrm>
              <a:custGeom>
                <a:avLst/>
                <a:gdLst>
                  <a:gd name="T0" fmla="*/ 52 w 52"/>
                  <a:gd name="T1" fmla="*/ 76 h 76"/>
                  <a:gd name="T2" fmla="*/ 0 w 52"/>
                  <a:gd name="T3" fmla="*/ 47 h 76"/>
                  <a:gd name="T4" fmla="*/ 0 w 52"/>
                  <a:gd name="T5" fmla="*/ 0 h 76"/>
                  <a:gd name="T6" fmla="*/ 49 w 52"/>
                  <a:gd name="T7" fmla="*/ 29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2" h="76">
                    <a:moveTo>
                      <a:pt x="52" y="76"/>
                    </a:moveTo>
                    <a:lnTo>
                      <a:pt x="0" y="47"/>
                    </a:lnTo>
                    <a:lnTo>
                      <a:pt x="0" y="0"/>
                    </a:lnTo>
                    <a:lnTo>
                      <a:pt x="49" y="29"/>
                    </a:lnTo>
                  </a:path>
                </a:pathLst>
              </a:custGeom>
              <a:noFill/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15" name="Freeform 389">
                <a:extLst>
                  <a:ext uri="{FF2B5EF4-FFF2-40B4-BE49-F238E27FC236}">
                    <a16:creationId xmlns:a16="http://schemas.microsoft.com/office/drawing/2014/main" id="{5A6761A1-E7C6-A74A-A938-E34603F66E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02" y="2950"/>
                <a:ext cx="137" cy="122"/>
              </a:xfrm>
              <a:custGeom>
                <a:avLst/>
                <a:gdLst>
                  <a:gd name="T0" fmla="*/ 137 w 137"/>
                  <a:gd name="T1" fmla="*/ 122 h 122"/>
                  <a:gd name="T2" fmla="*/ 0 w 137"/>
                  <a:gd name="T3" fmla="*/ 47 h 122"/>
                  <a:gd name="T4" fmla="*/ 0 w 137"/>
                  <a:gd name="T5" fmla="*/ 0 h 122"/>
                  <a:gd name="T6" fmla="*/ 134 w 137"/>
                  <a:gd name="T7" fmla="*/ 75 h 122"/>
                  <a:gd name="T8" fmla="*/ 137 w 137"/>
                  <a:gd name="T9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7" h="122">
                    <a:moveTo>
                      <a:pt x="137" y="122"/>
                    </a:moveTo>
                    <a:lnTo>
                      <a:pt x="0" y="47"/>
                    </a:lnTo>
                    <a:lnTo>
                      <a:pt x="0" y="0"/>
                    </a:lnTo>
                    <a:lnTo>
                      <a:pt x="134" y="75"/>
                    </a:lnTo>
                    <a:lnTo>
                      <a:pt x="137" y="12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16" name="Freeform 390">
                <a:extLst>
                  <a:ext uri="{FF2B5EF4-FFF2-40B4-BE49-F238E27FC236}">
                    <a16:creationId xmlns:a16="http://schemas.microsoft.com/office/drawing/2014/main" id="{264031C9-E469-E14E-AFA9-AC8621DDE6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02" y="2950"/>
                <a:ext cx="137" cy="122"/>
              </a:xfrm>
              <a:custGeom>
                <a:avLst/>
                <a:gdLst>
                  <a:gd name="T0" fmla="*/ 137 w 137"/>
                  <a:gd name="T1" fmla="*/ 122 h 122"/>
                  <a:gd name="T2" fmla="*/ 0 w 137"/>
                  <a:gd name="T3" fmla="*/ 47 h 122"/>
                  <a:gd name="T4" fmla="*/ 0 w 137"/>
                  <a:gd name="T5" fmla="*/ 0 h 122"/>
                  <a:gd name="T6" fmla="*/ 134 w 137"/>
                  <a:gd name="T7" fmla="*/ 75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7" h="122">
                    <a:moveTo>
                      <a:pt x="137" y="122"/>
                    </a:moveTo>
                    <a:lnTo>
                      <a:pt x="0" y="47"/>
                    </a:lnTo>
                    <a:lnTo>
                      <a:pt x="0" y="0"/>
                    </a:lnTo>
                    <a:lnTo>
                      <a:pt x="134" y="75"/>
                    </a:lnTo>
                  </a:path>
                </a:pathLst>
              </a:custGeom>
              <a:noFill/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17" name="Freeform 391">
                <a:extLst>
                  <a:ext uri="{FF2B5EF4-FFF2-40B4-BE49-F238E27FC236}">
                    <a16:creationId xmlns:a16="http://schemas.microsoft.com/office/drawing/2014/main" id="{24835E09-8336-3440-827E-C3559A4FCF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17" y="2988"/>
                <a:ext cx="217" cy="179"/>
              </a:xfrm>
              <a:custGeom>
                <a:avLst/>
                <a:gdLst>
                  <a:gd name="T0" fmla="*/ 0 w 217"/>
                  <a:gd name="T1" fmla="*/ 0 h 179"/>
                  <a:gd name="T2" fmla="*/ 217 w 217"/>
                  <a:gd name="T3" fmla="*/ 132 h 179"/>
                  <a:gd name="T4" fmla="*/ 217 w 217"/>
                  <a:gd name="T5" fmla="*/ 179 h 179"/>
                  <a:gd name="T6" fmla="*/ 0 w 217"/>
                  <a:gd name="T7" fmla="*/ 47 h 179"/>
                  <a:gd name="T8" fmla="*/ 0 w 217"/>
                  <a:gd name="T9" fmla="*/ 0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7" h="179">
                    <a:moveTo>
                      <a:pt x="0" y="0"/>
                    </a:moveTo>
                    <a:lnTo>
                      <a:pt x="217" y="132"/>
                    </a:lnTo>
                    <a:lnTo>
                      <a:pt x="217" y="179"/>
                    </a:lnTo>
                    <a:lnTo>
                      <a:pt x="0" y="4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18" name="Freeform 392">
                <a:extLst>
                  <a:ext uri="{FF2B5EF4-FFF2-40B4-BE49-F238E27FC236}">
                    <a16:creationId xmlns:a16="http://schemas.microsoft.com/office/drawing/2014/main" id="{A9B1A5BA-101A-E04A-80A8-5AC854D38A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47" y="4662"/>
                <a:ext cx="179" cy="568"/>
              </a:xfrm>
              <a:custGeom>
                <a:avLst/>
                <a:gdLst>
                  <a:gd name="T0" fmla="*/ 179 w 179"/>
                  <a:gd name="T1" fmla="*/ 0 h 568"/>
                  <a:gd name="T2" fmla="*/ 0 w 179"/>
                  <a:gd name="T3" fmla="*/ 106 h 568"/>
                  <a:gd name="T4" fmla="*/ 0 w 179"/>
                  <a:gd name="T5" fmla="*/ 568 h 568"/>
                  <a:gd name="T6" fmla="*/ 179 w 179"/>
                  <a:gd name="T7" fmla="*/ 462 h 568"/>
                  <a:gd name="T8" fmla="*/ 179 w 179"/>
                  <a:gd name="T9" fmla="*/ 0 h 5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9" h="568">
                    <a:moveTo>
                      <a:pt x="179" y="0"/>
                    </a:moveTo>
                    <a:lnTo>
                      <a:pt x="0" y="106"/>
                    </a:lnTo>
                    <a:lnTo>
                      <a:pt x="0" y="568"/>
                    </a:lnTo>
                    <a:lnTo>
                      <a:pt x="179" y="462"/>
                    </a:lnTo>
                    <a:lnTo>
                      <a:pt x="179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19" name="Freeform 393">
                <a:extLst>
                  <a:ext uri="{FF2B5EF4-FFF2-40B4-BE49-F238E27FC236}">
                    <a16:creationId xmlns:a16="http://schemas.microsoft.com/office/drawing/2014/main" id="{A11C1A2D-8F17-7F4B-9A6D-9978CAF339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75" y="5105"/>
                <a:ext cx="47" cy="80"/>
              </a:xfrm>
              <a:custGeom>
                <a:avLst/>
                <a:gdLst>
                  <a:gd name="T0" fmla="*/ 47 w 47"/>
                  <a:gd name="T1" fmla="*/ 0 h 80"/>
                  <a:gd name="T2" fmla="*/ 0 w 47"/>
                  <a:gd name="T3" fmla="*/ 30 h 80"/>
                  <a:gd name="T4" fmla="*/ 0 w 47"/>
                  <a:gd name="T5" fmla="*/ 80 h 80"/>
                  <a:gd name="T6" fmla="*/ 47 w 47"/>
                  <a:gd name="T7" fmla="*/ 52 h 80"/>
                  <a:gd name="T8" fmla="*/ 47 w 47"/>
                  <a:gd name="T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80">
                    <a:moveTo>
                      <a:pt x="47" y="0"/>
                    </a:moveTo>
                    <a:lnTo>
                      <a:pt x="0" y="30"/>
                    </a:lnTo>
                    <a:lnTo>
                      <a:pt x="0" y="80"/>
                    </a:lnTo>
                    <a:lnTo>
                      <a:pt x="47" y="52"/>
                    </a:lnTo>
                    <a:lnTo>
                      <a:pt x="47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20" name="Freeform 394">
                <a:extLst>
                  <a:ext uri="{FF2B5EF4-FFF2-40B4-BE49-F238E27FC236}">
                    <a16:creationId xmlns:a16="http://schemas.microsoft.com/office/drawing/2014/main" id="{B5D090CE-39B2-B143-8C18-7C5A4DFC5A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75" y="5015"/>
                <a:ext cx="47" cy="80"/>
              </a:xfrm>
              <a:custGeom>
                <a:avLst/>
                <a:gdLst>
                  <a:gd name="T0" fmla="*/ 47 w 47"/>
                  <a:gd name="T1" fmla="*/ 0 h 80"/>
                  <a:gd name="T2" fmla="*/ 0 w 47"/>
                  <a:gd name="T3" fmla="*/ 31 h 80"/>
                  <a:gd name="T4" fmla="*/ 0 w 47"/>
                  <a:gd name="T5" fmla="*/ 80 h 80"/>
                  <a:gd name="T6" fmla="*/ 47 w 47"/>
                  <a:gd name="T7" fmla="*/ 50 h 80"/>
                  <a:gd name="T8" fmla="*/ 47 w 47"/>
                  <a:gd name="T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80">
                    <a:moveTo>
                      <a:pt x="47" y="0"/>
                    </a:moveTo>
                    <a:lnTo>
                      <a:pt x="0" y="31"/>
                    </a:lnTo>
                    <a:lnTo>
                      <a:pt x="0" y="80"/>
                    </a:lnTo>
                    <a:lnTo>
                      <a:pt x="47" y="50"/>
                    </a:lnTo>
                    <a:lnTo>
                      <a:pt x="47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21" name="Freeform 395">
                <a:extLst>
                  <a:ext uri="{FF2B5EF4-FFF2-40B4-BE49-F238E27FC236}">
                    <a16:creationId xmlns:a16="http://schemas.microsoft.com/office/drawing/2014/main" id="{891B5931-8FF6-B142-A597-14A4E35E1F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75" y="4926"/>
                <a:ext cx="47" cy="78"/>
              </a:xfrm>
              <a:custGeom>
                <a:avLst/>
                <a:gdLst>
                  <a:gd name="T0" fmla="*/ 47 w 47"/>
                  <a:gd name="T1" fmla="*/ 0 h 78"/>
                  <a:gd name="T2" fmla="*/ 0 w 47"/>
                  <a:gd name="T3" fmla="*/ 28 h 78"/>
                  <a:gd name="T4" fmla="*/ 0 w 47"/>
                  <a:gd name="T5" fmla="*/ 78 h 78"/>
                  <a:gd name="T6" fmla="*/ 47 w 47"/>
                  <a:gd name="T7" fmla="*/ 49 h 78"/>
                  <a:gd name="T8" fmla="*/ 47 w 47"/>
                  <a:gd name="T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78">
                    <a:moveTo>
                      <a:pt x="47" y="0"/>
                    </a:moveTo>
                    <a:lnTo>
                      <a:pt x="0" y="28"/>
                    </a:lnTo>
                    <a:lnTo>
                      <a:pt x="0" y="78"/>
                    </a:lnTo>
                    <a:lnTo>
                      <a:pt x="47" y="49"/>
                    </a:lnTo>
                    <a:lnTo>
                      <a:pt x="47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22" name="Freeform 396">
                <a:extLst>
                  <a:ext uri="{FF2B5EF4-FFF2-40B4-BE49-F238E27FC236}">
                    <a16:creationId xmlns:a16="http://schemas.microsoft.com/office/drawing/2014/main" id="{B8F868CB-4EA1-AA4D-BAB9-0AC3054AE4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75" y="4834"/>
                <a:ext cx="47" cy="80"/>
              </a:xfrm>
              <a:custGeom>
                <a:avLst/>
                <a:gdLst>
                  <a:gd name="T0" fmla="*/ 47 w 47"/>
                  <a:gd name="T1" fmla="*/ 0 h 80"/>
                  <a:gd name="T2" fmla="*/ 0 w 47"/>
                  <a:gd name="T3" fmla="*/ 31 h 80"/>
                  <a:gd name="T4" fmla="*/ 0 w 47"/>
                  <a:gd name="T5" fmla="*/ 80 h 80"/>
                  <a:gd name="T6" fmla="*/ 47 w 47"/>
                  <a:gd name="T7" fmla="*/ 50 h 80"/>
                  <a:gd name="T8" fmla="*/ 47 w 47"/>
                  <a:gd name="T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80">
                    <a:moveTo>
                      <a:pt x="47" y="0"/>
                    </a:moveTo>
                    <a:lnTo>
                      <a:pt x="0" y="31"/>
                    </a:lnTo>
                    <a:lnTo>
                      <a:pt x="0" y="80"/>
                    </a:lnTo>
                    <a:lnTo>
                      <a:pt x="47" y="50"/>
                    </a:lnTo>
                    <a:lnTo>
                      <a:pt x="47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23" name="Freeform 397">
                <a:extLst>
                  <a:ext uri="{FF2B5EF4-FFF2-40B4-BE49-F238E27FC236}">
                    <a16:creationId xmlns:a16="http://schemas.microsoft.com/office/drawing/2014/main" id="{54E5C7A0-7E86-BE4E-8FDB-07155A55A3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75" y="4745"/>
                <a:ext cx="47" cy="80"/>
              </a:xfrm>
              <a:custGeom>
                <a:avLst/>
                <a:gdLst>
                  <a:gd name="T0" fmla="*/ 47 w 47"/>
                  <a:gd name="T1" fmla="*/ 0 h 80"/>
                  <a:gd name="T2" fmla="*/ 0 w 47"/>
                  <a:gd name="T3" fmla="*/ 30 h 80"/>
                  <a:gd name="T4" fmla="*/ 0 w 47"/>
                  <a:gd name="T5" fmla="*/ 80 h 80"/>
                  <a:gd name="T6" fmla="*/ 47 w 47"/>
                  <a:gd name="T7" fmla="*/ 49 h 80"/>
                  <a:gd name="T8" fmla="*/ 47 w 47"/>
                  <a:gd name="T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80">
                    <a:moveTo>
                      <a:pt x="47" y="0"/>
                    </a:moveTo>
                    <a:lnTo>
                      <a:pt x="0" y="30"/>
                    </a:lnTo>
                    <a:lnTo>
                      <a:pt x="0" y="80"/>
                    </a:lnTo>
                    <a:lnTo>
                      <a:pt x="47" y="49"/>
                    </a:lnTo>
                    <a:lnTo>
                      <a:pt x="47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24" name="Freeform 398">
                <a:extLst>
                  <a:ext uri="{FF2B5EF4-FFF2-40B4-BE49-F238E27FC236}">
                    <a16:creationId xmlns:a16="http://schemas.microsoft.com/office/drawing/2014/main" id="{78BCD894-244F-604F-9306-0723714688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0" y="5067"/>
                <a:ext cx="57" cy="80"/>
              </a:xfrm>
              <a:custGeom>
                <a:avLst/>
                <a:gdLst>
                  <a:gd name="T0" fmla="*/ 57 w 57"/>
                  <a:gd name="T1" fmla="*/ 0 h 80"/>
                  <a:gd name="T2" fmla="*/ 0 w 57"/>
                  <a:gd name="T3" fmla="*/ 28 h 80"/>
                  <a:gd name="T4" fmla="*/ 0 w 57"/>
                  <a:gd name="T5" fmla="*/ 80 h 80"/>
                  <a:gd name="T6" fmla="*/ 57 w 57"/>
                  <a:gd name="T7" fmla="*/ 50 h 80"/>
                  <a:gd name="T8" fmla="*/ 57 w 57"/>
                  <a:gd name="T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80">
                    <a:moveTo>
                      <a:pt x="57" y="0"/>
                    </a:moveTo>
                    <a:lnTo>
                      <a:pt x="0" y="28"/>
                    </a:lnTo>
                    <a:lnTo>
                      <a:pt x="0" y="80"/>
                    </a:lnTo>
                    <a:lnTo>
                      <a:pt x="57" y="50"/>
                    </a:lnTo>
                    <a:lnTo>
                      <a:pt x="57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25" name="Freeform 399">
                <a:extLst>
                  <a:ext uri="{FF2B5EF4-FFF2-40B4-BE49-F238E27FC236}">
                    <a16:creationId xmlns:a16="http://schemas.microsoft.com/office/drawing/2014/main" id="{2425A95A-CC39-5E4E-A303-F8D74B4E22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0" y="4978"/>
                <a:ext cx="57" cy="77"/>
              </a:xfrm>
              <a:custGeom>
                <a:avLst/>
                <a:gdLst>
                  <a:gd name="T0" fmla="*/ 57 w 57"/>
                  <a:gd name="T1" fmla="*/ 0 h 77"/>
                  <a:gd name="T2" fmla="*/ 0 w 57"/>
                  <a:gd name="T3" fmla="*/ 28 h 77"/>
                  <a:gd name="T4" fmla="*/ 0 w 57"/>
                  <a:gd name="T5" fmla="*/ 77 h 77"/>
                  <a:gd name="T6" fmla="*/ 57 w 57"/>
                  <a:gd name="T7" fmla="*/ 49 h 77"/>
                  <a:gd name="T8" fmla="*/ 57 w 57"/>
                  <a:gd name="T9" fmla="*/ 0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77">
                    <a:moveTo>
                      <a:pt x="57" y="0"/>
                    </a:moveTo>
                    <a:lnTo>
                      <a:pt x="0" y="28"/>
                    </a:lnTo>
                    <a:lnTo>
                      <a:pt x="0" y="77"/>
                    </a:lnTo>
                    <a:lnTo>
                      <a:pt x="57" y="49"/>
                    </a:lnTo>
                    <a:lnTo>
                      <a:pt x="57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26" name="Freeform 400">
                <a:extLst>
                  <a:ext uri="{FF2B5EF4-FFF2-40B4-BE49-F238E27FC236}">
                    <a16:creationId xmlns:a16="http://schemas.microsoft.com/office/drawing/2014/main" id="{E124E504-86EB-FD44-8F35-39C047DD55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0" y="4886"/>
                <a:ext cx="57" cy="80"/>
              </a:xfrm>
              <a:custGeom>
                <a:avLst/>
                <a:gdLst>
                  <a:gd name="T0" fmla="*/ 57 w 57"/>
                  <a:gd name="T1" fmla="*/ 0 h 80"/>
                  <a:gd name="T2" fmla="*/ 0 w 57"/>
                  <a:gd name="T3" fmla="*/ 30 h 80"/>
                  <a:gd name="T4" fmla="*/ 0 w 57"/>
                  <a:gd name="T5" fmla="*/ 80 h 80"/>
                  <a:gd name="T6" fmla="*/ 57 w 57"/>
                  <a:gd name="T7" fmla="*/ 49 h 80"/>
                  <a:gd name="T8" fmla="*/ 57 w 57"/>
                  <a:gd name="T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80">
                    <a:moveTo>
                      <a:pt x="57" y="0"/>
                    </a:moveTo>
                    <a:lnTo>
                      <a:pt x="0" y="30"/>
                    </a:lnTo>
                    <a:lnTo>
                      <a:pt x="0" y="80"/>
                    </a:lnTo>
                    <a:lnTo>
                      <a:pt x="57" y="49"/>
                    </a:lnTo>
                    <a:lnTo>
                      <a:pt x="57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27" name="Freeform 401">
                <a:extLst>
                  <a:ext uri="{FF2B5EF4-FFF2-40B4-BE49-F238E27FC236}">
                    <a16:creationId xmlns:a16="http://schemas.microsoft.com/office/drawing/2014/main" id="{57146F26-17DF-6B46-AFF8-CC58AD0B1A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0" y="4796"/>
                <a:ext cx="57" cy="78"/>
              </a:xfrm>
              <a:custGeom>
                <a:avLst/>
                <a:gdLst>
                  <a:gd name="T0" fmla="*/ 57 w 57"/>
                  <a:gd name="T1" fmla="*/ 0 h 78"/>
                  <a:gd name="T2" fmla="*/ 0 w 57"/>
                  <a:gd name="T3" fmla="*/ 29 h 78"/>
                  <a:gd name="T4" fmla="*/ 0 w 57"/>
                  <a:gd name="T5" fmla="*/ 78 h 78"/>
                  <a:gd name="T6" fmla="*/ 57 w 57"/>
                  <a:gd name="T7" fmla="*/ 50 h 78"/>
                  <a:gd name="T8" fmla="*/ 57 w 57"/>
                  <a:gd name="T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78">
                    <a:moveTo>
                      <a:pt x="57" y="0"/>
                    </a:moveTo>
                    <a:lnTo>
                      <a:pt x="0" y="29"/>
                    </a:lnTo>
                    <a:lnTo>
                      <a:pt x="0" y="78"/>
                    </a:lnTo>
                    <a:lnTo>
                      <a:pt x="57" y="50"/>
                    </a:lnTo>
                    <a:lnTo>
                      <a:pt x="57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28" name="Freeform 402">
                <a:extLst>
                  <a:ext uri="{FF2B5EF4-FFF2-40B4-BE49-F238E27FC236}">
                    <a16:creationId xmlns:a16="http://schemas.microsoft.com/office/drawing/2014/main" id="{CC6CF3C1-64B0-D04B-AFC1-AA2C974FAA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0" y="4705"/>
                <a:ext cx="57" cy="80"/>
              </a:xfrm>
              <a:custGeom>
                <a:avLst/>
                <a:gdLst>
                  <a:gd name="T0" fmla="*/ 57 w 57"/>
                  <a:gd name="T1" fmla="*/ 0 h 80"/>
                  <a:gd name="T2" fmla="*/ 0 w 57"/>
                  <a:gd name="T3" fmla="*/ 30 h 80"/>
                  <a:gd name="T4" fmla="*/ 0 w 57"/>
                  <a:gd name="T5" fmla="*/ 80 h 80"/>
                  <a:gd name="T6" fmla="*/ 57 w 57"/>
                  <a:gd name="T7" fmla="*/ 51 h 80"/>
                  <a:gd name="T8" fmla="*/ 57 w 57"/>
                  <a:gd name="T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80">
                    <a:moveTo>
                      <a:pt x="57" y="0"/>
                    </a:moveTo>
                    <a:lnTo>
                      <a:pt x="0" y="30"/>
                    </a:lnTo>
                    <a:lnTo>
                      <a:pt x="0" y="80"/>
                    </a:lnTo>
                    <a:lnTo>
                      <a:pt x="57" y="51"/>
                    </a:lnTo>
                    <a:lnTo>
                      <a:pt x="57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29" name="Freeform 403">
                <a:extLst>
                  <a:ext uri="{FF2B5EF4-FFF2-40B4-BE49-F238E27FC236}">
                    <a16:creationId xmlns:a16="http://schemas.microsoft.com/office/drawing/2014/main" id="{3F4BE3C6-297E-744D-AE80-D3E54D2A7F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81" y="5105"/>
                <a:ext cx="47" cy="80"/>
              </a:xfrm>
              <a:custGeom>
                <a:avLst/>
                <a:gdLst>
                  <a:gd name="T0" fmla="*/ 0 w 47"/>
                  <a:gd name="T1" fmla="*/ 0 h 80"/>
                  <a:gd name="T2" fmla="*/ 47 w 47"/>
                  <a:gd name="T3" fmla="*/ 30 h 80"/>
                  <a:gd name="T4" fmla="*/ 47 w 47"/>
                  <a:gd name="T5" fmla="*/ 80 h 80"/>
                  <a:gd name="T6" fmla="*/ 0 w 47"/>
                  <a:gd name="T7" fmla="*/ 52 h 80"/>
                  <a:gd name="T8" fmla="*/ 0 w 47"/>
                  <a:gd name="T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80">
                    <a:moveTo>
                      <a:pt x="0" y="0"/>
                    </a:moveTo>
                    <a:lnTo>
                      <a:pt x="47" y="30"/>
                    </a:lnTo>
                    <a:lnTo>
                      <a:pt x="47" y="80"/>
                    </a:lnTo>
                    <a:lnTo>
                      <a:pt x="0" y="5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30" name="Freeform 404">
                <a:extLst>
                  <a:ext uri="{FF2B5EF4-FFF2-40B4-BE49-F238E27FC236}">
                    <a16:creationId xmlns:a16="http://schemas.microsoft.com/office/drawing/2014/main" id="{0872DE31-979F-754A-A96C-3E003BE1FC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81" y="5015"/>
                <a:ext cx="47" cy="80"/>
              </a:xfrm>
              <a:custGeom>
                <a:avLst/>
                <a:gdLst>
                  <a:gd name="T0" fmla="*/ 0 w 47"/>
                  <a:gd name="T1" fmla="*/ 0 h 80"/>
                  <a:gd name="T2" fmla="*/ 47 w 47"/>
                  <a:gd name="T3" fmla="*/ 31 h 80"/>
                  <a:gd name="T4" fmla="*/ 47 w 47"/>
                  <a:gd name="T5" fmla="*/ 80 h 80"/>
                  <a:gd name="T6" fmla="*/ 0 w 47"/>
                  <a:gd name="T7" fmla="*/ 50 h 80"/>
                  <a:gd name="T8" fmla="*/ 0 w 47"/>
                  <a:gd name="T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80">
                    <a:moveTo>
                      <a:pt x="0" y="0"/>
                    </a:moveTo>
                    <a:lnTo>
                      <a:pt x="47" y="31"/>
                    </a:lnTo>
                    <a:lnTo>
                      <a:pt x="47" y="80"/>
                    </a:lnTo>
                    <a:lnTo>
                      <a:pt x="0" y="5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31" name="Freeform 405">
                <a:extLst>
                  <a:ext uri="{FF2B5EF4-FFF2-40B4-BE49-F238E27FC236}">
                    <a16:creationId xmlns:a16="http://schemas.microsoft.com/office/drawing/2014/main" id="{1C3B3D6F-6733-984C-813D-4309D9CDC8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81" y="4926"/>
                <a:ext cx="47" cy="78"/>
              </a:xfrm>
              <a:custGeom>
                <a:avLst/>
                <a:gdLst>
                  <a:gd name="T0" fmla="*/ 0 w 47"/>
                  <a:gd name="T1" fmla="*/ 0 h 78"/>
                  <a:gd name="T2" fmla="*/ 47 w 47"/>
                  <a:gd name="T3" fmla="*/ 28 h 78"/>
                  <a:gd name="T4" fmla="*/ 47 w 47"/>
                  <a:gd name="T5" fmla="*/ 78 h 78"/>
                  <a:gd name="T6" fmla="*/ 0 w 47"/>
                  <a:gd name="T7" fmla="*/ 49 h 78"/>
                  <a:gd name="T8" fmla="*/ 0 w 47"/>
                  <a:gd name="T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78">
                    <a:moveTo>
                      <a:pt x="0" y="0"/>
                    </a:moveTo>
                    <a:lnTo>
                      <a:pt x="47" y="28"/>
                    </a:lnTo>
                    <a:lnTo>
                      <a:pt x="47" y="78"/>
                    </a:lnTo>
                    <a:lnTo>
                      <a:pt x="0" y="4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32" name="Freeform 406">
                <a:extLst>
                  <a:ext uri="{FF2B5EF4-FFF2-40B4-BE49-F238E27FC236}">
                    <a16:creationId xmlns:a16="http://schemas.microsoft.com/office/drawing/2014/main" id="{0B40B66F-8748-014B-9ECA-F009B32AF7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81" y="4834"/>
                <a:ext cx="47" cy="80"/>
              </a:xfrm>
              <a:custGeom>
                <a:avLst/>
                <a:gdLst>
                  <a:gd name="T0" fmla="*/ 0 w 47"/>
                  <a:gd name="T1" fmla="*/ 0 h 80"/>
                  <a:gd name="T2" fmla="*/ 47 w 47"/>
                  <a:gd name="T3" fmla="*/ 31 h 80"/>
                  <a:gd name="T4" fmla="*/ 47 w 47"/>
                  <a:gd name="T5" fmla="*/ 80 h 80"/>
                  <a:gd name="T6" fmla="*/ 0 w 47"/>
                  <a:gd name="T7" fmla="*/ 50 h 80"/>
                  <a:gd name="T8" fmla="*/ 0 w 47"/>
                  <a:gd name="T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80">
                    <a:moveTo>
                      <a:pt x="0" y="0"/>
                    </a:moveTo>
                    <a:lnTo>
                      <a:pt x="47" y="31"/>
                    </a:lnTo>
                    <a:lnTo>
                      <a:pt x="47" y="80"/>
                    </a:lnTo>
                    <a:lnTo>
                      <a:pt x="0" y="5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33" name="Freeform 407">
                <a:extLst>
                  <a:ext uri="{FF2B5EF4-FFF2-40B4-BE49-F238E27FC236}">
                    <a16:creationId xmlns:a16="http://schemas.microsoft.com/office/drawing/2014/main" id="{B793764B-A730-C146-97A1-EF8D4F6B2A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81" y="4745"/>
                <a:ext cx="47" cy="80"/>
              </a:xfrm>
              <a:custGeom>
                <a:avLst/>
                <a:gdLst>
                  <a:gd name="T0" fmla="*/ 0 w 47"/>
                  <a:gd name="T1" fmla="*/ 0 h 80"/>
                  <a:gd name="T2" fmla="*/ 47 w 47"/>
                  <a:gd name="T3" fmla="*/ 30 h 80"/>
                  <a:gd name="T4" fmla="*/ 47 w 47"/>
                  <a:gd name="T5" fmla="*/ 80 h 80"/>
                  <a:gd name="T6" fmla="*/ 0 w 47"/>
                  <a:gd name="T7" fmla="*/ 49 h 80"/>
                  <a:gd name="T8" fmla="*/ 0 w 47"/>
                  <a:gd name="T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80">
                    <a:moveTo>
                      <a:pt x="0" y="0"/>
                    </a:moveTo>
                    <a:lnTo>
                      <a:pt x="47" y="30"/>
                    </a:lnTo>
                    <a:lnTo>
                      <a:pt x="47" y="80"/>
                    </a:lnTo>
                    <a:lnTo>
                      <a:pt x="0" y="4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34" name="Freeform 408">
                <a:extLst>
                  <a:ext uri="{FF2B5EF4-FFF2-40B4-BE49-F238E27FC236}">
                    <a16:creationId xmlns:a16="http://schemas.microsoft.com/office/drawing/2014/main" id="{E8900032-F29B-D44B-A741-AC469E79F8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5" y="5067"/>
                <a:ext cx="47" cy="80"/>
              </a:xfrm>
              <a:custGeom>
                <a:avLst/>
                <a:gdLst>
                  <a:gd name="T0" fmla="*/ 0 w 47"/>
                  <a:gd name="T1" fmla="*/ 0 h 80"/>
                  <a:gd name="T2" fmla="*/ 47 w 47"/>
                  <a:gd name="T3" fmla="*/ 28 h 80"/>
                  <a:gd name="T4" fmla="*/ 47 w 47"/>
                  <a:gd name="T5" fmla="*/ 80 h 80"/>
                  <a:gd name="T6" fmla="*/ 0 w 47"/>
                  <a:gd name="T7" fmla="*/ 50 h 80"/>
                  <a:gd name="T8" fmla="*/ 0 w 47"/>
                  <a:gd name="T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80">
                    <a:moveTo>
                      <a:pt x="0" y="0"/>
                    </a:moveTo>
                    <a:lnTo>
                      <a:pt x="47" y="28"/>
                    </a:lnTo>
                    <a:lnTo>
                      <a:pt x="47" y="80"/>
                    </a:lnTo>
                    <a:lnTo>
                      <a:pt x="0" y="5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35" name="Freeform 409">
                <a:extLst>
                  <a:ext uri="{FF2B5EF4-FFF2-40B4-BE49-F238E27FC236}">
                    <a16:creationId xmlns:a16="http://schemas.microsoft.com/office/drawing/2014/main" id="{8DD0AE53-E4FC-DC4B-8F1B-34973AD600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5" y="4978"/>
                <a:ext cx="47" cy="77"/>
              </a:xfrm>
              <a:custGeom>
                <a:avLst/>
                <a:gdLst>
                  <a:gd name="T0" fmla="*/ 0 w 47"/>
                  <a:gd name="T1" fmla="*/ 0 h 77"/>
                  <a:gd name="T2" fmla="*/ 47 w 47"/>
                  <a:gd name="T3" fmla="*/ 28 h 77"/>
                  <a:gd name="T4" fmla="*/ 47 w 47"/>
                  <a:gd name="T5" fmla="*/ 77 h 77"/>
                  <a:gd name="T6" fmla="*/ 0 w 47"/>
                  <a:gd name="T7" fmla="*/ 49 h 77"/>
                  <a:gd name="T8" fmla="*/ 0 w 47"/>
                  <a:gd name="T9" fmla="*/ 0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77">
                    <a:moveTo>
                      <a:pt x="0" y="0"/>
                    </a:moveTo>
                    <a:lnTo>
                      <a:pt x="47" y="28"/>
                    </a:lnTo>
                    <a:lnTo>
                      <a:pt x="47" y="77"/>
                    </a:lnTo>
                    <a:lnTo>
                      <a:pt x="0" y="4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36" name="Freeform 410">
                <a:extLst>
                  <a:ext uri="{FF2B5EF4-FFF2-40B4-BE49-F238E27FC236}">
                    <a16:creationId xmlns:a16="http://schemas.microsoft.com/office/drawing/2014/main" id="{F662507E-9D40-3A49-B006-2DC51298AC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5" y="4886"/>
                <a:ext cx="47" cy="80"/>
              </a:xfrm>
              <a:custGeom>
                <a:avLst/>
                <a:gdLst>
                  <a:gd name="T0" fmla="*/ 0 w 47"/>
                  <a:gd name="T1" fmla="*/ 0 h 80"/>
                  <a:gd name="T2" fmla="*/ 47 w 47"/>
                  <a:gd name="T3" fmla="*/ 30 h 80"/>
                  <a:gd name="T4" fmla="*/ 47 w 47"/>
                  <a:gd name="T5" fmla="*/ 80 h 80"/>
                  <a:gd name="T6" fmla="*/ 0 w 47"/>
                  <a:gd name="T7" fmla="*/ 49 h 80"/>
                  <a:gd name="T8" fmla="*/ 0 w 47"/>
                  <a:gd name="T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80">
                    <a:moveTo>
                      <a:pt x="0" y="0"/>
                    </a:moveTo>
                    <a:lnTo>
                      <a:pt x="47" y="30"/>
                    </a:lnTo>
                    <a:lnTo>
                      <a:pt x="47" y="80"/>
                    </a:lnTo>
                    <a:lnTo>
                      <a:pt x="0" y="4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37" name="Freeform 411">
                <a:extLst>
                  <a:ext uri="{FF2B5EF4-FFF2-40B4-BE49-F238E27FC236}">
                    <a16:creationId xmlns:a16="http://schemas.microsoft.com/office/drawing/2014/main" id="{6A0C77E7-18CC-6A4D-B885-D6F4E59638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5" y="4796"/>
                <a:ext cx="47" cy="78"/>
              </a:xfrm>
              <a:custGeom>
                <a:avLst/>
                <a:gdLst>
                  <a:gd name="T0" fmla="*/ 0 w 47"/>
                  <a:gd name="T1" fmla="*/ 0 h 78"/>
                  <a:gd name="T2" fmla="*/ 47 w 47"/>
                  <a:gd name="T3" fmla="*/ 29 h 78"/>
                  <a:gd name="T4" fmla="*/ 47 w 47"/>
                  <a:gd name="T5" fmla="*/ 78 h 78"/>
                  <a:gd name="T6" fmla="*/ 0 w 47"/>
                  <a:gd name="T7" fmla="*/ 50 h 78"/>
                  <a:gd name="T8" fmla="*/ 0 w 47"/>
                  <a:gd name="T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78">
                    <a:moveTo>
                      <a:pt x="0" y="0"/>
                    </a:moveTo>
                    <a:lnTo>
                      <a:pt x="47" y="29"/>
                    </a:lnTo>
                    <a:lnTo>
                      <a:pt x="47" y="78"/>
                    </a:lnTo>
                    <a:lnTo>
                      <a:pt x="0" y="5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38" name="Freeform 412">
                <a:extLst>
                  <a:ext uri="{FF2B5EF4-FFF2-40B4-BE49-F238E27FC236}">
                    <a16:creationId xmlns:a16="http://schemas.microsoft.com/office/drawing/2014/main" id="{208B5331-E1BF-FD48-9A5A-7E8DE7E229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5" y="4705"/>
                <a:ext cx="47" cy="80"/>
              </a:xfrm>
              <a:custGeom>
                <a:avLst/>
                <a:gdLst>
                  <a:gd name="T0" fmla="*/ 0 w 47"/>
                  <a:gd name="T1" fmla="*/ 0 h 80"/>
                  <a:gd name="T2" fmla="*/ 47 w 47"/>
                  <a:gd name="T3" fmla="*/ 30 h 80"/>
                  <a:gd name="T4" fmla="*/ 47 w 47"/>
                  <a:gd name="T5" fmla="*/ 80 h 80"/>
                  <a:gd name="T6" fmla="*/ 0 w 47"/>
                  <a:gd name="T7" fmla="*/ 51 h 80"/>
                  <a:gd name="T8" fmla="*/ 0 w 47"/>
                  <a:gd name="T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80">
                    <a:moveTo>
                      <a:pt x="0" y="0"/>
                    </a:moveTo>
                    <a:lnTo>
                      <a:pt x="47" y="30"/>
                    </a:lnTo>
                    <a:lnTo>
                      <a:pt x="47" y="80"/>
                    </a:lnTo>
                    <a:lnTo>
                      <a:pt x="0" y="5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39" name="Freeform 413">
                <a:extLst>
                  <a:ext uri="{FF2B5EF4-FFF2-40B4-BE49-F238E27FC236}">
                    <a16:creationId xmlns:a16="http://schemas.microsoft.com/office/drawing/2014/main" id="{57D5B699-42FA-814A-92BA-C783413346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58" y="4662"/>
                <a:ext cx="189" cy="568"/>
              </a:xfrm>
              <a:custGeom>
                <a:avLst/>
                <a:gdLst>
                  <a:gd name="T0" fmla="*/ 0 w 189"/>
                  <a:gd name="T1" fmla="*/ 0 h 568"/>
                  <a:gd name="T2" fmla="*/ 189 w 189"/>
                  <a:gd name="T3" fmla="*/ 106 h 568"/>
                  <a:gd name="T4" fmla="*/ 189 w 189"/>
                  <a:gd name="T5" fmla="*/ 568 h 568"/>
                  <a:gd name="T6" fmla="*/ 0 w 189"/>
                  <a:gd name="T7" fmla="*/ 462 h 568"/>
                  <a:gd name="T8" fmla="*/ 0 w 189"/>
                  <a:gd name="T9" fmla="*/ 0 h 5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9" h="568">
                    <a:moveTo>
                      <a:pt x="0" y="0"/>
                    </a:moveTo>
                    <a:lnTo>
                      <a:pt x="189" y="106"/>
                    </a:lnTo>
                    <a:lnTo>
                      <a:pt x="189" y="568"/>
                    </a:lnTo>
                    <a:lnTo>
                      <a:pt x="0" y="46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40" name="Freeform 414">
                <a:extLst>
                  <a:ext uri="{FF2B5EF4-FFF2-40B4-BE49-F238E27FC236}">
                    <a16:creationId xmlns:a16="http://schemas.microsoft.com/office/drawing/2014/main" id="{408B2DF6-5987-3C4C-9727-FD6104A59B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63" y="4497"/>
                <a:ext cx="191" cy="271"/>
              </a:xfrm>
              <a:custGeom>
                <a:avLst/>
                <a:gdLst>
                  <a:gd name="T0" fmla="*/ 186 w 191"/>
                  <a:gd name="T1" fmla="*/ 271 h 271"/>
                  <a:gd name="T2" fmla="*/ 191 w 191"/>
                  <a:gd name="T3" fmla="*/ 0 h 271"/>
                  <a:gd name="T4" fmla="*/ 0 w 191"/>
                  <a:gd name="T5" fmla="*/ 165 h 271"/>
                  <a:gd name="T6" fmla="*/ 186 w 191"/>
                  <a:gd name="T7" fmla="*/ 271 h 2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1" h="271">
                    <a:moveTo>
                      <a:pt x="186" y="271"/>
                    </a:moveTo>
                    <a:lnTo>
                      <a:pt x="191" y="0"/>
                    </a:lnTo>
                    <a:lnTo>
                      <a:pt x="0" y="165"/>
                    </a:lnTo>
                    <a:lnTo>
                      <a:pt x="186" y="271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41" name="Freeform 415">
                <a:extLst>
                  <a:ext uri="{FF2B5EF4-FFF2-40B4-BE49-F238E27FC236}">
                    <a16:creationId xmlns:a16="http://schemas.microsoft.com/office/drawing/2014/main" id="{E752F306-EF96-F14F-9CFE-4C0B746318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49" y="4497"/>
                <a:ext cx="186" cy="271"/>
              </a:xfrm>
              <a:custGeom>
                <a:avLst/>
                <a:gdLst>
                  <a:gd name="T0" fmla="*/ 186 w 186"/>
                  <a:gd name="T1" fmla="*/ 165 h 271"/>
                  <a:gd name="T2" fmla="*/ 5 w 186"/>
                  <a:gd name="T3" fmla="*/ 0 h 271"/>
                  <a:gd name="T4" fmla="*/ 0 w 186"/>
                  <a:gd name="T5" fmla="*/ 271 h 271"/>
                  <a:gd name="T6" fmla="*/ 186 w 186"/>
                  <a:gd name="T7" fmla="*/ 165 h 2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6" h="271">
                    <a:moveTo>
                      <a:pt x="186" y="165"/>
                    </a:moveTo>
                    <a:lnTo>
                      <a:pt x="5" y="0"/>
                    </a:lnTo>
                    <a:lnTo>
                      <a:pt x="0" y="271"/>
                    </a:lnTo>
                    <a:lnTo>
                      <a:pt x="186" y="165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42" name="Freeform 416">
                <a:extLst>
                  <a:ext uri="{FF2B5EF4-FFF2-40B4-BE49-F238E27FC236}">
                    <a16:creationId xmlns:a16="http://schemas.microsoft.com/office/drawing/2014/main" id="{BC97E2C4-EFC2-8444-B93C-38635EFE94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92" y="4803"/>
                <a:ext cx="179" cy="568"/>
              </a:xfrm>
              <a:custGeom>
                <a:avLst/>
                <a:gdLst>
                  <a:gd name="T0" fmla="*/ 179 w 179"/>
                  <a:gd name="T1" fmla="*/ 0 h 568"/>
                  <a:gd name="T2" fmla="*/ 0 w 179"/>
                  <a:gd name="T3" fmla="*/ 106 h 568"/>
                  <a:gd name="T4" fmla="*/ 0 w 179"/>
                  <a:gd name="T5" fmla="*/ 568 h 568"/>
                  <a:gd name="T6" fmla="*/ 179 w 179"/>
                  <a:gd name="T7" fmla="*/ 462 h 568"/>
                  <a:gd name="T8" fmla="*/ 179 w 179"/>
                  <a:gd name="T9" fmla="*/ 0 h 5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9" h="568">
                    <a:moveTo>
                      <a:pt x="179" y="0"/>
                    </a:moveTo>
                    <a:lnTo>
                      <a:pt x="0" y="106"/>
                    </a:lnTo>
                    <a:lnTo>
                      <a:pt x="0" y="568"/>
                    </a:lnTo>
                    <a:lnTo>
                      <a:pt x="179" y="462"/>
                    </a:lnTo>
                    <a:lnTo>
                      <a:pt x="179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43" name="Freeform 417">
                <a:extLst>
                  <a:ext uri="{FF2B5EF4-FFF2-40B4-BE49-F238E27FC236}">
                    <a16:creationId xmlns:a16="http://schemas.microsoft.com/office/drawing/2014/main" id="{A4B531B2-3245-F748-9C8D-C0DA147F75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20" y="5246"/>
                <a:ext cx="47" cy="80"/>
              </a:xfrm>
              <a:custGeom>
                <a:avLst/>
                <a:gdLst>
                  <a:gd name="T0" fmla="*/ 47 w 47"/>
                  <a:gd name="T1" fmla="*/ 0 h 80"/>
                  <a:gd name="T2" fmla="*/ 0 w 47"/>
                  <a:gd name="T3" fmla="*/ 31 h 80"/>
                  <a:gd name="T4" fmla="*/ 0 w 47"/>
                  <a:gd name="T5" fmla="*/ 80 h 80"/>
                  <a:gd name="T6" fmla="*/ 47 w 47"/>
                  <a:gd name="T7" fmla="*/ 52 h 80"/>
                  <a:gd name="T8" fmla="*/ 47 w 47"/>
                  <a:gd name="T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80">
                    <a:moveTo>
                      <a:pt x="47" y="0"/>
                    </a:moveTo>
                    <a:lnTo>
                      <a:pt x="0" y="31"/>
                    </a:lnTo>
                    <a:lnTo>
                      <a:pt x="0" y="80"/>
                    </a:lnTo>
                    <a:lnTo>
                      <a:pt x="47" y="52"/>
                    </a:lnTo>
                    <a:lnTo>
                      <a:pt x="47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44" name="Freeform 418">
                <a:extLst>
                  <a:ext uri="{FF2B5EF4-FFF2-40B4-BE49-F238E27FC236}">
                    <a16:creationId xmlns:a16="http://schemas.microsoft.com/office/drawing/2014/main" id="{DE681B7D-9E8B-CF47-ACBE-F536FDF35F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20" y="5157"/>
                <a:ext cx="47" cy="80"/>
              </a:xfrm>
              <a:custGeom>
                <a:avLst/>
                <a:gdLst>
                  <a:gd name="T0" fmla="*/ 47 w 47"/>
                  <a:gd name="T1" fmla="*/ 0 h 80"/>
                  <a:gd name="T2" fmla="*/ 0 w 47"/>
                  <a:gd name="T3" fmla="*/ 30 h 80"/>
                  <a:gd name="T4" fmla="*/ 0 w 47"/>
                  <a:gd name="T5" fmla="*/ 80 h 80"/>
                  <a:gd name="T6" fmla="*/ 47 w 47"/>
                  <a:gd name="T7" fmla="*/ 49 h 80"/>
                  <a:gd name="T8" fmla="*/ 47 w 47"/>
                  <a:gd name="T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80">
                    <a:moveTo>
                      <a:pt x="47" y="0"/>
                    </a:moveTo>
                    <a:lnTo>
                      <a:pt x="0" y="30"/>
                    </a:lnTo>
                    <a:lnTo>
                      <a:pt x="0" y="80"/>
                    </a:lnTo>
                    <a:lnTo>
                      <a:pt x="47" y="49"/>
                    </a:lnTo>
                    <a:lnTo>
                      <a:pt x="47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45" name="Freeform 419">
                <a:extLst>
                  <a:ext uri="{FF2B5EF4-FFF2-40B4-BE49-F238E27FC236}">
                    <a16:creationId xmlns:a16="http://schemas.microsoft.com/office/drawing/2014/main" id="{41AC2DFD-1B71-7B44-AC4A-2A2E3AE14C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20" y="5067"/>
                <a:ext cx="47" cy="78"/>
              </a:xfrm>
              <a:custGeom>
                <a:avLst/>
                <a:gdLst>
                  <a:gd name="T0" fmla="*/ 47 w 47"/>
                  <a:gd name="T1" fmla="*/ 0 h 78"/>
                  <a:gd name="T2" fmla="*/ 0 w 47"/>
                  <a:gd name="T3" fmla="*/ 28 h 78"/>
                  <a:gd name="T4" fmla="*/ 0 w 47"/>
                  <a:gd name="T5" fmla="*/ 78 h 78"/>
                  <a:gd name="T6" fmla="*/ 47 w 47"/>
                  <a:gd name="T7" fmla="*/ 50 h 78"/>
                  <a:gd name="T8" fmla="*/ 47 w 47"/>
                  <a:gd name="T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78">
                    <a:moveTo>
                      <a:pt x="47" y="0"/>
                    </a:moveTo>
                    <a:lnTo>
                      <a:pt x="0" y="28"/>
                    </a:lnTo>
                    <a:lnTo>
                      <a:pt x="0" y="78"/>
                    </a:lnTo>
                    <a:lnTo>
                      <a:pt x="47" y="50"/>
                    </a:lnTo>
                    <a:lnTo>
                      <a:pt x="47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46" name="Freeform 420">
                <a:extLst>
                  <a:ext uri="{FF2B5EF4-FFF2-40B4-BE49-F238E27FC236}">
                    <a16:creationId xmlns:a16="http://schemas.microsoft.com/office/drawing/2014/main" id="{3B82A073-9CB9-1B4C-A8EA-3A068FA103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20" y="4975"/>
                <a:ext cx="47" cy="80"/>
              </a:xfrm>
              <a:custGeom>
                <a:avLst/>
                <a:gdLst>
                  <a:gd name="T0" fmla="*/ 47 w 47"/>
                  <a:gd name="T1" fmla="*/ 0 h 80"/>
                  <a:gd name="T2" fmla="*/ 0 w 47"/>
                  <a:gd name="T3" fmla="*/ 31 h 80"/>
                  <a:gd name="T4" fmla="*/ 0 w 47"/>
                  <a:gd name="T5" fmla="*/ 80 h 80"/>
                  <a:gd name="T6" fmla="*/ 47 w 47"/>
                  <a:gd name="T7" fmla="*/ 50 h 80"/>
                  <a:gd name="T8" fmla="*/ 47 w 47"/>
                  <a:gd name="T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80">
                    <a:moveTo>
                      <a:pt x="47" y="0"/>
                    </a:moveTo>
                    <a:lnTo>
                      <a:pt x="0" y="31"/>
                    </a:lnTo>
                    <a:lnTo>
                      <a:pt x="0" y="80"/>
                    </a:lnTo>
                    <a:lnTo>
                      <a:pt x="47" y="50"/>
                    </a:lnTo>
                    <a:lnTo>
                      <a:pt x="47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47" name="Freeform 421">
                <a:extLst>
                  <a:ext uri="{FF2B5EF4-FFF2-40B4-BE49-F238E27FC236}">
                    <a16:creationId xmlns:a16="http://schemas.microsoft.com/office/drawing/2014/main" id="{AD10F563-16B4-904F-A916-F043DECE40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20" y="4886"/>
                <a:ext cx="47" cy="80"/>
              </a:xfrm>
              <a:custGeom>
                <a:avLst/>
                <a:gdLst>
                  <a:gd name="T0" fmla="*/ 47 w 47"/>
                  <a:gd name="T1" fmla="*/ 0 h 80"/>
                  <a:gd name="T2" fmla="*/ 0 w 47"/>
                  <a:gd name="T3" fmla="*/ 30 h 80"/>
                  <a:gd name="T4" fmla="*/ 0 w 47"/>
                  <a:gd name="T5" fmla="*/ 80 h 80"/>
                  <a:gd name="T6" fmla="*/ 47 w 47"/>
                  <a:gd name="T7" fmla="*/ 49 h 80"/>
                  <a:gd name="T8" fmla="*/ 47 w 47"/>
                  <a:gd name="T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80">
                    <a:moveTo>
                      <a:pt x="47" y="0"/>
                    </a:moveTo>
                    <a:lnTo>
                      <a:pt x="0" y="30"/>
                    </a:lnTo>
                    <a:lnTo>
                      <a:pt x="0" y="80"/>
                    </a:lnTo>
                    <a:lnTo>
                      <a:pt x="47" y="49"/>
                    </a:lnTo>
                    <a:lnTo>
                      <a:pt x="47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48" name="Freeform 422">
                <a:extLst>
                  <a:ext uri="{FF2B5EF4-FFF2-40B4-BE49-F238E27FC236}">
                    <a16:creationId xmlns:a16="http://schemas.microsoft.com/office/drawing/2014/main" id="{FA3A73A0-B2B5-DE47-8C45-32E601B252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96" y="5209"/>
                <a:ext cx="56" cy="80"/>
              </a:xfrm>
              <a:custGeom>
                <a:avLst/>
                <a:gdLst>
                  <a:gd name="T0" fmla="*/ 56 w 56"/>
                  <a:gd name="T1" fmla="*/ 0 h 80"/>
                  <a:gd name="T2" fmla="*/ 0 w 56"/>
                  <a:gd name="T3" fmla="*/ 28 h 80"/>
                  <a:gd name="T4" fmla="*/ 0 w 56"/>
                  <a:gd name="T5" fmla="*/ 80 h 80"/>
                  <a:gd name="T6" fmla="*/ 56 w 56"/>
                  <a:gd name="T7" fmla="*/ 49 h 80"/>
                  <a:gd name="T8" fmla="*/ 56 w 56"/>
                  <a:gd name="T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" h="80">
                    <a:moveTo>
                      <a:pt x="56" y="0"/>
                    </a:moveTo>
                    <a:lnTo>
                      <a:pt x="0" y="28"/>
                    </a:lnTo>
                    <a:lnTo>
                      <a:pt x="0" y="80"/>
                    </a:lnTo>
                    <a:lnTo>
                      <a:pt x="56" y="49"/>
                    </a:lnTo>
                    <a:lnTo>
                      <a:pt x="56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49" name="Freeform 423">
                <a:extLst>
                  <a:ext uri="{FF2B5EF4-FFF2-40B4-BE49-F238E27FC236}">
                    <a16:creationId xmlns:a16="http://schemas.microsoft.com/office/drawing/2014/main" id="{93B512CD-38CB-984B-A918-31C1A63E74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96" y="5119"/>
                <a:ext cx="56" cy="78"/>
              </a:xfrm>
              <a:custGeom>
                <a:avLst/>
                <a:gdLst>
                  <a:gd name="T0" fmla="*/ 56 w 56"/>
                  <a:gd name="T1" fmla="*/ 0 h 78"/>
                  <a:gd name="T2" fmla="*/ 0 w 56"/>
                  <a:gd name="T3" fmla="*/ 28 h 78"/>
                  <a:gd name="T4" fmla="*/ 0 w 56"/>
                  <a:gd name="T5" fmla="*/ 78 h 78"/>
                  <a:gd name="T6" fmla="*/ 56 w 56"/>
                  <a:gd name="T7" fmla="*/ 49 h 78"/>
                  <a:gd name="T8" fmla="*/ 56 w 56"/>
                  <a:gd name="T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" h="78">
                    <a:moveTo>
                      <a:pt x="56" y="0"/>
                    </a:moveTo>
                    <a:lnTo>
                      <a:pt x="0" y="28"/>
                    </a:lnTo>
                    <a:lnTo>
                      <a:pt x="0" y="78"/>
                    </a:lnTo>
                    <a:lnTo>
                      <a:pt x="56" y="49"/>
                    </a:lnTo>
                    <a:lnTo>
                      <a:pt x="56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50" name="Freeform 424">
                <a:extLst>
                  <a:ext uri="{FF2B5EF4-FFF2-40B4-BE49-F238E27FC236}">
                    <a16:creationId xmlns:a16="http://schemas.microsoft.com/office/drawing/2014/main" id="{4F713D64-A4E0-1B41-94B6-5619B95EDB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96" y="5027"/>
                <a:ext cx="56" cy="80"/>
              </a:xfrm>
              <a:custGeom>
                <a:avLst/>
                <a:gdLst>
                  <a:gd name="T0" fmla="*/ 56 w 56"/>
                  <a:gd name="T1" fmla="*/ 0 h 80"/>
                  <a:gd name="T2" fmla="*/ 0 w 56"/>
                  <a:gd name="T3" fmla="*/ 31 h 80"/>
                  <a:gd name="T4" fmla="*/ 0 w 56"/>
                  <a:gd name="T5" fmla="*/ 80 h 80"/>
                  <a:gd name="T6" fmla="*/ 56 w 56"/>
                  <a:gd name="T7" fmla="*/ 50 h 80"/>
                  <a:gd name="T8" fmla="*/ 56 w 56"/>
                  <a:gd name="T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" h="80">
                    <a:moveTo>
                      <a:pt x="56" y="0"/>
                    </a:moveTo>
                    <a:lnTo>
                      <a:pt x="0" y="31"/>
                    </a:lnTo>
                    <a:lnTo>
                      <a:pt x="0" y="80"/>
                    </a:lnTo>
                    <a:lnTo>
                      <a:pt x="56" y="50"/>
                    </a:lnTo>
                    <a:lnTo>
                      <a:pt x="56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51" name="Freeform 425">
                <a:extLst>
                  <a:ext uri="{FF2B5EF4-FFF2-40B4-BE49-F238E27FC236}">
                    <a16:creationId xmlns:a16="http://schemas.microsoft.com/office/drawing/2014/main" id="{C50F9EE3-6642-AF42-BC20-C9CCB9AEA9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96" y="4938"/>
                <a:ext cx="56" cy="77"/>
              </a:xfrm>
              <a:custGeom>
                <a:avLst/>
                <a:gdLst>
                  <a:gd name="T0" fmla="*/ 56 w 56"/>
                  <a:gd name="T1" fmla="*/ 0 h 77"/>
                  <a:gd name="T2" fmla="*/ 0 w 56"/>
                  <a:gd name="T3" fmla="*/ 28 h 77"/>
                  <a:gd name="T4" fmla="*/ 0 w 56"/>
                  <a:gd name="T5" fmla="*/ 77 h 77"/>
                  <a:gd name="T6" fmla="*/ 56 w 56"/>
                  <a:gd name="T7" fmla="*/ 49 h 77"/>
                  <a:gd name="T8" fmla="*/ 56 w 56"/>
                  <a:gd name="T9" fmla="*/ 0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" h="77">
                    <a:moveTo>
                      <a:pt x="56" y="0"/>
                    </a:moveTo>
                    <a:lnTo>
                      <a:pt x="0" y="28"/>
                    </a:lnTo>
                    <a:lnTo>
                      <a:pt x="0" y="77"/>
                    </a:lnTo>
                    <a:lnTo>
                      <a:pt x="56" y="49"/>
                    </a:lnTo>
                    <a:lnTo>
                      <a:pt x="56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52" name="Freeform 426">
                <a:extLst>
                  <a:ext uri="{FF2B5EF4-FFF2-40B4-BE49-F238E27FC236}">
                    <a16:creationId xmlns:a16="http://schemas.microsoft.com/office/drawing/2014/main" id="{E0FC4844-7AF3-D744-A771-05D71A015C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96" y="4846"/>
                <a:ext cx="56" cy="80"/>
              </a:xfrm>
              <a:custGeom>
                <a:avLst/>
                <a:gdLst>
                  <a:gd name="T0" fmla="*/ 56 w 56"/>
                  <a:gd name="T1" fmla="*/ 0 h 80"/>
                  <a:gd name="T2" fmla="*/ 0 w 56"/>
                  <a:gd name="T3" fmla="*/ 30 h 80"/>
                  <a:gd name="T4" fmla="*/ 0 w 56"/>
                  <a:gd name="T5" fmla="*/ 80 h 80"/>
                  <a:gd name="T6" fmla="*/ 56 w 56"/>
                  <a:gd name="T7" fmla="*/ 52 h 80"/>
                  <a:gd name="T8" fmla="*/ 56 w 56"/>
                  <a:gd name="T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" h="80">
                    <a:moveTo>
                      <a:pt x="56" y="0"/>
                    </a:moveTo>
                    <a:lnTo>
                      <a:pt x="0" y="30"/>
                    </a:lnTo>
                    <a:lnTo>
                      <a:pt x="0" y="80"/>
                    </a:lnTo>
                    <a:lnTo>
                      <a:pt x="56" y="52"/>
                    </a:lnTo>
                    <a:lnTo>
                      <a:pt x="56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53" name="Freeform 427">
                <a:extLst>
                  <a:ext uri="{FF2B5EF4-FFF2-40B4-BE49-F238E27FC236}">
                    <a16:creationId xmlns:a16="http://schemas.microsoft.com/office/drawing/2014/main" id="{F656761A-B8B1-4340-93F5-2CF7879F75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26" y="5246"/>
                <a:ext cx="47" cy="80"/>
              </a:xfrm>
              <a:custGeom>
                <a:avLst/>
                <a:gdLst>
                  <a:gd name="T0" fmla="*/ 0 w 47"/>
                  <a:gd name="T1" fmla="*/ 0 h 80"/>
                  <a:gd name="T2" fmla="*/ 47 w 47"/>
                  <a:gd name="T3" fmla="*/ 31 h 80"/>
                  <a:gd name="T4" fmla="*/ 47 w 47"/>
                  <a:gd name="T5" fmla="*/ 80 h 80"/>
                  <a:gd name="T6" fmla="*/ 0 w 47"/>
                  <a:gd name="T7" fmla="*/ 52 h 80"/>
                  <a:gd name="T8" fmla="*/ 0 w 47"/>
                  <a:gd name="T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80">
                    <a:moveTo>
                      <a:pt x="0" y="0"/>
                    </a:moveTo>
                    <a:lnTo>
                      <a:pt x="47" y="31"/>
                    </a:lnTo>
                    <a:lnTo>
                      <a:pt x="47" y="80"/>
                    </a:lnTo>
                    <a:lnTo>
                      <a:pt x="0" y="5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54" name="Freeform 428">
                <a:extLst>
                  <a:ext uri="{FF2B5EF4-FFF2-40B4-BE49-F238E27FC236}">
                    <a16:creationId xmlns:a16="http://schemas.microsoft.com/office/drawing/2014/main" id="{F00312FE-D9A2-C74A-806E-39A03C108E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26" y="5157"/>
                <a:ext cx="47" cy="80"/>
              </a:xfrm>
              <a:custGeom>
                <a:avLst/>
                <a:gdLst>
                  <a:gd name="T0" fmla="*/ 0 w 47"/>
                  <a:gd name="T1" fmla="*/ 0 h 80"/>
                  <a:gd name="T2" fmla="*/ 47 w 47"/>
                  <a:gd name="T3" fmla="*/ 30 h 80"/>
                  <a:gd name="T4" fmla="*/ 47 w 47"/>
                  <a:gd name="T5" fmla="*/ 80 h 80"/>
                  <a:gd name="T6" fmla="*/ 0 w 47"/>
                  <a:gd name="T7" fmla="*/ 49 h 80"/>
                  <a:gd name="T8" fmla="*/ 0 w 47"/>
                  <a:gd name="T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80">
                    <a:moveTo>
                      <a:pt x="0" y="0"/>
                    </a:moveTo>
                    <a:lnTo>
                      <a:pt x="47" y="30"/>
                    </a:lnTo>
                    <a:lnTo>
                      <a:pt x="47" y="80"/>
                    </a:lnTo>
                    <a:lnTo>
                      <a:pt x="0" y="4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55" name="Freeform 429">
                <a:extLst>
                  <a:ext uri="{FF2B5EF4-FFF2-40B4-BE49-F238E27FC236}">
                    <a16:creationId xmlns:a16="http://schemas.microsoft.com/office/drawing/2014/main" id="{F595ADF0-328A-724B-82C9-5C7B4784E9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26" y="5067"/>
                <a:ext cx="47" cy="78"/>
              </a:xfrm>
              <a:custGeom>
                <a:avLst/>
                <a:gdLst>
                  <a:gd name="T0" fmla="*/ 0 w 47"/>
                  <a:gd name="T1" fmla="*/ 0 h 78"/>
                  <a:gd name="T2" fmla="*/ 47 w 47"/>
                  <a:gd name="T3" fmla="*/ 28 h 78"/>
                  <a:gd name="T4" fmla="*/ 47 w 47"/>
                  <a:gd name="T5" fmla="*/ 78 h 78"/>
                  <a:gd name="T6" fmla="*/ 0 w 47"/>
                  <a:gd name="T7" fmla="*/ 50 h 78"/>
                  <a:gd name="T8" fmla="*/ 0 w 47"/>
                  <a:gd name="T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78">
                    <a:moveTo>
                      <a:pt x="0" y="0"/>
                    </a:moveTo>
                    <a:lnTo>
                      <a:pt x="47" y="28"/>
                    </a:lnTo>
                    <a:lnTo>
                      <a:pt x="47" y="78"/>
                    </a:lnTo>
                    <a:lnTo>
                      <a:pt x="0" y="5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56" name="Freeform 430">
                <a:extLst>
                  <a:ext uri="{FF2B5EF4-FFF2-40B4-BE49-F238E27FC236}">
                    <a16:creationId xmlns:a16="http://schemas.microsoft.com/office/drawing/2014/main" id="{91134EC4-1707-304C-84F1-8F7988F5C7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26" y="4975"/>
                <a:ext cx="47" cy="80"/>
              </a:xfrm>
              <a:custGeom>
                <a:avLst/>
                <a:gdLst>
                  <a:gd name="T0" fmla="*/ 0 w 47"/>
                  <a:gd name="T1" fmla="*/ 0 h 80"/>
                  <a:gd name="T2" fmla="*/ 47 w 47"/>
                  <a:gd name="T3" fmla="*/ 31 h 80"/>
                  <a:gd name="T4" fmla="*/ 47 w 47"/>
                  <a:gd name="T5" fmla="*/ 80 h 80"/>
                  <a:gd name="T6" fmla="*/ 0 w 47"/>
                  <a:gd name="T7" fmla="*/ 50 h 80"/>
                  <a:gd name="T8" fmla="*/ 0 w 47"/>
                  <a:gd name="T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80">
                    <a:moveTo>
                      <a:pt x="0" y="0"/>
                    </a:moveTo>
                    <a:lnTo>
                      <a:pt x="47" y="31"/>
                    </a:lnTo>
                    <a:lnTo>
                      <a:pt x="47" y="80"/>
                    </a:lnTo>
                    <a:lnTo>
                      <a:pt x="0" y="5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57" name="Freeform 431">
                <a:extLst>
                  <a:ext uri="{FF2B5EF4-FFF2-40B4-BE49-F238E27FC236}">
                    <a16:creationId xmlns:a16="http://schemas.microsoft.com/office/drawing/2014/main" id="{6E9B6708-5AD2-9F43-9E38-88BFB84A1D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26" y="4886"/>
                <a:ext cx="47" cy="80"/>
              </a:xfrm>
              <a:custGeom>
                <a:avLst/>
                <a:gdLst>
                  <a:gd name="T0" fmla="*/ 0 w 47"/>
                  <a:gd name="T1" fmla="*/ 0 h 80"/>
                  <a:gd name="T2" fmla="*/ 47 w 47"/>
                  <a:gd name="T3" fmla="*/ 30 h 80"/>
                  <a:gd name="T4" fmla="*/ 47 w 47"/>
                  <a:gd name="T5" fmla="*/ 80 h 80"/>
                  <a:gd name="T6" fmla="*/ 0 w 47"/>
                  <a:gd name="T7" fmla="*/ 49 h 80"/>
                  <a:gd name="T8" fmla="*/ 0 w 47"/>
                  <a:gd name="T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80">
                    <a:moveTo>
                      <a:pt x="0" y="0"/>
                    </a:moveTo>
                    <a:lnTo>
                      <a:pt x="47" y="30"/>
                    </a:lnTo>
                    <a:lnTo>
                      <a:pt x="47" y="80"/>
                    </a:lnTo>
                    <a:lnTo>
                      <a:pt x="0" y="4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58" name="Freeform 432">
                <a:extLst>
                  <a:ext uri="{FF2B5EF4-FFF2-40B4-BE49-F238E27FC236}">
                    <a16:creationId xmlns:a16="http://schemas.microsoft.com/office/drawing/2014/main" id="{2B56794D-D0CC-EE48-B866-892B8BFB50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0" y="5209"/>
                <a:ext cx="48" cy="80"/>
              </a:xfrm>
              <a:custGeom>
                <a:avLst/>
                <a:gdLst>
                  <a:gd name="T0" fmla="*/ 0 w 48"/>
                  <a:gd name="T1" fmla="*/ 0 h 80"/>
                  <a:gd name="T2" fmla="*/ 48 w 48"/>
                  <a:gd name="T3" fmla="*/ 28 h 80"/>
                  <a:gd name="T4" fmla="*/ 48 w 48"/>
                  <a:gd name="T5" fmla="*/ 80 h 80"/>
                  <a:gd name="T6" fmla="*/ 0 w 48"/>
                  <a:gd name="T7" fmla="*/ 49 h 80"/>
                  <a:gd name="T8" fmla="*/ 0 w 48"/>
                  <a:gd name="T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80">
                    <a:moveTo>
                      <a:pt x="0" y="0"/>
                    </a:moveTo>
                    <a:lnTo>
                      <a:pt x="48" y="28"/>
                    </a:lnTo>
                    <a:lnTo>
                      <a:pt x="48" y="80"/>
                    </a:lnTo>
                    <a:lnTo>
                      <a:pt x="0" y="4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59" name="Freeform 433">
                <a:extLst>
                  <a:ext uri="{FF2B5EF4-FFF2-40B4-BE49-F238E27FC236}">
                    <a16:creationId xmlns:a16="http://schemas.microsoft.com/office/drawing/2014/main" id="{643FB428-9006-EA49-972E-B6F7289EE0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0" y="5119"/>
                <a:ext cx="48" cy="78"/>
              </a:xfrm>
              <a:custGeom>
                <a:avLst/>
                <a:gdLst>
                  <a:gd name="T0" fmla="*/ 0 w 48"/>
                  <a:gd name="T1" fmla="*/ 0 h 78"/>
                  <a:gd name="T2" fmla="*/ 48 w 48"/>
                  <a:gd name="T3" fmla="*/ 28 h 78"/>
                  <a:gd name="T4" fmla="*/ 48 w 48"/>
                  <a:gd name="T5" fmla="*/ 78 h 78"/>
                  <a:gd name="T6" fmla="*/ 0 w 48"/>
                  <a:gd name="T7" fmla="*/ 49 h 78"/>
                  <a:gd name="T8" fmla="*/ 0 w 48"/>
                  <a:gd name="T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78">
                    <a:moveTo>
                      <a:pt x="0" y="0"/>
                    </a:moveTo>
                    <a:lnTo>
                      <a:pt x="48" y="28"/>
                    </a:lnTo>
                    <a:lnTo>
                      <a:pt x="48" y="78"/>
                    </a:lnTo>
                    <a:lnTo>
                      <a:pt x="0" y="4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60" name="Freeform 434">
                <a:extLst>
                  <a:ext uri="{FF2B5EF4-FFF2-40B4-BE49-F238E27FC236}">
                    <a16:creationId xmlns:a16="http://schemas.microsoft.com/office/drawing/2014/main" id="{02DBAD99-1966-C04C-B8E1-610B887E39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0" y="5027"/>
                <a:ext cx="48" cy="80"/>
              </a:xfrm>
              <a:custGeom>
                <a:avLst/>
                <a:gdLst>
                  <a:gd name="T0" fmla="*/ 0 w 48"/>
                  <a:gd name="T1" fmla="*/ 0 h 80"/>
                  <a:gd name="T2" fmla="*/ 48 w 48"/>
                  <a:gd name="T3" fmla="*/ 31 h 80"/>
                  <a:gd name="T4" fmla="*/ 48 w 48"/>
                  <a:gd name="T5" fmla="*/ 80 h 80"/>
                  <a:gd name="T6" fmla="*/ 0 w 48"/>
                  <a:gd name="T7" fmla="*/ 50 h 80"/>
                  <a:gd name="T8" fmla="*/ 0 w 48"/>
                  <a:gd name="T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80">
                    <a:moveTo>
                      <a:pt x="0" y="0"/>
                    </a:moveTo>
                    <a:lnTo>
                      <a:pt x="48" y="31"/>
                    </a:lnTo>
                    <a:lnTo>
                      <a:pt x="48" y="80"/>
                    </a:lnTo>
                    <a:lnTo>
                      <a:pt x="0" y="5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61" name="Freeform 435">
                <a:extLst>
                  <a:ext uri="{FF2B5EF4-FFF2-40B4-BE49-F238E27FC236}">
                    <a16:creationId xmlns:a16="http://schemas.microsoft.com/office/drawing/2014/main" id="{AF85335C-F48B-8847-A2CC-3BB0CC14BA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0" y="4938"/>
                <a:ext cx="48" cy="77"/>
              </a:xfrm>
              <a:custGeom>
                <a:avLst/>
                <a:gdLst>
                  <a:gd name="T0" fmla="*/ 0 w 48"/>
                  <a:gd name="T1" fmla="*/ 0 h 77"/>
                  <a:gd name="T2" fmla="*/ 48 w 48"/>
                  <a:gd name="T3" fmla="*/ 28 h 77"/>
                  <a:gd name="T4" fmla="*/ 48 w 48"/>
                  <a:gd name="T5" fmla="*/ 77 h 77"/>
                  <a:gd name="T6" fmla="*/ 0 w 48"/>
                  <a:gd name="T7" fmla="*/ 49 h 77"/>
                  <a:gd name="T8" fmla="*/ 0 w 48"/>
                  <a:gd name="T9" fmla="*/ 0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77">
                    <a:moveTo>
                      <a:pt x="0" y="0"/>
                    </a:moveTo>
                    <a:lnTo>
                      <a:pt x="48" y="28"/>
                    </a:lnTo>
                    <a:lnTo>
                      <a:pt x="48" y="77"/>
                    </a:lnTo>
                    <a:lnTo>
                      <a:pt x="0" y="4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62" name="Freeform 436">
                <a:extLst>
                  <a:ext uri="{FF2B5EF4-FFF2-40B4-BE49-F238E27FC236}">
                    <a16:creationId xmlns:a16="http://schemas.microsoft.com/office/drawing/2014/main" id="{2D7C769D-80B1-664D-AE7E-217BEB38D3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0" y="4846"/>
                <a:ext cx="48" cy="80"/>
              </a:xfrm>
              <a:custGeom>
                <a:avLst/>
                <a:gdLst>
                  <a:gd name="T0" fmla="*/ 0 w 48"/>
                  <a:gd name="T1" fmla="*/ 0 h 80"/>
                  <a:gd name="T2" fmla="*/ 48 w 48"/>
                  <a:gd name="T3" fmla="*/ 30 h 80"/>
                  <a:gd name="T4" fmla="*/ 48 w 48"/>
                  <a:gd name="T5" fmla="*/ 80 h 80"/>
                  <a:gd name="T6" fmla="*/ 0 w 48"/>
                  <a:gd name="T7" fmla="*/ 52 h 80"/>
                  <a:gd name="T8" fmla="*/ 0 w 48"/>
                  <a:gd name="T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80">
                    <a:moveTo>
                      <a:pt x="0" y="0"/>
                    </a:moveTo>
                    <a:lnTo>
                      <a:pt x="48" y="30"/>
                    </a:lnTo>
                    <a:lnTo>
                      <a:pt x="48" y="80"/>
                    </a:lnTo>
                    <a:lnTo>
                      <a:pt x="0" y="5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63" name="Freeform 437">
                <a:extLst>
                  <a:ext uri="{FF2B5EF4-FFF2-40B4-BE49-F238E27FC236}">
                    <a16:creationId xmlns:a16="http://schemas.microsoft.com/office/drawing/2014/main" id="{D8F452BC-1B10-B74C-AD30-1EBEC5C319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03" y="4803"/>
                <a:ext cx="189" cy="568"/>
              </a:xfrm>
              <a:custGeom>
                <a:avLst/>
                <a:gdLst>
                  <a:gd name="T0" fmla="*/ 0 w 189"/>
                  <a:gd name="T1" fmla="*/ 0 h 568"/>
                  <a:gd name="T2" fmla="*/ 189 w 189"/>
                  <a:gd name="T3" fmla="*/ 106 h 568"/>
                  <a:gd name="T4" fmla="*/ 189 w 189"/>
                  <a:gd name="T5" fmla="*/ 568 h 568"/>
                  <a:gd name="T6" fmla="*/ 0 w 189"/>
                  <a:gd name="T7" fmla="*/ 462 h 568"/>
                  <a:gd name="T8" fmla="*/ 0 w 189"/>
                  <a:gd name="T9" fmla="*/ 0 h 5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9" h="568">
                    <a:moveTo>
                      <a:pt x="0" y="0"/>
                    </a:moveTo>
                    <a:lnTo>
                      <a:pt x="189" y="106"/>
                    </a:lnTo>
                    <a:lnTo>
                      <a:pt x="189" y="568"/>
                    </a:lnTo>
                    <a:lnTo>
                      <a:pt x="0" y="46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64" name="Freeform 438">
                <a:extLst>
                  <a:ext uri="{FF2B5EF4-FFF2-40B4-BE49-F238E27FC236}">
                    <a16:creationId xmlns:a16="http://schemas.microsoft.com/office/drawing/2014/main" id="{469F87A1-3211-584C-A5E5-E12B9CFB53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08" y="4639"/>
                <a:ext cx="191" cy="270"/>
              </a:xfrm>
              <a:custGeom>
                <a:avLst/>
                <a:gdLst>
                  <a:gd name="T0" fmla="*/ 186 w 191"/>
                  <a:gd name="T1" fmla="*/ 270 h 270"/>
                  <a:gd name="T2" fmla="*/ 191 w 191"/>
                  <a:gd name="T3" fmla="*/ 0 h 270"/>
                  <a:gd name="T4" fmla="*/ 0 w 191"/>
                  <a:gd name="T5" fmla="*/ 164 h 270"/>
                  <a:gd name="T6" fmla="*/ 186 w 191"/>
                  <a:gd name="T7" fmla="*/ 27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1" h="270">
                    <a:moveTo>
                      <a:pt x="186" y="270"/>
                    </a:moveTo>
                    <a:lnTo>
                      <a:pt x="191" y="0"/>
                    </a:lnTo>
                    <a:lnTo>
                      <a:pt x="0" y="164"/>
                    </a:lnTo>
                    <a:lnTo>
                      <a:pt x="186" y="27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65" name="Freeform 439">
                <a:extLst>
                  <a:ext uri="{FF2B5EF4-FFF2-40B4-BE49-F238E27FC236}">
                    <a16:creationId xmlns:a16="http://schemas.microsoft.com/office/drawing/2014/main" id="{C45B664D-4E66-234B-A5BE-605CD808D5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94" y="4639"/>
                <a:ext cx="186" cy="270"/>
              </a:xfrm>
              <a:custGeom>
                <a:avLst/>
                <a:gdLst>
                  <a:gd name="T0" fmla="*/ 186 w 186"/>
                  <a:gd name="T1" fmla="*/ 164 h 270"/>
                  <a:gd name="T2" fmla="*/ 5 w 186"/>
                  <a:gd name="T3" fmla="*/ 0 h 270"/>
                  <a:gd name="T4" fmla="*/ 0 w 186"/>
                  <a:gd name="T5" fmla="*/ 270 h 270"/>
                  <a:gd name="T6" fmla="*/ 186 w 186"/>
                  <a:gd name="T7" fmla="*/ 164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6" h="270">
                    <a:moveTo>
                      <a:pt x="186" y="164"/>
                    </a:moveTo>
                    <a:lnTo>
                      <a:pt x="5" y="0"/>
                    </a:lnTo>
                    <a:lnTo>
                      <a:pt x="0" y="270"/>
                    </a:lnTo>
                    <a:lnTo>
                      <a:pt x="186" y="164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66" name="Freeform 440">
                <a:extLst>
                  <a:ext uri="{FF2B5EF4-FFF2-40B4-BE49-F238E27FC236}">
                    <a16:creationId xmlns:a16="http://schemas.microsoft.com/office/drawing/2014/main" id="{0D5CCD0F-5A40-BB41-B3E7-85D8E16D7A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65" y="4964"/>
                <a:ext cx="179" cy="567"/>
              </a:xfrm>
              <a:custGeom>
                <a:avLst/>
                <a:gdLst>
                  <a:gd name="T0" fmla="*/ 179 w 179"/>
                  <a:gd name="T1" fmla="*/ 0 h 567"/>
                  <a:gd name="T2" fmla="*/ 0 w 179"/>
                  <a:gd name="T3" fmla="*/ 106 h 567"/>
                  <a:gd name="T4" fmla="*/ 0 w 179"/>
                  <a:gd name="T5" fmla="*/ 567 h 567"/>
                  <a:gd name="T6" fmla="*/ 179 w 179"/>
                  <a:gd name="T7" fmla="*/ 461 h 567"/>
                  <a:gd name="T8" fmla="*/ 179 w 179"/>
                  <a:gd name="T9" fmla="*/ 0 h 5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9" h="567">
                    <a:moveTo>
                      <a:pt x="179" y="0"/>
                    </a:moveTo>
                    <a:lnTo>
                      <a:pt x="0" y="106"/>
                    </a:lnTo>
                    <a:lnTo>
                      <a:pt x="0" y="567"/>
                    </a:lnTo>
                    <a:lnTo>
                      <a:pt x="179" y="461"/>
                    </a:lnTo>
                    <a:lnTo>
                      <a:pt x="179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67" name="Freeform 441">
                <a:extLst>
                  <a:ext uri="{FF2B5EF4-FFF2-40B4-BE49-F238E27FC236}">
                    <a16:creationId xmlns:a16="http://schemas.microsoft.com/office/drawing/2014/main" id="{CD165330-FD9C-A24C-87CA-87BD457D98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94" y="5406"/>
                <a:ext cx="47" cy="80"/>
              </a:xfrm>
              <a:custGeom>
                <a:avLst/>
                <a:gdLst>
                  <a:gd name="T0" fmla="*/ 47 w 47"/>
                  <a:gd name="T1" fmla="*/ 0 h 80"/>
                  <a:gd name="T2" fmla="*/ 0 w 47"/>
                  <a:gd name="T3" fmla="*/ 31 h 80"/>
                  <a:gd name="T4" fmla="*/ 0 w 47"/>
                  <a:gd name="T5" fmla="*/ 80 h 80"/>
                  <a:gd name="T6" fmla="*/ 47 w 47"/>
                  <a:gd name="T7" fmla="*/ 52 h 80"/>
                  <a:gd name="T8" fmla="*/ 47 w 47"/>
                  <a:gd name="T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80">
                    <a:moveTo>
                      <a:pt x="47" y="0"/>
                    </a:moveTo>
                    <a:lnTo>
                      <a:pt x="0" y="31"/>
                    </a:lnTo>
                    <a:lnTo>
                      <a:pt x="0" y="80"/>
                    </a:lnTo>
                    <a:lnTo>
                      <a:pt x="47" y="52"/>
                    </a:lnTo>
                    <a:lnTo>
                      <a:pt x="47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68" name="Freeform 442">
                <a:extLst>
                  <a:ext uri="{FF2B5EF4-FFF2-40B4-BE49-F238E27FC236}">
                    <a16:creationId xmlns:a16="http://schemas.microsoft.com/office/drawing/2014/main" id="{7E45EB59-1417-FD40-8579-28FC30B773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94" y="5317"/>
                <a:ext cx="47" cy="80"/>
              </a:xfrm>
              <a:custGeom>
                <a:avLst/>
                <a:gdLst>
                  <a:gd name="T0" fmla="*/ 47 w 47"/>
                  <a:gd name="T1" fmla="*/ 0 h 80"/>
                  <a:gd name="T2" fmla="*/ 0 w 47"/>
                  <a:gd name="T3" fmla="*/ 30 h 80"/>
                  <a:gd name="T4" fmla="*/ 0 w 47"/>
                  <a:gd name="T5" fmla="*/ 80 h 80"/>
                  <a:gd name="T6" fmla="*/ 47 w 47"/>
                  <a:gd name="T7" fmla="*/ 49 h 80"/>
                  <a:gd name="T8" fmla="*/ 47 w 47"/>
                  <a:gd name="T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80">
                    <a:moveTo>
                      <a:pt x="47" y="0"/>
                    </a:moveTo>
                    <a:lnTo>
                      <a:pt x="0" y="30"/>
                    </a:lnTo>
                    <a:lnTo>
                      <a:pt x="0" y="80"/>
                    </a:lnTo>
                    <a:lnTo>
                      <a:pt x="47" y="49"/>
                    </a:lnTo>
                    <a:lnTo>
                      <a:pt x="47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69" name="Freeform 443">
                <a:extLst>
                  <a:ext uri="{FF2B5EF4-FFF2-40B4-BE49-F238E27FC236}">
                    <a16:creationId xmlns:a16="http://schemas.microsoft.com/office/drawing/2014/main" id="{FCE63524-31F0-6A47-A3B9-53F724BBE7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94" y="5227"/>
                <a:ext cx="47" cy="78"/>
              </a:xfrm>
              <a:custGeom>
                <a:avLst/>
                <a:gdLst>
                  <a:gd name="T0" fmla="*/ 47 w 47"/>
                  <a:gd name="T1" fmla="*/ 0 h 78"/>
                  <a:gd name="T2" fmla="*/ 0 w 47"/>
                  <a:gd name="T3" fmla="*/ 29 h 78"/>
                  <a:gd name="T4" fmla="*/ 0 w 47"/>
                  <a:gd name="T5" fmla="*/ 78 h 78"/>
                  <a:gd name="T6" fmla="*/ 47 w 47"/>
                  <a:gd name="T7" fmla="*/ 50 h 78"/>
                  <a:gd name="T8" fmla="*/ 47 w 47"/>
                  <a:gd name="T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78">
                    <a:moveTo>
                      <a:pt x="47" y="0"/>
                    </a:moveTo>
                    <a:lnTo>
                      <a:pt x="0" y="29"/>
                    </a:lnTo>
                    <a:lnTo>
                      <a:pt x="0" y="78"/>
                    </a:lnTo>
                    <a:lnTo>
                      <a:pt x="47" y="50"/>
                    </a:lnTo>
                    <a:lnTo>
                      <a:pt x="47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70" name="Freeform 444">
                <a:extLst>
                  <a:ext uri="{FF2B5EF4-FFF2-40B4-BE49-F238E27FC236}">
                    <a16:creationId xmlns:a16="http://schemas.microsoft.com/office/drawing/2014/main" id="{C4C2DD09-6E2D-DB41-9AAA-82ED7572EF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94" y="5135"/>
                <a:ext cx="47" cy="81"/>
              </a:xfrm>
              <a:custGeom>
                <a:avLst/>
                <a:gdLst>
                  <a:gd name="T0" fmla="*/ 47 w 47"/>
                  <a:gd name="T1" fmla="*/ 0 h 81"/>
                  <a:gd name="T2" fmla="*/ 0 w 47"/>
                  <a:gd name="T3" fmla="*/ 31 h 81"/>
                  <a:gd name="T4" fmla="*/ 0 w 47"/>
                  <a:gd name="T5" fmla="*/ 81 h 81"/>
                  <a:gd name="T6" fmla="*/ 47 w 47"/>
                  <a:gd name="T7" fmla="*/ 50 h 81"/>
                  <a:gd name="T8" fmla="*/ 47 w 47"/>
                  <a:gd name="T9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81">
                    <a:moveTo>
                      <a:pt x="47" y="0"/>
                    </a:moveTo>
                    <a:lnTo>
                      <a:pt x="0" y="31"/>
                    </a:lnTo>
                    <a:lnTo>
                      <a:pt x="0" y="81"/>
                    </a:lnTo>
                    <a:lnTo>
                      <a:pt x="47" y="50"/>
                    </a:lnTo>
                    <a:lnTo>
                      <a:pt x="47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71" name="Freeform 445">
                <a:extLst>
                  <a:ext uri="{FF2B5EF4-FFF2-40B4-BE49-F238E27FC236}">
                    <a16:creationId xmlns:a16="http://schemas.microsoft.com/office/drawing/2014/main" id="{F5950464-B1AC-0940-BE0C-C235566009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94" y="5046"/>
                <a:ext cx="47" cy="80"/>
              </a:xfrm>
              <a:custGeom>
                <a:avLst/>
                <a:gdLst>
                  <a:gd name="T0" fmla="*/ 47 w 47"/>
                  <a:gd name="T1" fmla="*/ 0 h 80"/>
                  <a:gd name="T2" fmla="*/ 0 w 47"/>
                  <a:gd name="T3" fmla="*/ 31 h 80"/>
                  <a:gd name="T4" fmla="*/ 0 w 47"/>
                  <a:gd name="T5" fmla="*/ 80 h 80"/>
                  <a:gd name="T6" fmla="*/ 47 w 47"/>
                  <a:gd name="T7" fmla="*/ 49 h 80"/>
                  <a:gd name="T8" fmla="*/ 47 w 47"/>
                  <a:gd name="T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80">
                    <a:moveTo>
                      <a:pt x="47" y="0"/>
                    </a:moveTo>
                    <a:lnTo>
                      <a:pt x="0" y="31"/>
                    </a:lnTo>
                    <a:lnTo>
                      <a:pt x="0" y="80"/>
                    </a:lnTo>
                    <a:lnTo>
                      <a:pt x="47" y="49"/>
                    </a:lnTo>
                    <a:lnTo>
                      <a:pt x="47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72" name="Freeform 446">
                <a:extLst>
                  <a:ext uri="{FF2B5EF4-FFF2-40B4-BE49-F238E27FC236}">
                    <a16:creationId xmlns:a16="http://schemas.microsoft.com/office/drawing/2014/main" id="{26CEEBF3-3002-F945-BD7D-CD603BA9F7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69" y="5369"/>
                <a:ext cx="57" cy="80"/>
              </a:xfrm>
              <a:custGeom>
                <a:avLst/>
                <a:gdLst>
                  <a:gd name="T0" fmla="*/ 57 w 57"/>
                  <a:gd name="T1" fmla="*/ 0 h 80"/>
                  <a:gd name="T2" fmla="*/ 0 w 57"/>
                  <a:gd name="T3" fmla="*/ 28 h 80"/>
                  <a:gd name="T4" fmla="*/ 0 w 57"/>
                  <a:gd name="T5" fmla="*/ 80 h 80"/>
                  <a:gd name="T6" fmla="*/ 57 w 57"/>
                  <a:gd name="T7" fmla="*/ 49 h 80"/>
                  <a:gd name="T8" fmla="*/ 57 w 57"/>
                  <a:gd name="T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80">
                    <a:moveTo>
                      <a:pt x="57" y="0"/>
                    </a:moveTo>
                    <a:lnTo>
                      <a:pt x="0" y="28"/>
                    </a:lnTo>
                    <a:lnTo>
                      <a:pt x="0" y="80"/>
                    </a:lnTo>
                    <a:lnTo>
                      <a:pt x="57" y="49"/>
                    </a:lnTo>
                    <a:lnTo>
                      <a:pt x="57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73" name="Freeform 447">
                <a:extLst>
                  <a:ext uri="{FF2B5EF4-FFF2-40B4-BE49-F238E27FC236}">
                    <a16:creationId xmlns:a16="http://schemas.microsoft.com/office/drawing/2014/main" id="{3A18B809-CB21-0A44-A912-404B48B7BE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69" y="5279"/>
                <a:ext cx="57" cy="78"/>
              </a:xfrm>
              <a:custGeom>
                <a:avLst/>
                <a:gdLst>
                  <a:gd name="T0" fmla="*/ 57 w 57"/>
                  <a:gd name="T1" fmla="*/ 0 h 78"/>
                  <a:gd name="T2" fmla="*/ 0 w 57"/>
                  <a:gd name="T3" fmla="*/ 28 h 78"/>
                  <a:gd name="T4" fmla="*/ 0 w 57"/>
                  <a:gd name="T5" fmla="*/ 78 h 78"/>
                  <a:gd name="T6" fmla="*/ 57 w 57"/>
                  <a:gd name="T7" fmla="*/ 50 h 78"/>
                  <a:gd name="T8" fmla="*/ 57 w 57"/>
                  <a:gd name="T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78">
                    <a:moveTo>
                      <a:pt x="57" y="0"/>
                    </a:moveTo>
                    <a:lnTo>
                      <a:pt x="0" y="28"/>
                    </a:lnTo>
                    <a:lnTo>
                      <a:pt x="0" y="78"/>
                    </a:lnTo>
                    <a:lnTo>
                      <a:pt x="57" y="50"/>
                    </a:lnTo>
                    <a:lnTo>
                      <a:pt x="57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74" name="Freeform 448">
                <a:extLst>
                  <a:ext uri="{FF2B5EF4-FFF2-40B4-BE49-F238E27FC236}">
                    <a16:creationId xmlns:a16="http://schemas.microsoft.com/office/drawing/2014/main" id="{CE369365-4D93-6548-AFCB-C7732F9B8E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69" y="5187"/>
                <a:ext cx="57" cy="80"/>
              </a:xfrm>
              <a:custGeom>
                <a:avLst/>
                <a:gdLst>
                  <a:gd name="T0" fmla="*/ 57 w 57"/>
                  <a:gd name="T1" fmla="*/ 0 h 80"/>
                  <a:gd name="T2" fmla="*/ 0 w 57"/>
                  <a:gd name="T3" fmla="*/ 31 h 80"/>
                  <a:gd name="T4" fmla="*/ 0 w 57"/>
                  <a:gd name="T5" fmla="*/ 80 h 80"/>
                  <a:gd name="T6" fmla="*/ 57 w 57"/>
                  <a:gd name="T7" fmla="*/ 50 h 80"/>
                  <a:gd name="T8" fmla="*/ 57 w 57"/>
                  <a:gd name="T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80">
                    <a:moveTo>
                      <a:pt x="57" y="0"/>
                    </a:moveTo>
                    <a:lnTo>
                      <a:pt x="0" y="31"/>
                    </a:lnTo>
                    <a:lnTo>
                      <a:pt x="0" y="80"/>
                    </a:lnTo>
                    <a:lnTo>
                      <a:pt x="57" y="50"/>
                    </a:lnTo>
                    <a:lnTo>
                      <a:pt x="57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75" name="Freeform 449">
                <a:extLst>
                  <a:ext uri="{FF2B5EF4-FFF2-40B4-BE49-F238E27FC236}">
                    <a16:creationId xmlns:a16="http://schemas.microsoft.com/office/drawing/2014/main" id="{912CEF17-7BC8-7E48-B71F-34D68EDD32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69" y="5098"/>
                <a:ext cx="57" cy="78"/>
              </a:xfrm>
              <a:custGeom>
                <a:avLst/>
                <a:gdLst>
                  <a:gd name="T0" fmla="*/ 57 w 57"/>
                  <a:gd name="T1" fmla="*/ 0 h 78"/>
                  <a:gd name="T2" fmla="*/ 0 w 57"/>
                  <a:gd name="T3" fmla="*/ 28 h 78"/>
                  <a:gd name="T4" fmla="*/ 0 w 57"/>
                  <a:gd name="T5" fmla="*/ 78 h 78"/>
                  <a:gd name="T6" fmla="*/ 57 w 57"/>
                  <a:gd name="T7" fmla="*/ 49 h 78"/>
                  <a:gd name="T8" fmla="*/ 57 w 57"/>
                  <a:gd name="T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78">
                    <a:moveTo>
                      <a:pt x="57" y="0"/>
                    </a:moveTo>
                    <a:lnTo>
                      <a:pt x="0" y="28"/>
                    </a:lnTo>
                    <a:lnTo>
                      <a:pt x="0" y="78"/>
                    </a:lnTo>
                    <a:lnTo>
                      <a:pt x="57" y="49"/>
                    </a:lnTo>
                    <a:lnTo>
                      <a:pt x="57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76" name="Freeform 450">
                <a:extLst>
                  <a:ext uri="{FF2B5EF4-FFF2-40B4-BE49-F238E27FC236}">
                    <a16:creationId xmlns:a16="http://schemas.microsoft.com/office/drawing/2014/main" id="{2EB07DCD-E412-954F-9A41-A45A17F61C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69" y="5006"/>
                <a:ext cx="57" cy="80"/>
              </a:xfrm>
              <a:custGeom>
                <a:avLst/>
                <a:gdLst>
                  <a:gd name="T0" fmla="*/ 57 w 57"/>
                  <a:gd name="T1" fmla="*/ 0 h 80"/>
                  <a:gd name="T2" fmla="*/ 0 w 57"/>
                  <a:gd name="T3" fmla="*/ 31 h 80"/>
                  <a:gd name="T4" fmla="*/ 0 w 57"/>
                  <a:gd name="T5" fmla="*/ 80 h 80"/>
                  <a:gd name="T6" fmla="*/ 57 w 57"/>
                  <a:gd name="T7" fmla="*/ 52 h 80"/>
                  <a:gd name="T8" fmla="*/ 57 w 57"/>
                  <a:gd name="T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80">
                    <a:moveTo>
                      <a:pt x="57" y="0"/>
                    </a:moveTo>
                    <a:lnTo>
                      <a:pt x="0" y="31"/>
                    </a:lnTo>
                    <a:lnTo>
                      <a:pt x="0" y="80"/>
                    </a:lnTo>
                    <a:lnTo>
                      <a:pt x="57" y="52"/>
                    </a:lnTo>
                    <a:lnTo>
                      <a:pt x="57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77" name="Freeform 451">
                <a:extLst>
                  <a:ext uri="{FF2B5EF4-FFF2-40B4-BE49-F238E27FC236}">
                    <a16:creationId xmlns:a16="http://schemas.microsoft.com/office/drawing/2014/main" id="{8392072E-EEE2-7D47-8B6F-C915A63423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77" y="4964"/>
                <a:ext cx="188" cy="567"/>
              </a:xfrm>
              <a:custGeom>
                <a:avLst/>
                <a:gdLst>
                  <a:gd name="T0" fmla="*/ 0 w 188"/>
                  <a:gd name="T1" fmla="*/ 0 h 567"/>
                  <a:gd name="T2" fmla="*/ 188 w 188"/>
                  <a:gd name="T3" fmla="*/ 106 h 567"/>
                  <a:gd name="T4" fmla="*/ 188 w 188"/>
                  <a:gd name="T5" fmla="*/ 567 h 567"/>
                  <a:gd name="T6" fmla="*/ 0 w 188"/>
                  <a:gd name="T7" fmla="*/ 461 h 567"/>
                  <a:gd name="T8" fmla="*/ 0 w 188"/>
                  <a:gd name="T9" fmla="*/ 0 h 5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8" h="567">
                    <a:moveTo>
                      <a:pt x="0" y="0"/>
                    </a:moveTo>
                    <a:lnTo>
                      <a:pt x="188" y="106"/>
                    </a:lnTo>
                    <a:lnTo>
                      <a:pt x="188" y="567"/>
                    </a:lnTo>
                    <a:lnTo>
                      <a:pt x="0" y="46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78" name="Freeform 452">
                <a:extLst>
                  <a:ext uri="{FF2B5EF4-FFF2-40B4-BE49-F238E27FC236}">
                    <a16:creationId xmlns:a16="http://schemas.microsoft.com/office/drawing/2014/main" id="{F8E68C3A-64ED-F84E-A32B-1C4E99ABBE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90" y="5406"/>
                <a:ext cx="47" cy="80"/>
              </a:xfrm>
              <a:custGeom>
                <a:avLst/>
                <a:gdLst>
                  <a:gd name="T0" fmla="*/ 0 w 47"/>
                  <a:gd name="T1" fmla="*/ 0 h 80"/>
                  <a:gd name="T2" fmla="*/ 47 w 47"/>
                  <a:gd name="T3" fmla="*/ 31 h 80"/>
                  <a:gd name="T4" fmla="*/ 47 w 47"/>
                  <a:gd name="T5" fmla="*/ 80 h 80"/>
                  <a:gd name="T6" fmla="*/ 0 w 47"/>
                  <a:gd name="T7" fmla="*/ 52 h 80"/>
                  <a:gd name="T8" fmla="*/ 0 w 47"/>
                  <a:gd name="T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80">
                    <a:moveTo>
                      <a:pt x="0" y="0"/>
                    </a:moveTo>
                    <a:lnTo>
                      <a:pt x="47" y="31"/>
                    </a:lnTo>
                    <a:lnTo>
                      <a:pt x="47" y="80"/>
                    </a:lnTo>
                    <a:lnTo>
                      <a:pt x="0" y="5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79" name="Freeform 453">
                <a:extLst>
                  <a:ext uri="{FF2B5EF4-FFF2-40B4-BE49-F238E27FC236}">
                    <a16:creationId xmlns:a16="http://schemas.microsoft.com/office/drawing/2014/main" id="{65129BEA-59B7-4A4F-BB36-8E43747BBF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90" y="5317"/>
                <a:ext cx="47" cy="80"/>
              </a:xfrm>
              <a:custGeom>
                <a:avLst/>
                <a:gdLst>
                  <a:gd name="T0" fmla="*/ 0 w 47"/>
                  <a:gd name="T1" fmla="*/ 0 h 80"/>
                  <a:gd name="T2" fmla="*/ 47 w 47"/>
                  <a:gd name="T3" fmla="*/ 30 h 80"/>
                  <a:gd name="T4" fmla="*/ 47 w 47"/>
                  <a:gd name="T5" fmla="*/ 80 h 80"/>
                  <a:gd name="T6" fmla="*/ 0 w 47"/>
                  <a:gd name="T7" fmla="*/ 49 h 80"/>
                  <a:gd name="T8" fmla="*/ 0 w 47"/>
                  <a:gd name="T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80">
                    <a:moveTo>
                      <a:pt x="0" y="0"/>
                    </a:moveTo>
                    <a:lnTo>
                      <a:pt x="47" y="30"/>
                    </a:lnTo>
                    <a:lnTo>
                      <a:pt x="47" y="80"/>
                    </a:lnTo>
                    <a:lnTo>
                      <a:pt x="0" y="4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80" name="Freeform 454">
                <a:extLst>
                  <a:ext uri="{FF2B5EF4-FFF2-40B4-BE49-F238E27FC236}">
                    <a16:creationId xmlns:a16="http://schemas.microsoft.com/office/drawing/2014/main" id="{465F5F36-FBAB-9F4D-9837-6070EF27F9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90" y="5227"/>
                <a:ext cx="47" cy="78"/>
              </a:xfrm>
              <a:custGeom>
                <a:avLst/>
                <a:gdLst>
                  <a:gd name="T0" fmla="*/ 0 w 47"/>
                  <a:gd name="T1" fmla="*/ 0 h 78"/>
                  <a:gd name="T2" fmla="*/ 47 w 47"/>
                  <a:gd name="T3" fmla="*/ 29 h 78"/>
                  <a:gd name="T4" fmla="*/ 47 w 47"/>
                  <a:gd name="T5" fmla="*/ 78 h 78"/>
                  <a:gd name="T6" fmla="*/ 0 w 47"/>
                  <a:gd name="T7" fmla="*/ 50 h 78"/>
                  <a:gd name="T8" fmla="*/ 0 w 47"/>
                  <a:gd name="T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78">
                    <a:moveTo>
                      <a:pt x="0" y="0"/>
                    </a:moveTo>
                    <a:lnTo>
                      <a:pt x="47" y="29"/>
                    </a:lnTo>
                    <a:lnTo>
                      <a:pt x="47" y="78"/>
                    </a:lnTo>
                    <a:lnTo>
                      <a:pt x="0" y="5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81" name="Freeform 455">
                <a:extLst>
                  <a:ext uri="{FF2B5EF4-FFF2-40B4-BE49-F238E27FC236}">
                    <a16:creationId xmlns:a16="http://schemas.microsoft.com/office/drawing/2014/main" id="{7D62A227-C45B-0B4D-90AA-A80F72F0EE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90" y="5135"/>
                <a:ext cx="47" cy="81"/>
              </a:xfrm>
              <a:custGeom>
                <a:avLst/>
                <a:gdLst>
                  <a:gd name="T0" fmla="*/ 0 w 47"/>
                  <a:gd name="T1" fmla="*/ 0 h 81"/>
                  <a:gd name="T2" fmla="*/ 47 w 47"/>
                  <a:gd name="T3" fmla="*/ 31 h 81"/>
                  <a:gd name="T4" fmla="*/ 47 w 47"/>
                  <a:gd name="T5" fmla="*/ 81 h 81"/>
                  <a:gd name="T6" fmla="*/ 0 w 47"/>
                  <a:gd name="T7" fmla="*/ 50 h 81"/>
                  <a:gd name="T8" fmla="*/ 0 w 47"/>
                  <a:gd name="T9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81">
                    <a:moveTo>
                      <a:pt x="0" y="0"/>
                    </a:moveTo>
                    <a:lnTo>
                      <a:pt x="47" y="31"/>
                    </a:lnTo>
                    <a:lnTo>
                      <a:pt x="47" y="81"/>
                    </a:lnTo>
                    <a:lnTo>
                      <a:pt x="0" y="5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82" name="Freeform 456">
                <a:extLst>
                  <a:ext uri="{FF2B5EF4-FFF2-40B4-BE49-F238E27FC236}">
                    <a16:creationId xmlns:a16="http://schemas.microsoft.com/office/drawing/2014/main" id="{0686C2DC-AF66-C34F-AE6E-25BAF842AC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90" y="5046"/>
                <a:ext cx="47" cy="80"/>
              </a:xfrm>
              <a:custGeom>
                <a:avLst/>
                <a:gdLst>
                  <a:gd name="T0" fmla="*/ 0 w 47"/>
                  <a:gd name="T1" fmla="*/ 0 h 80"/>
                  <a:gd name="T2" fmla="*/ 47 w 47"/>
                  <a:gd name="T3" fmla="*/ 31 h 80"/>
                  <a:gd name="T4" fmla="*/ 47 w 47"/>
                  <a:gd name="T5" fmla="*/ 80 h 80"/>
                  <a:gd name="T6" fmla="*/ 0 w 47"/>
                  <a:gd name="T7" fmla="*/ 49 h 80"/>
                  <a:gd name="T8" fmla="*/ 0 w 47"/>
                  <a:gd name="T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80">
                    <a:moveTo>
                      <a:pt x="0" y="0"/>
                    </a:moveTo>
                    <a:lnTo>
                      <a:pt x="47" y="31"/>
                    </a:lnTo>
                    <a:lnTo>
                      <a:pt x="47" y="80"/>
                    </a:lnTo>
                    <a:lnTo>
                      <a:pt x="0" y="4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83" name="Freeform 457">
                <a:extLst>
                  <a:ext uri="{FF2B5EF4-FFF2-40B4-BE49-F238E27FC236}">
                    <a16:creationId xmlns:a16="http://schemas.microsoft.com/office/drawing/2014/main" id="{D609BDA5-0705-474B-83D5-357826B93D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14" y="5369"/>
                <a:ext cx="48" cy="80"/>
              </a:xfrm>
              <a:custGeom>
                <a:avLst/>
                <a:gdLst>
                  <a:gd name="T0" fmla="*/ 0 w 48"/>
                  <a:gd name="T1" fmla="*/ 0 h 80"/>
                  <a:gd name="T2" fmla="*/ 48 w 48"/>
                  <a:gd name="T3" fmla="*/ 28 h 80"/>
                  <a:gd name="T4" fmla="*/ 48 w 48"/>
                  <a:gd name="T5" fmla="*/ 80 h 80"/>
                  <a:gd name="T6" fmla="*/ 0 w 48"/>
                  <a:gd name="T7" fmla="*/ 49 h 80"/>
                  <a:gd name="T8" fmla="*/ 0 w 48"/>
                  <a:gd name="T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80">
                    <a:moveTo>
                      <a:pt x="0" y="0"/>
                    </a:moveTo>
                    <a:lnTo>
                      <a:pt x="48" y="28"/>
                    </a:lnTo>
                    <a:lnTo>
                      <a:pt x="48" y="80"/>
                    </a:lnTo>
                    <a:lnTo>
                      <a:pt x="0" y="4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84" name="Freeform 458">
                <a:extLst>
                  <a:ext uri="{FF2B5EF4-FFF2-40B4-BE49-F238E27FC236}">
                    <a16:creationId xmlns:a16="http://schemas.microsoft.com/office/drawing/2014/main" id="{1B44C43B-FE79-A142-8BB7-F1FB427AEB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14" y="5279"/>
                <a:ext cx="48" cy="78"/>
              </a:xfrm>
              <a:custGeom>
                <a:avLst/>
                <a:gdLst>
                  <a:gd name="T0" fmla="*/ 0 w 48"/>
                  <a:gd name="T1" fmla="*/ 0 h 78"/>
                  <a:gd name="T2" fmla="*/ 48 w 48"/>
                  <a:gd name="T3" fmla="*/ 28 h 78"/>
                  <a:gd name="T4" fmla="*/ 48 w 48"/>
                  <a:gd name="T5" fmla="*/ 78 h 78"/>
                  <a:gd name="T6" fmla="*/ 0 w 48"/>
                  <a:gd name="T7" fmla="*/ 50 h 78"/>
                  <a:gd name="T8" fmla="*/ 0 w 48"/>
                  <a:gd name="T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78">
                    <a:moveTo>
                      <a:pt x="0" y="0"/>
                    </a:moveTo>
                    <a:lnTo>
                      <a:pt x="48" y="28"/>
                    </a:lnTo>
                    <a:lnTo>
                      <a:pt x="48" y="78"/>
                    </a:lnTo>
                    <a:lnTo>
                      <a:pt x="0" y="5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85" name="Freeform 459">
                <a:extLst>
                  <a:ext uri="{FF2B5EF4-FFF2-40B4-BE49-F238E27FC236}">
                    <a16:creationId xmlns:a16="http://schemas.microsoft.com/office/drawing/2014/main" id="{E8304B85-AF52-4543-B5D0-0F839D1B62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14" y="5187"/>
                <a:ext cx="48" cy="80"/>
              </a:xfrm>
              <a:custGeom>
                <a:avLst/>
                <a:gdLst>
                  <a:gd name="T0" fmla="*/ 0 w 48"/>
                  <a:gd name="T1" fmla="*/ 0 h 80"/>
                  <a:gd name="T2" fmla="*/ 48 w 48"/>
                  <a:gd name="T3" fmla="*/ 31 h 80"/>
                  <a:gd name="T4" fmla="*/ 48 w 48"/>
                  <a:gd name="T5" fmla="*/ 80 h 80"/>
                  <a:gd name="T6" fmla="*/ 0 w 48"/>
                  <a:gd name="T7" fmla="*/ 50 h 80"/>
                  <a:gd name="T8" fmla="*/ 0 w 48"/>
                  <a:gd name="T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80">
                    <a:moveTo>
                      <a:pt x="0" y="0"/>
                    </a:moveTo>
                    <a:lnTo>
                      <a:pt x="48" y="31"/>
                    </a:lnTo>
                    <a:lnTo>
                      <a:pt x="48" y="80"/>
                    </a:lnTo>
                    <a:lnTo>
                      <a:pt x="0" y="5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86" name="Freeform 460">
                <a:extLst>
                  <a:ext uri="{FF2B5EF4-FFF2-40B4-BE49-F238E27FC236}">
                    <a16:creationId xmlns:a16="http://schemas.microsoft.com/office/drawing/2014/main" id="{46BCE828-5B4E-1F42-9734-923CC70456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14" y="5098"/>
                <a:ext cx="48" cy="78"/>
              </a:xfrm>
              <a:custGeom>
                <a:avLst/>
                <a:gdLst>
                  <a:gd name="T0" fmla="*/ 0 w 48"/>
                  <a:gd name="T1" fmla="*/ 0 h 78"/>
                  <a:gd name="T2" fmla="*/ 48 w 48"/>
                  <a:gd name="T3" fmla="*/ 28 h 78"/>
                  <a:gd name="T4" fmla="*/ 48 w 48"/>
                  <a:gd name="T5" fmla="*/ 78 h 78"/>
                  <a:gd name="T6" fmla="*/ 0 w 48"/>
                  <a:gd name="T7" fmla="*/ 49 h 78"/>
                  <a:gd name="T8" fmla="*/ 0 w 48"/>
                  <a:gd name="T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78">
                    <a:moveTo>
                      <a:pt x="0" y="0"/>
                    </a:moveTo>
                    <a:lnTo>
                      <a:pt x="48" y="28"/>
                    </a:lnTo>
                    <a:lnTo>
                      <a:pt x="48" y="78"/>
                    </a:lnTo>
                    <a:lnTo>
                      <a:pt x="0" y="4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87" name="Freeform 461">
                <a:extLst>
                  <a:ext uri="{FF2B5EF4-FFF2-40B4-BE49-F238E27FC236}">
                    <a16:creationId xmlns:a16="http://schemas.microsoft.com/office/drawing/2014/main" id="{BEC9C0DC-E7B9-AC46-823F-7B0FF59349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14" y="5006"/>
                <a:ext cx="48" cy="80"/>
              </a:xfrm>
              <a:custGeom>
                <a:avLst/>
                <a:gdLst>
                  <a:gd name="T0" fmla="*/ 0 w 48"/>
                  <a:gd name="T1" fmla="*/ 0 h 80"/>
                  <a:gd name="T2" fmla="*/ 48 w 48"/>
                  <a:gd name="T3" fmla="*/ 31 h 80"/>
                  <a:gd name="T4" fmla="*/ 48 w 48"/>
                  <a:gd name="T5" fmla="*/ 80 h 80"/>
                  <a:gd name="T6" fmla="*/ 0 w 48"/>
                  <a:gd name="T7" fmla="*/ 52 h 80"/>
                  <a:gd name="T8" fmla="*/ 0 w 48"/>
                  <a:gd name="T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80">
                    <a:moveTo>
                      <a:pt x="0" y="0"/>
                    </a:moveTo>
                    <a:lnTo>
                      <a:pt x="48" y="31"/>
                    </a:lnTo>
                    <a:lnTo>
                      <a:pt x="48" y="80"/>
                    </a:lnTo>
                    <a:lnTo>
                      <a:pt x="0" y="5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88" name="Freeform 462">
                <a:extLst>
                  <a:ext uri="{FF2B5EF4-FFF2-40B4-BE49-F238E27FC236}">
                    <a16:creationId xmlns:a16="http://schemas.microsoft.com/office/drawing/2014/main" id="{7EDD07F4-A76E-B54C-8C2C-90FBE5AE65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81" y="4799"/>
                <a:ext cx="191" cy="271"/>
              </a:xfrm>
              <a:custGeom>
                <a:avLst/>
                <a:gdLst>
                  <a:gd name="T0" fmla="*/ 187 w 191"/>
                  <a:gd name="T1" fmla="*/ 271 h 271"/>
                  <a:gd name="T2" fmla="*/ 191 w 191"/>
                  <a:gd name="T3" fmla="*/ 0 h 271"/>
                  <a:gd name="T4" fmla="*/ 0 w 191"/>
                  <a:gd name="T5" fmla="*/ 165 h 271"/>
                  <a:gd name="T6" fmla="*/ 187 w 191"/>
                  <a:gd name="T7" fmla="*/ 271 h 2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1" h="271">
                    <a:moveTo>
                      <a:pt x="187" y="271"/>
                    </a:moveTo>
                    <a:lnTo>
                      <a:pt x="191" y="0"/>
                    </a:lnTo>
                    <a:lnTo>
                      <a:pt x="0" y="165"/>
                    </a:lnTo>
                    <a:lnTo>
                      <a:pt x="187" y="271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89" name="Freeform 463">
                <a:extLst>
                  <a:ext uri="{FF2B5EF4-FFF2-40B4-BE49-F238E27FC236}">
                    <a16:creationId xmlns:a16="http://schemas.microsoft.com/office/drawing/2014/main" id="{699D0C3C-5551-254D-A04C-ACCD24CCAF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68" y="4799"/>
                <a:ext cx="186" cy="271"/>
              </a:xfrm>
              <a:custGeom>
                <a:avLst/>
                <a:gdLst>
                  <a:gd name="T0" fmla="*/ 186 w 186"/>
                  <a:gd name="T1" fmla="*/ 165 h 271"/>
                  <a:gd name="T2" fmla="*/ 4 w 186"/>
                  <a:gd name="T3" fmla="*/ 0 h 271"/>
                  <a:gd name="T4" fmla="*/ 0 w 186"/>
                  <a:gd name="T5" fmla="*/ 271 h 271"/>
                  <a:gd name="T6" fmla="*/ 186 w 186"/>
                  <a:gd name="T7" fmla="*/ 165 h 2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6" h="271">
                    <a:moveTo>
                      <a:pt x="186" y="165"/>
                    </a:moveTo>
                    <a:lnTo>
                      <a:pt x="4" y="0"/>
                    </a:lnTo>
                    <a:lnTo>
                      <a:pt x="0" y="271"/>
                    </a:lnTo>
                    <a:lnTo>
                      <a:pt x="186" y="165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90" name="Freeform 464">
                <a:extLst>
                  <a:ext uri="{FF2B5EF4-FFF2-40B4-BE49-F238E27FC236}">
                    <a16:creationId xmlns:a16="http://schemas.microsoft.com/office/drawing/2014/main" id="{E057D4C7-0D6C-994C-B3BB-38D2DE6726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371" y="4389"/>
                <a:ext cx="377" cy="728"/>
              </a:xfrm>
              <a:custGeom>
                <a:avLst/>
                <a:gdLst>
                  <a:gd name="T0" fmla="*/ 377 w 377"/>
                  <a:gd name="T1" fmla="*/ 728 h 728"/>
                  <a:gd name="T2" fmla="*/ 0 w 377"/>
                  <a:gd name="T3" fmla="*/ 513 h 728"/>
                  <a:gd name="T4" fmla="*/ 0 w 377"/>
                  <a:gd name="T5" fmla="*/ 0 h 728"/>
                  <a:gd name="T6" fmla="*/ 377 w 377"/>
                  <a:gd name="T7" fmla="*/ 214 h 728"/>
                  <a:gd name="T8" fmla="*/ 377 w 377"/>
                  <a:gd name="T9" fmla="*/ 728 h 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7" h="728">
                    <a:moveTo>
                      <a:pt x="377" y="728"/>
                    </a:moveTo>
                    <a:lnTo>
                      <a:pt x="0" y="513"/>
                    </a:lnTo>
                    <a:lnTo>
                      <a:pt x="0" y="0"/>
                    </a:lnTo>
                    <a:lnTo>
                      <a:pt x="377" y="214"/>
                    </a:lnTo>
                    <a:lnTo>
                      <a:pt x="377" y="728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91" name="Freeform 465">
                <a:extLst>
                  <a:ext uri="{FF2B5EF4-FFF2-40B4-BE49-F238E27FC236}">
                    <a16:creationId xmlns:a16="http://schemas.microsoft.com/office/drawing/2014/main" id="{3BC3A1B5-9F75-0546-B5B5-07CAF8649E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08" y="4775"/>
                <a:ext cx="76" cy="144"/>
              </a:xfrm>
              <a:custGeom>
                <a:avLst/>
                <a:gdLst>
                  <a:gd name="T0" fmla="*/ 76 w 76"/>
                  <a:gd name="T1" fmla="*/ 144 h 144"/>
                  <a:gd name="T2" fmla="*/ 0 w 76"/>
                  <a:gd name="T3" fmla="*/ 101 h 144"/>
                  <a:gd name="T4" fmla="*/ 0 w 76"/>
                  <a:gd name="T5" fmla="*/ 0 h 144"/>
                  <a:gd name="T6" fmla="*/ 76 w 76"/>
                  <a:gd name="T7" fmla="*/ 43 h 144"/>
                  <a:gd name="T8" fmla="*/ 76 w 76"/>
                  <a:gd name="T9" fmla="*/ 1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6" h="144">
                    <a:moveTo>
                      <a:pt x="76" y="144"/>
                    </a:moveTo>
                    <a:lnTo>
                      <a:pt x="0" y="101"/>
                    </a:lnTo>
                    <a:lnTo>
                      <a:pt x="0" y="0"/>
                    </a:lnTo>
                    <a:lnTo>
                      <a:pt x="76" y="43"/>
                    </a:lnTo>
                    <a:lnTo>
                      <a:pt x="76" y="144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92" name="Freeform 466">
                <a:extLst>
                  <a:ext uri="{FF2B5EF4-FFF2-40B4-BE49-F238E27FC236}">
                    <a16:creationId xmlns:a16="http://schemas.microsoft.com/office/drawing/2014/main" id="{859C48FF-0305-BA40-BABA-1C7D406A2F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08" y="4634"/>
                <a:ext cx="76" cy="144"/>
              </a:xfrm>
              <a:custGeom>
                <a:avLst/>
                <a:gdLst>
                  <a:gd name="T0" fmla="*/ 76 w 76"/>
                  <a:gd name="T1" fmla="*/ 144 h 144"/>
                  <a:gd name="T2" fmla="*/ 0 w 76"/>
                  <a:gd name="T3" fmla="*/ 101 h 144"/>
                  <a:gd name="T4" fmla="*/ 0 w 76"/>
                  <a:gd name="T5" fmla="*/ 0 h 144"/>
                  <a:gd name="T6" fmla="*/ 76 w 76"/>
                  <a:gd name="T7" fmla="*/ 42 h 144"/>
                  <a:gd name="T8" fmla="*/ 76 w 76"/>
                  <a:gd name="T9" fmla="*/ 1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6" h="144">
                    <a:moveTo>
                      <a:pt x="76" y="144"/>
                    </a:moveTo>
                    <a:lnTo>
                      <a:pt x="0" y="101"/>
                    </a:lnTo>
                    <a:lnTo>
                      <a:pt x="0" y="0"/>
                    </a:lnTo>
                    <a:lnTo>
                      <a:pt x="76" y="42"/>
                    </a:lnTo>
                    <a:lnTo>
                      <a:pt x="76" y="144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93" name="Freeform 467">
                <a:extLst>
                  <a:ext uri="{FF2B5EF4-FFF2-40B4-BE49-F238E27FC236}">
                    <a16:creationId xmlns:a16="http://schemas.microsoft.com/office/drawing/2014/main" id="{8F2A72B5-F24E-2E4B-A28A-42AAE96550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08" y="4493"/>
                <a:ext cx="76" cy="143"/>
              </a:xfrm>
              <a:custGeom>
                <a:avLst/>
                <a:gdLst>
                  <a:gd name="T0" fmla="*/ 76 w 76"/>
                  <a:gd name="T1" fmla="*/ 143 h 143"/>
                  <a:gd name="T2" fmla="*/ 0 w 76"/>
                  <a:gd name="T3" fmla="*/ 101 h 143"/>
                  <a:gd name="T4" fmla="*/ 0 w 76"/>
                  <a:gd name="T5" fmla="*/ 0 h 143"/>
                  <a:gd name="T6" fmla="*/ 76 w 76"/>
                  <a:gd name="T7" fmla="*/ 42 h 143"/>
                  <a:gd name="T8" fmla="*/ 76 w 76"/>
                  <a:gd name="T9" fmla="*/ 143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6" h="143">
                    <a:moveTo>
                      <a:pt x="76" y="143"/>
                    </a:moveTo>
                    <a:lnTo>
                      <a:pt x="0" y="101"/>
                    </a:lnTo>
                    <a:lnTo>
                      <a:pt x="0" y="0"/>
                    </a:lnTo>
                    <a:lnTo>
                      <a:pt x="76" y="42"/>
                    </a:lnTo>
                    <a:lnTo>
                      <a:pt x="76" y="143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94" name="Freeform 468">
                <a:extLst>
                  <a:ext uri="{FF2B5EF4-FFF2-40B4-BE49-F238E27FC236}">
                    <a16:creationId xmlns:a16="http://schemas.microsoft.com/office/drawing/2014/main" id="{21E5F956-468A-454F-A9EF-F8F34E95F4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12" y="4832"/>
                <a:ext cx="76" cy="143"/>
              </a:xfrm>
              <a:custGeom>
                <a:avLst/>
                <a:gdLst>
                  <a:gd name="T0" fmla="*/ 76 w 76"/>
                  <a:gd name="T1" fmla="*/ 143 h 143"/>
                  <a:gd name="T2" fmla="*/ 0 w 76"/>
                  <a:gd name="T3" fmla="*/ 101 h 143"/>
                  <a:gd name="T4" fmla="*/ 0 w 76"/>
                  <a:gd name="T5" fmla="*/ 0 h 143"/>
                  <a:gd name="T6" fmla="*/ 76 w 76"/>
                  <a:gd name="T7" fmla="*/ 42 h 143"/>
                  <a:gd name="T8" fmla="*/ 76 w 76"/>
                  <a:gd name="T9" fmla="*/ 143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6" h="143">
                    <a:moveTo>
                      <a:pt x="76" y="143"/>
                    </a:moveTo>
                    <a:lnTo>
                      <a:pt x="0" y="101"/>
                    </a:lnTo>
                    <a:lnTo>
                      <a:pt x="0" y="0"/>
                    </a:lnTo>
                    <a:lnTo>
                      <a:pt x="76" y="42"/>
                    </a:lnTo>
                    <a:lnTo>
                      <a:pt x="76" y="143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95" name="Freeform 469">
                <a:extLst>
                  <a:ext uri="{FF2B5EF4-FFF2-40B4-BE49-F238E27FC236}">
                    <a16:creationId xmlns:a16="http://schemas.microsoft.com/office/drawing/2014/main" id="{73C0570E-2477-174F-9C68-BA9116BD47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12" y="4690"/>
                <a:ext cx="76" cy="144"/>
              </a:xfrm>
              <a:custGeom>
                <a:avLst/>
                <a:gdLst>
                  <a:gd name="T0" fmla="*/ 76 w 76"/>
                  <a:gd name="T1" fmla="*/ 144 h 144"/>
                  <a:gd name="T2" fmla="*/ 0 w 76"/>
                  <a:gd name="T3" fmla="*/ 102 h 144"/>
                  <a:gd name="T4" fmla="*/ 0 w 76"/>
                  <a:gd name="T5" fmla="*/ 0 h 144"/>
                  <a:gd name="T6" fmla="*/ 76 w 76"/>
                  <a:gd name="T7" fmla="*/ 43 h 144"/>
                  <a:gd name="T8" fmla="*/ 76 w 76"/>
                  <a:gd name="T9" fmla="*/ 1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6" h="144">
                    <a:moveTo>
                      <a:pt x="76" y="144"/>
                    </a:moveTo>
                    <a:lnTo>
                      <a:pt x="0" y="102"/>
                    </a:lnTo>
                    <a:lnTo>
                      <a:pt x="0" y="0"/>
                    </a:lnTo>
                    <a:lnTo>
                      <a:pt x="76" y="43"/>
                    </a:lnTo>
                    <a:lnTo>
                      <a:pt x="76" y="144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96" name="Freeform 470">
                <a:extLst>
                  <a:ext uri="{FF2B5EF4-FFF2-40B4-BE49-F238E27FC236}">
                    <a16:creationId xmlns:a16="http://schemas.microsoft.com/office/drawing/2014/main" id="{0F71A3FA-4335-534C-B261-0CF954560B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12" y="4549"/>
                <a:ext cx="76" cy="144"/>
              </a:xfrm>
              <a:custGeom>
                <a:avLst/>
                <a:gdLst>
                  <a:gd name="T0" fmla="*/ 76 w 76"/>
                  <a:gd name="T1" fmla="*/ 144 h 144"/>
                  <a:gd name="T2" fmla="*/ 0 w 76"/>
                  <a:gd name="T3" fmla="*/ 101 h 144"/>
                  <a:gd name="T4" fmla="*/ 0 w 76"/>
                  <a:gd name="T5" fmla="*/ 0 h 144"/>
                  <a:gd name="T6" fmla="*/ 76 w 76"/>
                  <a:gd name="T7" fmla="*/ 42 h 144"/>
                  <a:gd name="T8" fmla="*/ 76 w 76"/>
                  <a:gd name="T9" fmla="*/ 1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6" h="144">
                    <a:moveTo>
                      <a:pt x="76" y="144"/>
                    </a:moveTo>
                    <a:lnTo>
                      <a:pt x="0" y="101"/>
                    </a:lnTo>
                    <a:lnTo>
                      <a:pt x="0" y="0"/>
                    </a:lnTo>
                    <a:lnTo>
                      <a:pt x="76" y="42"/>
                    </a:lnTo>
                    <a:lnTo>
                      <a:pt x="76" y="144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97" name="Freeform 471">
                <a:extLst>
                  <a:ext uri="{FF2B5EF4-FFF2-40B4-BE49-F238E27FC236}">
                    <a16:creationId xmlns:a16="http://schemas.microsoft.com/office/drawing/2014/main" id="{0DD284CC-08BE-A64E-AEA0-281221B287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16" y="4888"/>
                <a:ext cx="75" cy="144"/>
              </a:xfrm>
              <a:custGeom>
                <a:avLst/>
                <a:gdLst>
                  <a:gd name="T0" fmla="*/ 75 w 75"/>
                  <a:gd name="T1" fmla="*/ 144 h 144"/>
                  <a:gd name="T2" fmla="*/ 0 w 75"/>
                  <a:gd name="T3" fmla="*/ 101 h 144"/>
                  <a:gd name="T4" fmla="*/ 0 w 75"/>
                  <a:gd name="T5" fmla="*/ 0 h 144"/>
                  <a:gd name="T6" fmla="*/ 75 w 75"/>
                  <a:gd name="T7" fmla="*/ 43 h 144"/>
                  <a:gd name="T8" fmla="*/ 75 w 75"/>
                  <a:gd name="T9" fmla="*/ 1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144">
                    <a:moveTo>
                      <a:pt x="75" y="144"/>
                    </a:moveTo>
                    <a:lnTo>
                      <a:pt x="0" y="101"/>
                    </a:lnTo>
                    <a:lnTo>
                      <a:pt x="0" y="0"/>
                    </a:lnTo>
                    <a:lnTo>
                      <a:pt x="75" y="43"/>
                    </a:lnTo>
                    <a:lnTo>
                      <a:pt x="75" y="144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98" name="Freeform 472">
                <a:extLst>
                  <a:ext uri="{FF2B5EF4-FFF2-40B4-BE49-F238E27FC236}">
                    <a16:creationId xmlns:a16="http://schemas.microsoft.com/office/drawing/2014/main" id="{1768F038-9498-EF47-8884-275D3F9D6F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16" y="4747"/>
                <a:ext cx="75" cy="144"/>
              </a:xfrm>
              <a:custGeom>
                <a:avLst/>
                <a:gdLst>
                  <a:gd name="T0" fmla="*/ 75 w 75"/>
                  <a:gd name="T1" fmla="*/ 144 h 144"/>
                  <a:gd name="T2" fmla="*/ 0 w 75"/>
                  <a:gd name="T3" fmla="*/ 101 h 144"/>
                  <a:gd name="T4" fmla="*/ 0 w 75"/>
                  <a:gd name="T5" fmla="*/ 0 h 144"/>
                  <a:gd name="T6" fmla="*/ 75 w 75"/>
                  <a:gd name="T7" fmla="*/ 42 h 144"/>
                  <a:gd name="T8" fmla="*/ 75 w 75"/>
                  <a:gd name="T9" fmla="*/ 1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144">
                    <a:moveTo>
                      <a:pt x="75" y="144"/>
                    </a:moveTo>
                    <a:lnTo>
                      <a:pt x="0" y="101"/>
                    </a:lnTo>
                    <a:lnTo>
                      <a:pt x="0" y="0"/>
                    </a:lnTo>
                    <a:lnTo>
                      <a:pt x="75" y="42"/>
                    </a:lnTo>
                    <a:lnTo>
                      <a:pt x="75" y="144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299" name="Freeform 473">
                <a:extLst>
                  <a:ext uri="{FF2B5EF4-FFF2-40B4-BE49-F238E27FC236}">
                    <a16:creationId xmlns:a16="http://schemas.microsoft.com/office/drawing/2014/main" id="{01391789-03B3-AD48-8187-D5683CB95A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16" y="4606"/>
                <a:ext cx="75" cy="143"/>
              </a:xfrm>
              <a:custGeom>
                <a:avLst/>
                <a:gdLst>
                  <a:gd name="T0" fmla="*/ 75 w 75"/>
                  <a:gd name="T1" fmla="*/ 143 h 143"/>
                  <a:gd name="T2" fmla="*/ 0 w 75"/>
                  <a:gd name="T3" fmla="*/ 101 h 143"/>
                  <a:gd name="T4" fmla="*/ 0 w 75"/>
                  <a:gd name="T5" fmla="*/ 0 h 143"/>
                  <a:gd name="T6" fmla="*/ 75 w 75"/>
                  <a:gd name="T7" fmla="*/ 42 h 143"/>
                  <a:gd name="T8" fmla="*/ 75 w 75"/>
                  <a:gd name="T9" fmla="*/ 143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143">
                    <a:moveTo>
                      <a:pt x="75" y="143"/>
                    </a:moveTo>
                    <a:lnTo>
                      <a:pt x="0" y="101"/>
                    </a:lnTo>
                    <a:lnTo>
                      <a:pt x="0" y="0"/>
                    </a:lnTo>
                    <a:lnTo>
                      <a:pt x="75" y="42"/>
                    </a:lnTo>
                    <a:lnTo>
                      <a:pt x="75" y="143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  <p:sp>
            <p:nvSpPr>
              <p:cNvPr id="300" name="Freeform 474">
                <a:extLst>
                  <a:ext uri="{FF2B5EF4-FFF2-40B4-BE49-F238E27FC236}">
                    <a16:creationId xmlns:a16="http://schemas.microsoft.com/office/drawing/2014/main" id="{DF0C7FB3-433C-AC42-B25A-F3F4295B41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48" y="4455"/>
                <a:ext cx="236" cy="662"/>
              </a:xfrm>
              <a:custGeom>
                <a:avLst/>
                <a:gdLst>
                  <a:gd name="T0" fmla="*/ 0 w 236"/>
                  <a:gd name="T1" fmla="*/ 662 h 662"/>
                  <a:gd name="T2" fmla="*/ 236 w 236"/>
                  <a:gd name="T3" fmla="*/ 513 h 662"/>
                  <a:gd name="T4" fmla="*/ 236 w 236"/>
                  <a:gd name="T5" fmla="*/ 0 h 662"/>
                  <a:gd name="T6" fmla="*/ 0 w 236"/>
                  <a:gd name="T7" fmla="*/ 148 h 662"/>
                  <a:gd name="T8" fmla="*/ 0 w 236"/>
                  <a:gd name="T9" fmla="*/ 662 h 6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6" h="662">
                    <a:moveTo>
                      <a:pt x="0" y="662"/>
                    </a:moveTo>
                    <a:lnTo>
                      <a:pt x="236" y="513"/>
                    </a:lnTo>
                    <a:lnTo>
                      <a:pt x="236" y="0"/>
                    </a:lnTo>
                    <a:lnTo>
                      <a:pt x="0" y="148"/>
                    </a:lnTo>
                    <a:lnTo>
                      <a:pt x="0" y="662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solidFill>
                  <a:srgbClr val="5E5E5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 sz="900" dirty="0"/>
              </a:p>
            </p:txBody>
          </p:sp>
        </p:grpSp>
      </p:grpSp>
      <p:grpSp>
        <p:nvGrpSpPr>
          <p:cNvPr id="301" name="Gruppieren 2">
            <a:extLst>
              <a:ext uri="{FF2B5EF4-FFF2-40B4-BE49-F238E27FC236}">
                <a16:creationId xmlns:a16="http://schemas.microsoft.com/office/drawing/2014/main" id="{05CE5BDB-BC7E-9248-807F-5218D4311FD5}"/>
              </a:ext>
            </a:extLst>
          </p:cNvPr>
          <p:cNvGrpSpPr/>
          <p:nvPr/>
        </p:nvGrpSpPr>
        <p:grpSpPr>
          <a:xfrm>
            <a:off x="2764964" y="1274838"/>
            <a:ext cx="8682719" cy="1899155"/>
            <a:chOff x="22295862" y="4043538"/>
            <a:chExt cx="17365435" cy="3798310"/>
          </a:xfrm>
        </p:grpSpPr>
        <p:sp>
          <p:nvSpPr>
            <p:cNvPr id="302" name="Shape 615">
              <a:extLst>
                <a:ext uri="{FF2B5EF4-FFF2-40B4-BE49-F238E27FC236}">
                  <a16:creationId xmlns:a16="http://schemas.microsoft.com/office/drawing/2014/main" id="{F05D08FA-A801-7746-B06D-3C0036145681}"/>
                </a:ext>
              </a:extLst>
            </p:cNvPr>
            <p:cNvSpPr/>
            <p:nvPr/>
          </p:nvSpPr>
          <p:spPr>
            <a:xfrm>
              <a:off x="34521278" y="5061720"/>
              <a:ext cx="5140019" cy="1898892"/>
            </a:xfrm>
            <a:prstGeom prst="rect">
              <a:avLst/>
            </a:prstGeom>
            <a:noFill/>
            <a:ln>
              <a:noFill/>
            </a:ln>
          </p:spPr>
          <p:txBody>
            <a:bodyPr lIns="91412" tIns="45700" rIns="91412" bIns="45700" anchor="t" anchorCtr="0">
              <a:noAutofit/>
            </a:bodyPr>
            <a:lstStyle/>
            <a:p>
              <a:pPr marL="171450" indent="-171450">
                <a:lnSpc>
                  <a:spcPct val="130000"/>
                </a:lnSpc>
                <a:buSzPct val="25000"/>
                <a:buFont typeface="Wingdings" panose="05000000000000000000" pitchFamily="2" charset="2"/>
                <a:buChar char="v"/>
              </a:pPr>
              <a:r>
                <a:rPr lang="tr-TR" sz="900" dirty="0">
                  <a:ea typeface="Roboto"/>
                  <a:cs typeface="Roboto"/>
                  <a:sym typeface="Roboto"/>
                </a:rPr>
                <a:t>Dijital Dönüşüm Olgunluk Analizleri </a:t>
              </a:r>
            </a:p>
            <a:p>
              <a:pPr marL="171450" indent="-171450">
                <a:lnSpc>
                  <a:spcPct val="130000"/>
                </a:lnSpc>
                <a:buSzPct val="25000"/>
                <a:buFont typeface="Wingdings" panose="05000000000000000000" pitchFamily="2" charset="2"/>
                <a:buChar char="v"/>
              </a:pPr>
              <a:r>
                <a:rPr lang="tr-TR" sz="900" dirty="0">
                  <a:ea typeface="Roboto"/>
                  <a:cs typeface="Roboto"/>
                  <a:sym typeface="Roboto"/>
                </a:rPr>
                <a:t>Dönüşüm Hazırlık ve Uygulama Planlaması</a:t>
              </a:r>
            </a:p>
            <a:p>
              <a:pPr marL="171450" indent="-171450">
                <a:lnSpc>
                  <a:spcPct val="130000"/>
                </a:lnSpc>
                <a:buSzPct val="25000"/>
                <a:buFont typeface="Wingdings" panose="05000000000000000000" pitchFamily="2" charset="2"/>
                <a:buChar char="v"/>
              </a:pPr>
              <a:r>
                <a:rPr lang="tr-TR" sz="900" dirty="0">
                  <a:ea typeface="Roboto"/>
                  <a:cs typeface="Roboto"/>
                  <a:sym typeface="Roboto"/>
                </a:rPr>
                <a:t>Kurumsal Bilgi Yönetimi Hizmetleri</a:t>
              </a:r>
            </a:p>
            <a:p>
              <a:pPr marL="171450" indent="-171450">
                <a:lnSpc>
                  <a:spcPct val="130000"/>
                </a:lnSpc>
                <a:buSzPct val="25000"/>
                <a:buFont typeface="Wingdings" panose="05000000000000000000" pitchFamily="2" charset="2"/>
                <a:buChar char="v"/>
              </a:pPr>
              <a:r>
                <a:rPr lang="tr-TR" sz="900" dirty="0">
                  <a:ea typeface="Roboto"/>
                  <a:cs typeface="Roboto"/>
                  <a:sym typeface="Roboto"/>
                </a:rPr>
                <a:t>Müşteri Deneyimi</a:t>
              </a:r>
            </a:p>
            <a:p>
              <a:pPr>
                <a:lnSpc>
                  <a:spcPct val="130000"/>
                </a:lnSpc>
                <a:buSzPct val="25000"/>
              </a:pPr>
              <a:endParaRPr lang="tr-TR" sz="900" dirty="0">
                <a:ea typeface="Roboto"/>
                <a:cs typeface="Roboto"/>
                <a:sym typeface="Roboto"/>
              </a:endParaRPr>
            </a:p>
          </p:txBody>
        </p:sp>
        <p:sp>
          <p:nvSpPr>
            <p:cNvPr id="303" name="Shape 616">
              <a:extLst>
                <a:ext uri="{FF2B5EF4-FFF2-40B4-BE49-F238E27FC236}">
                  <a16:creationId xmlns:a16="http://schemas.microsoft.com/office/drawing/2014/main" id="{6DC15BDC-28D4-1B46-838A-71C3C87788BE}"/>
                </a:ext>
              </a:extLst>
            </p:cNvPr>
            <p:cNvSpPr/>
            <p:nvPr/>
          </p:nvSpPr>
          <p:spPr>
            <a:xfrm>
              <a:off x="34521276" y="4043538"/>
              <a:ext cx="5140021" cy="800182"/>
            </a:xfrm>
            <a:prstGeom prst="rect">
              <a:avLst/>
            </a:prstGeom>
            <a:noFill/>
            <a:ln>
              <a:noFill/>
            </a:ln>
          </p:spPr>
          <p:txBody>
            <a:bodyPr lIns="91412" tIns="45700" rIns="91412" bIns="45700" anchor="t" anchorCtr="0">
              <a:noAutofit/>
            </a:bodyPr>
            <a:lstStyle/>
            <a:p>
              <a:pPr>
                <a:lnSpc>
                  <a:spcPct val="130000"/>
                </a:lnSpc>
                <a:buSzPct val="25000"/>
              </a:pPr>
              <a:r>
                <a:rPr lang="tr-TR" sz="1501" dirty="0">
                  <a:ea typeface="Roboto"/>
                  <a:cs typeface="Roboto"/>
                  <a:sym typeface="Roboto"/>
                </a:rPr>
                <a:t>Dijital Dönüşüm</a:t>
              </a:r>
            </a:p>
          </p:txBody>
        </p:sp>
        <p:sp>
          <p:nvSpPr>
            <p:cNvPr id="304" name="Ellipse 310">
              <a:extLst>
                <a:ext uri="{FF2B5EF4-FFF2-40B4-BE49-F238E27FC236}">
                  <a16:creationId xmlns:a16="http://schemas.microsoft.com/office/drawing/2014/main" id="{EE98E6B1-DAB6-0445-8271-54ACA6075475}"/>
                </a:ext>
              </a:extLst>
            </p:cNvPr>
            <p:cNvSpPr/>
            <p:nvPr/>
          </p:nvSpPr>
          <p:spPr>
            <a:xfrm rot="15804995">
              <a:off x="22295862" y="5672658"/>
              <a:ext cx="830204" cy="830204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sz="900" dirty="0">
                <a:solidFill>
                  <a:schemeClr val="tx1"/>
                </a:solidFill>
              </a:endParaRPr>
            </a:p>
          </p:txBody>
        </p:sp>
        <p:sp>
          <p:nvSpPr>
            <p:cNvPr id="306" name="Ellipse 316">
              <a:extLst>
                <a:ext uri="{FF2B5EF4-FFF2-40B4-BE49-F238E27FC236}">
                  <a16:creationId xmlns:a16="http://schemas.microsoft.com/office/drawing/2014/main" id="{2BD4D0C7-ED7E-E943-A42B-DE268F76C57D}"/>
                </a:ext>
              </a:extLst>
            </p:cNvPr>
            <p:cNvSpPr/>
            <p:nvPr/>
          </p:nvSpPr>
          <p:spPr>
            <a:xfrm rot="11848794">
              <a:off x="26901553" y="7404966"/>
              <a:ext cx="436882" cy="436882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sz="900" dirty="0">
                <a:solidFill>
                  <a:schemeClr val="tx1"/>
                </a:solidFill>
              </a:endParaRPr>
            </a:p>
          </p:txBody>
        </p:sp>
        <p:cxnSp>
          <p:nvCxnSpPr>
            <p:cNvPr id="307" name="Gerader Verbinder 317">
              <a:extLst>
                <a:ext uri="{FF2B5EF4-FFF2-40B4-BE49-F238E27FC236}">
                  <a16:creationId xmlns:a16="http://schemas.microsoft.com/office/drawing/2014/main" id="{69E0B453-F48A-F741-92C4-BD64A6B7A4BB}"/>
                </a:ext>
              </a:extLst>
            </p:cNvPr>
            <p:cNvCxnSpPr>
              <a:cxnSpLocks/>
              <a:stCxn id="306" idx="6"/>
              <a:endCxn id="304" idx="3"/>
            </p:cNvCxnSpPr>
            <p:nvPr/>
          </p:nvCxnSpPr>
          <p:spPr>
            <a:xfrm flipH="1" flipV="1">
              <a:off x="23036202" y="6345694"/>
              <a:ext cx="3875439" cy="121209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8" name="Gruppieren 1">
            <a:extLst>
              <a:ext uri="{FF2B5EF4-FFF2-40B4-BE49-F238E27FC236}">
                <a16:creationId xmlns:a16="http://schemas.microsoft.com/office/drawing/2014/main" id="{E728AC4F-810D-1E4C-9EB3-3DDBD3A81A3A}"/>
              </a:ext>
            </a:extLst>
          </p:cNvPr>
          <p:cNvGrpSpPr/>
          <p:nvPr/>
        </p:nvGrpSpPr>
        <p:grpSpPr>
          <a:xfrm>
            <a:off x="3236492" y="3559449"/>
            <a:ext cx="8183923" cy="3879428"/>
            <a:chOff x="7576945" y="3687292"/>
            <a:chExt cx="16367846" cy="7879875"/>
          </a:xfrm>
        </p:grpSpPr>
        <p:sp>
          <p:nvSpPr>
            <p:cNvPr id="309" name="Shape 615">
              <a:extLst>
                <a:ext uri="{FF2B5EF4-FFF2-40B4-BE49-F238E27FC236}">
                  <a16:creationId xmlns:a16="http://schemas.microsoft.com/office/drawing/2014/main" id="{17850141-E8A2-0449-B4F4-2969966920D6}"/>
                </a:ext>
              </a:extLst>
            </p:cNvPr>
            <p:cNvSpPr/>
            <p:nvPr/>
          </p:nvSpPr>
          <p:spPr>
            <a:xfrm>
              <a:off x="18859305" y="5151918"/>
              <a:ext cx="5085486" cy="4842182"/>
            </a:xfrm>
            <a:prstGeom prst="rect">
              <a:avLst/>
            </a:prstGeom>
            <a:noFill/>
            <a:ln>
              <a:noFill/>
            </a:ln>
          </p:spPr>
          <p:txBody>
            <a:bodyPr lIns="91412" tIns="45700" rIns="91412" bIns="45700" anchor="t" anchorCtr="0">
              <a:noAutofit/>
            </a:bodyPr>
            <a:lstStyle/>
            <a:p>
              <a:pPr marL="171450" indent="-171450">
                <a:lnSpc>
                  <a:spcPct val="130000"/>
                </a:lnSpc>
                <a:buSzPct val="25000"/>
                <a:buFont typeface="Wingdings" panose="05000000000000000000" pitchFamily="2" charset="2"/>
                <a:buChar char="v"/>
              </a:pPr>
              <a:r>
                <a:rPr lang="tr-TR" sz="900" dirty="0">
                  <a:ea typeface="Roboto"/>
                  <a:cs typeface="Roboto"/>
                  <a:sym typeface="Roboto"/>
                </a:rPr>
                <a:t>Süreç Madenciliği &amp; RPA</a:t>
              </a:r>
            </a:p>
            <a:p>
              <a:pPr marL="171450" indent="-171450">
                <a:lnSpc>
                  <a:spcPct val="130000"/>
                </a:lnSpc>
                <a:buSzPct val="25000"/>
                <a:buFont typeface="Wingdings" panose="05000000000000000000" pitchFamily="2" charset="2"/>
                <a:buChar char="v"/>
              </a:pPr>
              <a:r>
                <a:rPr lang="tr-TR" sz="900" dirty="0">
                  <a:ea typeface="Roboto"/>
                  <a:cs typeface="Roboto"/>
                  <a:sym typeface="Roboto"/>
                </a:rPr>
                <a:t>SAP Çözüm Uygulamaları</a:t>
              </a:r>
            </a:p>
            <a:p>
              <a:pPr marL="171450" indent="-171450">
                <a:lnSpc>
                  <a:spcPct val="130000"/>
                </a:lnSpc>
                <a:buSzPct val="25000"/>
                <a:buFont typeface="Wingdings" panose="05000000000000000000" pitchFamily="2" charset="2"/>
                <a:buChar char="v"/>
              </a:pPr>
              <a:r>
                <a:rPr lang="tr-TR" sz="900" dirty="0">
                  <a:ea typeface="Roboto"/>
                  <a:cs typeface="Roboto"/>
                  <a:sym typeface="Roboto"/>
                </a:rPr>
                <a:t>İş Zekası ve Veri Analitiği Uygulamaları</a:t>
              </a:r>
            </a:p>
            <a:p>
              <a:pPr marL="171450" indent="-171450">
                <a:lnSpc>
                  <a:spcPct val="130000"/>
                </a:lnSpc>
                <a:buSzPct val="25000"/>
                <a:buFont typeface="Wingdings" panose="05000000000000000000" pitchFamily="2" charset="2"/>
                <a:buChar char="v"/>
              </a:pPr>
              <a:r>
                <a:rPr lang="tr-TR" sz="900" dirty="0">
                  <a:ea typeface="Roboto"/>
                  <a:cs typeface="Roboto"/>
                  <a:sym typeface="Roboto"/>
                </a:rPr>
                <a:t>IT-OT entegrasyonu MII Üretim/Saha operasyon Teknolojileri</a:t>
              </a:r>
            </a:p>
            <a:p>
              <a:pPr marL="171450" indent="-171450">
                <a:lnSpc>
                  <a:spcPct val="130000"/>
                </a:lnSpc>
                <a:buSzPct val="25000"/>
                <a:buFont typeface="Wingdings" panose="05000000000000000000" pitchFamily="2" charset="2"/>
                <a:buChar char="v"/>
              </a:pPr>
              <a:r>
                <a:rPr lang="tr-TR" sz="900" dirty="0">
                  <a:ea typeface="Roboto"/>
                  <a:cs typeface="Roboto"/>
                  <a:sym typeface="Roboto"/>
                </a:rPr>
                <a:t>Kurumsal Veri Yakalama, OCR/ICR Çözümleri</a:t>
              </a:r>
            </a:p>
            <a:p>
              <a:pPr marL="171450" indent="-171450">
                <a:lnSpc>
                  <a:spcPct val="130000"/>
                </a:lnSpc>
                <a:buSzPct val="25000"/>
                <a:buFont typeface="Wingdings" panose="05000000000000000000" pitchFamily="2" charset="2"/>
                <a:buChar char="v"/>
              </a:pPr>
              <a:r>
                <a:rPr lang="tr-TR" sz="900" dirty="0">
                  <a:ea typeface="Roboto"/>
                  <a:cs typeface="Roboto"/>
                  <a:sym typeface="Roboto"/>
                </a:rPr>
                <a:t>Dijital Arşiv Çözümleri</a:t>
              </a:r>
            </a:p>
            <a:p>
              <a:pPr marL="628650" lvl="1" indent="-171450">
                <a:lnSpc>
                  <a:spcPct val="130000"/>
                </a:lnSpc>
                <a:buSzPct val="25000"/>
                <a:buFont typeface="Wingdings" panose="05000000000000000000" pitchFamily="2" charset="2"/>
                <a:buChar char="v"/>
              </a:pPr>
              <a:r>
                <a:rPr lang="tr-TR" sz="900" dirty="0">
                  <a:ea typeface="Roboto"/>
                  <a:cs typeface="Roboto"/>
                  <a:sym typeface="Roboto"/>
                </a:rPr>
                <a:t>Bilgi </a:t>
              </a:r>
            </a:p>
            <a:p>
              <a:pPr marL="628650" lvl="1" indent="-171450">
                <a:lnSpc>
                  <a:spcPct val="130000"/>
                </a:lnSpc>
                <a:buSzPct val="25000"/>
                <a:buFont typeface="Wingdings" panose="05000000000000000000" pitchFamily="2" charset="2"/>
                <a:buChar char="v"/>
              </a:pPr>
              <a:r>
                <a:rPr lang="tr-TR" sz="900" dirty="0">
                  <a:ea typeface="Roboto"/>
                  <a:cs typeface="Roboto"/>
                  <a:sym typeface="Roboto"/>
                </a:rPr>
                <a:t>Belge</a:t>
              </a:r>
            </a:p>
            <a:p>
              <a:pPr marL="628650" lvl="1" indent="-171450">
                <a:lnSpc>
                  <a:spcPct val="130000"/>
                </a:lnSpc>
                <a:buSzPct val="25000"/>
                <a:buFont typeface="Wingdings" panose="05000000000000000000" pitchFamily="2" charset="2"/>
                <a:buChar char="v"/>
              </a:pPr>
              <a:r>
                <a:rPr lang="tr-TR" sz="900" dirty="0">
                  <a:ea typeface="Roboto"/>
                  <a:cs typeface="Roboto"/>
                  <a:sym typeface="Roboto"/>
                </a:rPr>
                <a:t>Güvenlik</a:t>
              </a:r>
            </a:p>
            <a:p>
              <a:pPr marL="628650" lvl="1" indent="-171450">
                <a:lnSpc>
                  <a:spcPct val="130000"/>
                </a:lnSpc>
                <a:buSzPct val="25000"/>
                <a:buFont typeface="Wingdings" panose="05000000000000000000" pitchFamily="2" charset="2"/>
                <a:buChar char="v"/>
              </a:pPr>
              <a:r>
                <a:rPr lang="tr-TR" sz="900" dirty="0">
                  <a:ea typeface="Roboto"/>
                  <a:cs typeface="Roboto"/>
                  <a:sym typeface="Roboto"/>
                </a:rPr>
                <a:t>Analitik</a:t>
              </a:r>
            </a:p>
            <a:p>
              <a:pPr>
                <a:lnSpc>
                  <a:spcPct val="130000"/>
                </a:lnSpc>
                <a:buSzPct val="25000"/>
              </a:pPr>
              <a:endParaRPr lang="tr-TR" sz="900" dirty="0">
                <a:ea typeface="Roboto"/>
                <a:cs typeface="Roboto"/>
                <a:sym typeface="Roboto"/>
              </a:endParaRPr>
            </a:p>
            <a:p>
              <a:pPr>
                <a:lnSpc>
                  <a:spcPct val="130000"/>
                </a:lnSpc>
                <a:buSzPct val="25000"/>
              </a:pPr>
              <a:endParaRPr lang="tr-TR" sz="900" dirty="0">
                <a:ea typeface="Roboto"/>
                <a:cs typeface="Roboto"/>
                <a:sym typeface="Roboto"/>
              </a:endParaRPr>
            </a:p>
          </p:txBody>
        </p:sp>
        <p:sp>
          <p:nvSpPr>
            <p:cNvPr id="310" name="Shape 616">
              <a:extLst>
                <a:ext uri="{FF2B5EF4-FFF2-40B4-BE49-F238E27FC236}">
                  <a16:creationId xmlns:a16="http://schemas.microsoft.com/office/drawing/2014/main" id="{4FC9CCF5-3BC6-A042-885D-A3B55DE16149}"/>
                </a:ext>
              </a:extLst>
            </p:cNvPr>
            <p:cNvSpPr/>
            <p:nvPr/>
          </p:nvSpPr>
          <p:spPr>
            <a:xfrm>
              <a:off x="18892637" y="3687292"/>
              <a:ext cx="4821942" cy="800181"/>
            </a:xfrm>
            <a:prstGeom prst="rect">
              <a:avLst/>
            </a:prstGeom>
            <a:noFill/>
            <a:ln>
              <a:noFill/>
            </a:ln>
          </p:spPr>
          <p:txBody>
            <a:bodyPr lIns="91412" tIns="45700" rIns="91412" bIns="45700" anchor="t" anchorCtr="0">
              <a:noAutofit/>
            </a:bodyPr>
            <a:lstStyle/>
            <a:p>
              <a:pPr>
                <a:lnSpc>
                  <a:spcPct val="130000"/>
                </a:lnSpc>
                <a:buSzPct val="25000"/>
              </a:pPr>
              <a:r>
                <a:rPr lang="tr-TR" sz="1501" dirty="0">
                  <a:ea typeface="Roboto"/>
                  <a:cs typeface="Roboto"/>
                  <a:sym typeface="Roboto"/>
                </a:rPr>
                <a:t>Teknoloji Uyumlandırma ve Uygulama</a:t>
              </a:r>
            </a:p>
          </p:txBody>
        </p:sp>
        <p:sp>
          <p:nvSpPr>
            <p:cNvPr id="312" name="Shape 3858">
              <a:extLst>
                <a:ext uri="{FF2B5EF4-FFF2-40B4-BE49-F238E27FC236}">
                  <a16:creationId xmlns:a16="http://schemas.microsoft.com/office/drawing/2014/main" id="{F491E6E9-2E78-BB43-9769-FCD1728C89D3}"/>
                </a:ext>
              </a:extLst>
            </p:cNvPr>
            <p:cNvSpPr/>
            <p:nvPr/>
          </p:nvSpPr>
          <p:spPr>
            <a:xfrm>
              <a:off x="16734405" y="11239419"/>
              <a:ext cx="345304" cy="32774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800" y="63664"/>
                  </a:moveTo>
                  <a:moveTo>
                    <a:pt x="108438" y="72460"/>
                  </a:moveTo>
                  <a:moveTo>
                    <a:pt x="50830" y="72460"/>
                  </a:moveTo>
                  <a:lnTo>
                    <a:pt x="119800" y="63664"/>
                  </a:lnTo>
                  <a:lnTo>
                    <a:pt x="111428" y="68062"/>
                  </a:lnTo>
                  <a:lnTo>
                    <a:pt x="60598" y="14869"/>
                  </a:lnTo>
                  <a:lnTo>
                    <a:pt x="60598" y="14869"/>
                  </a:lnTo>
                  <a:lnTo>
                    <a:pt x="60598" y="14869"/>
                  </a:lnTo>
                  <a:lnTo>
                    <a:pt x="9966" y="68062"/>
                  </a:lnTo>
                  <a:lnTo>
                    <a:pt x="60598" y="0"/>
                  </a:lnTo>
                  <a:lnTo>
                    <a:pt x="60598" y="0"/>
                  </a:lnTo>
                  <a:lnTo>
                    <a:pt x="60598" y="0"/>
                  </a:lnTo>
                  <a:lnTo>
                    <a:pt x="60598" y="0"/>
                  </a:lnTo>
                  <a:lnTo>
                    <a:pt x="60598" y="0"/>
                  </a:lnTo>
                  <a:lnTo>
                    <a:pt x="60598" y="0"/>
                  </a:lnTo>
                  <a:lnTo>
                    <a:pt x="60598" y="0"/>
                  </a:lnTo>
                  <a:lnTo>
                    <a:pt x="64784" y="1465"/>
                  </a:lnTo>
                  <a:lnTo>
                    <a:pt x="118405" y="59057"/>
                  </a:lnTo>
                  <a:lnTo>
                    <a:pt x="108438" y="72460"/>
                  </a:lnTo>
                  <a:lnTo>
                    <a:pt x="108438" y="72460"/>
                  </a:lnTo>
                  <a:lnTo>
                    <a:pt x="50830" y="72460"/>
                  </a:lnTo>
                  <a:lnTo>
                    <a:pt x="50830" y="72460"/>
                  </a:lnTo>
                  <a:cubicBezTo>
                    <a:pt x="119800" y="66596"/>
                    <a:pt x="118405" y="69528"/>
                    <a:pt x="114219" y="69528"/>
                  </a:cubicBezTo>
                  <a:cubicBezTo>
                    <a:pt x="112823" y="69528"/>
                    <a:pt x="111428" y="68062"/>
                    <a:pt x="111428" y="68062"/>
                  </a:cubicBezTo>
                  <a:cubicBezTo>
                    <a:pt x="60598" y="14869"/>
                    <a:pt x="60598" y="14869"/>
                    <a:pt x="60598" y="14869"/>
                  </a:cubicBezTo>
                  <a:cubicBezTo>
                    <a:pt x="9966" y="68062"/>
                    <a:pt x="9966" y="68062"/>
                    <a:pt x="9966" y="68062"/>
                  </a:cubicBezTo>
                  <a:cubicBezTo>
                    <a:pt x="8571" y="68062"/>
                    <a:pt x="7176" y="69528"/>
                    <a:pt x="5780" y="69528"/>
                  </a:cubicBezTo>
                  <a:cubicBezTo>
                    <a:pt x="2990" y="69528"/>
                    <a:pt x="0" y="66596"/>
                    <a:pt x="0" y="63664"/>
                  </a:cubicBezTo>
                  <a:cubicBezTo>
                    <a:pt x="0" y="62198"/>
                    <a:pt x="0" y="60523"/>
                    <a:pt x="1395" y="59057"/>
                  </a:cubicBezTo>
                  <a:cubicBezTo>
                    <a:pt x="56411" y="1465"/>
                    <a:pt x="56411" y="1465"/>
                    <a:pt x="56411" y="1465"/>
                  </a:cubicBezTo>
                  <a:cubicBezTo>
                    <a:pt x="57807" y="0"/>
                    <a:pt x="59202" y="0"/>
                    <a:pt x="60598" y="0"/>
                  </a:cubicBezTo>
                  <a:cubicBezTo>
                    <a:pt x="61993" y="0"/>
                    <a:pt x="63388" y="1465"/>
                    <a:pt x="64784" y="1465"/>
                  </a:cubicBezTo>
                  <a:cubicBezTo>
                    <a:pt x="85913" y="25130"/>
                    <a:pt x="85913" y="25130"/>
                    <a:pt x="85913" y="25130"/>
                  </a:cubicBezTo>
                  <a:cubicBezTo>
                    <a:pt x="85913" y="19267"/>
                    <a:pt x="85913" y="19267"/>
                    <a:pt x="85913" y="19267"/>
                  </a:cubicBezTo>
                  <a:cubicBezTo>
                    <a:pt x="85913" y="16335"/>
                    <a:pt x="88903" y="13193"/>
                    <a:pt x="91694" y="13193"/>
                  </a:cubicBezTo>
                  <a:cubicBezTo>
                    <a:pt x="95880" y="13193"/>
                    <a:pt x="97275" y="16335"/>
                    <a:pt x="97275" y="19267"/>
                  </a:cubicBezTo>
                  <a:cubicBezTo>
                    <a:pt x="97275" y="36858"/>
                    <a:pt x="97275" y="36858"/>
                    <a:pt x="97275" y="36858"/>
                  </a:cubicBezTo>
                  <a:cubicBezTo>
                    <a:pt x="118405" y="59057"/>
                    <a:pt x="118405" y="59057"/>
                    <a:pt x="118405" y="59057"/>
                  </a:cubicBezTo>
                  <a:cubicBezTo>
                    <a:pt x="119800" y="60523"/>
                    <a:pt x="119800" y="62198"/>
                    <a:pt x="119800" y="63664"/>
                  </a:cubicBezTo>
                  <a:cubicBezTo>
                    <a:pt x="108438" y="90261"/>
                    <a:pt x="108438" y="90261"/>
                    <a:pt x="108438" y="90261"/>
                  </a:cubicBezTo>
                  <a:cubicBezTo>
                    <a:pt x="108438" y="99057"/>
                    <a:pt x="108438" y="99057"/>
                    <a:pt x="108438" y="99057"/>
                  </a:cubicBezTo>
                  <a:cubicBezTo>
                    <a:pt x="108438" y="113926"/>
                    <a:pt x="108438" y="113926"/>
                    <a:pt x="108438" y="113926"/>
                  </a:cubicBezTo>
                  <a:cubicBezTo>
                    <a:pt x="108438" y="118324"/>
                    <a:pt x="107043" y="119790"/>
                    <a:pt x="102857" y="119790"/>
                  </a:cubicBezTo>
                  <a:cubicBezTo>
                    <a:pt x="91694" y="119790"/>
                    <a:pt x="91694" y="119790"/>
                    <a:pt x="91694" y="119790"/>
                  </a:cubicBezTo>
                  <a:cubicBezTo>
                    <a:pt x="91694" y="72460"/>
                    <a:pt x="91694" y="72460"/>
                    <a:pt x="91694" y="72460"/>
                  </a:cubicBezTo>
                  <a:cubicBezTo>
                    <a:pt x="69169" y="72460"/>
                    <a:pt x="69169" y="72460"/>
                    <a:pt x="69169" y="72460"/>
                  </a:cubicBezTo>
                  <a:cubicBezTo>
                    <a:pt x="69169" y="119790"/>
                    <a:pt x="69169" y="119790"/>
                    <a:pt x="69169" y="119790"/>
                  </a:cubicBezTo>
                  <a:cubicBezTo>
                    <a:pt x="16943" y="119790"/>
                    <a:pt x="16943" y="119790"/>
                    <a:pt x="16943" y="119790"/>
                  </a:cubicBezTo>
                  <a:cubicBezTo>
                    <a:pt x="14152" y="119790"/>
                    <a:pt x="11362" y="118324"/>
                    <a:pt x="11362" y="113926"/>
                  </a:cubicBezTo>
                  <a:cubicBezTo>
                    <a:pt x="11362" y="99057"/>
                    <a:pt x="11362" y="99057"/>
                    <a:pt x="11362" y="99057"/>
                  </a:cubicBezTo>
                  <a:cubicBezTo>
                    <a:pt x="11362" y="90261"/>
                    <a:pt x="11362" y="90261"/>
                    <a:pt x="11362" y="90261"/>
                  </a:cubicBezTo>
                  <a:cubicBezTo>
                    <a:pt x="11362" y="72460"/>
                    <a:pt x="11362" y="72460"/>
                    <a:pt x="11362" y="72460"/>
                  </a:cubicBezTo>
                  <a:cubicBezTo>
                    <a:pt x="60598" y="22198"/>
                    <a:pt x="60598" y="22198"/>
                    <a:pt x="60598" y="22198"/>
                  </a:cubicBezTo>
                  <a:cubicBezTo>
                    <a:pt x="28305" y="72460"/>
                    <a:pt x="28305" y="72460"/>
                    <a:pt x="28305" y="72460"/>
                  </a:cubicBezTo>
                  <a:cubicBezTo>
                    <a:pt x="28305" y="96125"/>
                    <a:pt x="28305" y="96125"/>
                    <a:pt x="28305" y="96125"/>
                  </a:cubicBezTo>
                  <a:cubicBezTo>
                    <a:pt x="50830" y="96125"/>
                    <a:pt x="50830" y="96125"/>
                    <a:pt x="50830" y="96125"/>
                  </a:cubicBezTo>
                  <a:close/>
                  <a:close/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lIns="45713" tIns="22850" rIns="45713" bIns="22850" anchor="ctr" anchorCtr="0">
              <a:noAutofit/>
            </a:bodyPr>
            <a:lstStyle/>
            <a:p>
              <a:endParaRPr lang="tr-TR" sz="900" dirty="0">
                <a:sym typeface="Lato"/>
              </a:endParaRPr>
            </a:p>
          </p:txBody>
        </p:sp>
        <p:sp>
          <p:nvSpPr>
            <p:cNvPr id="313" name="Ellipse 318">
              <a:extLst>
                <a:ext uri="{FF2B5EF4-FFF2-40B4-BE49-F238E27FC236}">
                  <a16:creationId xmlns:a16="http://schemas.microsoft.com/office/drawing/2014/main" id="{520D8D91-B23C-D34C-8829-475B2797441B}"/>
                </a:ext>
              </a:extLst>
            </p:cNvPr>
            <p:cNvSpPr/>
            <p:nvPr/>
          </p:nvSpPr>
          <p:spPr>
            <a:xfrm>
              <a:off x="11430769" y="3716105"/>
              <a:ext cx="436882" cy="436882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sz="900" dirty="0">
                <a:solidFill>
                  <a:schemeClr val="tx1"/>
                </a:solidFill>
              </a:endParaRPr>
            </a:p>
          </p:txBody>
        </p:sp>
        <p:cxnSp>
          <p:nvCxnSpPr>
            <p:cNvPr id="314" name="Gerader Verbinder 319">
              <a:extLst>
                <a:ext uri="{FF2B5EF4-FFF2-40B4-BE49-F238E27FC236}">
                  <a16:creationId xmlns:a16="http://schemas.microsoft.com/office/drawing/2014/main" id="{D695ABDA-578A-0642-A2CD-19D91A44C9BB}"/>
                </a:ext>
              </a:extLst>
            </p:cNvPr>
            <p:cNvCxnSpPr>
              <a:cxnSpLocks/>
              <a:stCxn id="339" idx="7"/>
              <a:endCxn id="313" idx="3"/>
            </p:cNvCxnSpPr>
            <p:nvPr/>
          </p:nvCxnSpPr>
          <p:spPr>
            <a:xfrm flipV="1">
              <a:off x="7576945" y="4089006"/>
              <a:ext cx="3917804" cy="255483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5" name="Gruppieren 3">
            <a:extLst>
              <a:ext uri="{FF2B5EF4-FFF2-40B4-BE49-F238E27FC236}">
                <a16:creationId xmlns:a16="http://schemas.microsoft.com/office/drawing/2014/main" id="{9F89F0E2-E9D4-EF41-8825-86E35D8B6026}"/>
              </a:ext>
            </a:extLst>
          </p:cNvPr>
          <p:cNvGrpSpPr/>
          <p:nvPr/>
        </p:nvGrpSpPr>
        <p:grpSpPr>
          <a:xfrm>
            <a:off x="588386" y="1274838"/>
            <a:ext cx="8184663" cy="2050301"/>
            <a:chOff x="-14711607" y="8073781"/>
            <a:chExt cx="16369326" cy="4100602"/>
          </a:xfrm>
        </p:grpSpPr>
        <p:sp>
          <p:nvSpPr>
            <p:cNvPr id="316" name="Shape 609">
              <a:extLst>
                <a:ext uri="{FF2B5EF4-FFF2-40B4-BE49-F238E27FC236}">
                  <a16:creationId xmlns:a16="http://schemas.microsoft.com/office/drawing/2014/main" id="{981FD48F-5FD4-DC4E-B6FD-FAF745D8B23D}"/>
                </a:ext>
              </a:extLst>
            </p:cNvPr>
            <p:cNvSpPr/>
            <p:nvPr/>
          </p:nvSpPr>
          <p:spPr>
            <a:xfrm>
              <a:off x="-14711607" y="9105167"/>
              <a:ext cx="4437436" cy="2994878"/>
            </a:xfrm>
            <a:prstGeom prst="rect">
              <a:avLst/>
            </a:prstGeom>
            <a:noFill/>
            <a:ln>
              <a:noFill/>
            </a:ln>
          </p:spPr>
          <p:txBody>
            <a:bodyPr lIns="91412" tIns="45700" rIns="91412" bIns="45700" anchor="t" anchorCtr="0">
              <a:noAutofit/>
            </a:bodyPr>
            <a:lstStyle/>
            <a:p>
              <a:pPr marL="171450" indent="-171450">
                <a:lnSpc>
                  <a:spcPct val="130000"/>
                </a:lnSpc>
                <a:buSzPct val="25000"/>
                <a:buFont typeface="Wingdings" panose="05000000000000000000" pitchFamily="2" charset="2"/>
                <a:buChar char="v"/>
              </a:pPr>
              <a:r>
                <a:rPr lang="tr-TR" sz="900" dirty="0">
                  <a:ea typeface="Roboto"/>
                  <a:cs typeface="Roboto"/>
                  <a:sym typeface="Roboto"/>
                </a:rPr>
                <a:t>Kurumsal Strateji</a:t>
              </a:r>
            </a:p>
            <a:p>
              <a:pPr marL="171450" indent="-171450">
                <a:lnSpc>
                  <a:spcPct val="130000"/>
                </a:lnSpc>
                <a:buSzPct val="25000"/>
                <a:buFont typeface="Wingdings" panose="05000000000000000000" pitchFamily="2" charset="2"/>
                <a:buChar char="v"/>
              </a:pPr>
              <a:r>
                <a:rPr lang="tr-TR" sz="900" dirty="0">
                  <a:ea typeface="Roboto"/>
                  <a:cs typeface="Roboto"/>
                  <a:sym typeface="Roboto"/>
                </a:rPr>
                <a:t>Dijital Strateji</a:t>
              </a:r>
            </a:p>
            <a:p>
              <a:pPr marL="171450" indent="-171450">
                <a:lnSpc>
                  <a:spcPct val="130000"/>
                </a:lnSpc>
                <a:buSzPct val="25000"/>
                <a:buFont typeface="Wingdings" panose="05000000000000000000" pitchFamily="2" charset="2"/>
                <a:buChar char="v"/>
              </a:pPr>
              <a:r>
                <a:rPr lang="tr-TR" sz="900" dirty="0">
                  <a:ea typeface="Roboto"/>
                  <a:cs typeface="Roboto"/>
                  <a:sym typeface="Roboto"/>
                </a:rPr>
                <a:t>Kurumsal İçerik Yönetimi</a:t>
              </a:r>
            </a:p>
            <a:p>
              <a:pPr marL="171450" indent="-171450">
                <a:lnSpc>
                  <a:spcPct val="130000"/>
                </a:lnSpc>
                <a:buSzPct val="25000"/>
                <a:buFont typeface="Wingdings" panose="05000000000000000000" pitchFamily="2" charset="2"/>
                <a:buChar char="v"/>
              </a:pPr>
              <a:r>
                <a:rPr lang="tr-TR" sz="900" dirty="0">
                  <a:ea typeface="Roboto"/>
                  <a:cs typeface="Roboto"/>
                  <a:sym typeface="Roboto"/>
                </a:rPr>
                <a:t>Yönetmelik, prosedür, şartname düzenlemeleri</a:t>
              </a:r>
            </a:p>
            <a:p>
              <a:pPr marL="171450" indent="-171450">
                <a:lnSpc>
                  <a:spcPct val="130000"/>
                </a:lnSpc>
                <a:buSzPct val="25000"/>
                <a:buFont typeface="Wingdings" panose="05000000000000000000" pitchFamily="2" charset="2"/>
                <a:buChar char="v"/>
              </a:pPr>
              <a:r>
                <a:rPr lang="tr-TR" sz="900" dirty="0">
                  <a:ea typeface="Roboto"/>
                  <a:cs typeface="Roboto"/>
                  <a:sym typeface="Roboto"/>
                </a:rPr>
                <a:t>Danışma kurulu faaliyetleri (İcra kurulu paralelinde)</a:t>
              </a:r>
            </a:p>
          </p:txBody>
        </p:sp>
        <p:sp>
          <p:nvSpPr>
            <p:cNvPr id="317" name="Shape 610">
              <a:extLst>
                <a:ext uri="{FF2B5EF4-FFF2-40B4-BE49-F238E27FC236}">
                  <a16:creationId xmlns:a16="http://schemas.microsoft.com/office/drawing/2014/main" id="{D5B0666A-C372-B244-AA96-AE4AFB8B29C8}"/>
                </a:ext>
              </a:extLst>
            </p:cNvPr>
            <p:cNvSpPr/>
            <p:nvPr/>
          </p:nvSpPr>
          <p:spPr>
            <a:xfrm>
              <a:off x="-14703383" y="8073781"/>
              <a:ext cx="4332436" cy="800182"/>
            </a:xfrm>
            <a:prstGeom prst="rect">
              <a:avLst/>
            </a:prstGeom>
            <a:noFill/>
            <a:ln>
              <a:noFill/>
            </a:ln>
          </p:spPr>
          <p:txBody>
            <a:bodyPr lIns="91412" tIns="45700" rIns="91412" bIns="45700" anchor="t" anchorCtr="0">
              <a:noAutofit/>
            </a:bodyPr>
            <a:lstStyle/>
            <a:p>
              <a:pPr>
                <a:lnSpc>
                  <a:spcPct val="130000"/>
                </a:lnSpc>
                <a:buSzPct val="25000"/>
              </a:pPr>
              <a:r>
                <a:rPr lang="tr-TR" sz="1501" dirty="0">
                  <a:ea typeface="Roboto"/>
                  <a:cs typeface="Roboto"/>
                  <a:sym typeface="Roboto"/>
                </a:rPr>
                <a:t>Stratejik Tasarım</a:t>
              </a:r>
            </a:p>
          </p:txBody>
        </p:sp>
        <p:sp>
          <p:nvSpPr>
            <p:cNvPr id="318" name="Ellipse 301">
              <a:extLst>
                <a:ext uri="{FF2B5EF4-FFF2-40B4-BE49-F238E27FC236}">
                  <a16:creationId xmlns:a16="http://schemas.microsoft.com/office/drawing/2014/main" id="{6E837B77-7F47-B148-91C2-049E428041AA}"/>
                </a:ext>
              </a:extLst>
            </p:cNvPr>
            <p:cNvSpPr/>
            <p:nvPr/>
          </p:nvSpPr>
          <p:spPr>
            <a:xfrm rot="20728986">
              <a:off x="827515" y="9323413"/>
              <a:ext cx="830204" cy="830204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sz="900" dirty="0">
                <a:solidFill>
                  <a:schemeClr val="tx1"/>
                </a:solidFill>
              </a:endParaRPr>
            </a:p>
          </p:txBody>
        </p:sp>
        <p:sp>
          <p:nvSpPr>
            <p:cNvPr id="319" name="Shape 3850">
              <a:extLst>
                <a:ext uri="{FF2B5EF4-FFF2-40B4-BE49-F238E27FC236}">
                  <a16:creationId xmlns:a16="http://schemas.microsoft.com/office/drawing/2014/main" id="{C7EDA505-BE75-324E-8051-44141C6B51BE}"/>
                </a:ext>
              </a:extLst>
            </p:cNvPr>
            <p:cNvSpPr/>
            <p:nvPr/>
          </p:nvSpPr>
          <p:spPr>
            <a:xfrm>
              <a:off x="1096319" y="9527245"/>
              <a:ext cx="279772" cy="34287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868" y="119800"/>
                  </a:moveTo>
                  <a:moveTo>
                    <a:pt x="59016" y="70482"/>
                  </a:moveTo>
                  <a:lnTo>
                    <a:pt x="112868" y="119800"/>
                  </a:lnTo>
                  <a:lnTo>
                    <a:pt x="59016" y="70482"/>
                  </a:lnTo>
                  <a:cubicBezTo>
                    <a:pt x="6885" y="119800"/>
                    <a:pt x="6885" y="119800"/>
                    <a:pt x="6885" y="119800"/>
                  </a:cubicBezTo>
                  <a:cubicBezTo>
                    <a:pt x="1721" y="119800"/>
                    <a:pt x="0" y="117004"/>
                    <a:pt x="0" y="114209"/>
                  </a:cubicBezTo>
                  <a:cubicBezTo>
                    <a:pt x="0" y="64891"/>
                    <a:pt x="0" y="64891"/>
                    <a:pt x="0" y="64891"/>
                  </a:cubicBezTo>
                  <a:cubicBezTo>
                    <a:pt x="0" y="62096"/>
                    <a:pt x="1721" y="59101"/>
                    <a:pt x="6885" y="59101"/>
                  </a:cubicBezTo>
                  <a:cubicBezTo>
                    <a:pt x="17213" y="59101"/>
                    <a:pt x="17213" y="59101"/>
                    <a:pt x="17213" y="59101"/>
                  </a:cubicBezTo>
                  <a:cubicBezTo>
                    <a:pt x="17213" y="33743"/>
                    <a:pt x="17213" y="33743"/>
                    <a:pt x="17213" y="33743"/>
                  </a:cubicBezTo>
                  <a:cubicBezTo>
                    <a:pt x="17213" y="13976"/>
                    <a:pt x="36393" y="0"/>
                    <a:pt x="59016" y="0"/>
                  </a:cubicBezTo>
                  <a:cubicBezTo>
                    <a:pt x="83360" y="0"/>
                    <a:pt x="100573" y="13976"/>
                    <a:pt x="100573" y="33743"/>
                  </a:cubicBezTo>
                  <a:cubicBezTo>
                    <a:pt x="100573" y="36539"/>
                    <a:pt x="98852" y="39534"/>
                    <a:pt x="93688" y="39534"/>
                  </a:cubicBezTo>
                  <a:cubicBezTo>
                    <a:pt x="90245" y="39534"/>
                    <a:pt x="86803" y="36539"/>
                    <a:pt x="86803" y="33743"/>
                  </a:cubicBezTo>
                  <a:cubicBezTo>
                    <a:pt x="86803" y="21164"/>
                    <a:pt x="74754" y="11181"/>
                    <a:pt x="59016" y="11181"/>
                  </a:cubicBezTo>
                  <a:cubicBezTo>
                    <a:pt x="43278" y="11181"/>
                    <a:pt x="31229" y="21164"/>
                    <a:pt x="31229" y="33743"/>
                  </a:cubicBezTo>
                  <a:cubicBezTo>
                    <a:pt x="31229" y="59101"/>
                    <a:pt x="31229" y="59101"/>
                    <a:pt x="31229" y="59101"/>
                  </a:cubicBezTo>
                  <a:cubicBezTo>
                    <a:pt x="86803" y="59101"/>
                    <a:pt x="86803" y="59101"/>
                    <a:pt x="86803" y="59101"/>
                  </a:cubicBezTo>
                  <a:cubicBezTo>
                    <a:pt x="100573" y="59101"/>
                    <a:pt x="100573" y="59101"/>
                    <a:pt x="100573" y="59101"/>
                  </a:cubicBezTo>
                  <a:cubicBezTo>
                    <a:pt x="112868" y="59101"/>
                    <a:pt x="112868" y="59101"/>
                    <a:pt x="112868" y="59101"/>
                  </a:cubicBezTo>
                  <a:cubicBezTo>
                    <a:pt x="116311" y="59101"/>
                    <a:pt x="119754" y="62096"/>
                    <a:pt x="119754" y="64891"/>
                  </a:cubicBezTo>
                  <a:cubicBezTo>
                    <a:pt x="119754" y="114209"/>
                    <a:pt x="119754" y="114209"/>
                    <a:pt x="119754" y="114209"/>
                  </a:cubicBezTo>
                  <a:cubicBezTo>
                    <a:pt x="119754" y="117004"/>
                    <a:pt x="116311" y="119800"/>
                    <a:pt x="112868" y="119800"/>
                  </a:cubicBezTo>
                  <a:cubicBezTo>
                    <a:pt x="52131" y="70482"/>
                    <a:pt x="45000" y="76073"/>
                    <a:pt x="45000" y="81863"/>
                  </a:cubicBezTo>
                  <a:cubicBezTo>
                    <a:pt x="45000" y="86056"/>
                    <a:pt x="48688" y="90249"/>
                    <a:pt x="52131" y="91647"/>
                  </a:cubicBezTo>
                  <a:cubicBezTo>
                    <a:pt x="52131" y="103028"/>
                    <a:pt x="52131" y="103028"/>
                    <a:pt x="52131" y="103028"/>
                  </a:cubicBezTo>
                  <a:cubicBezTo>
                    <a:pt x="52131" y="105823"/>
                    <a:pt x="55573" y="108618"/>
                    <a:pt x="59016" y="108618"/>
                  </a:cubicBezTo>
                  <a:cubicBezTo>
                    <a:pt x="64180" y="108618"/>
                    <a:pt x="65901" y="105823"/>
                    <a:pt x="65901" y="103028"/>
                  </a:cubicBezTo>
                  <a:cubicBezTo>
                    <a:pt x="65901" y="91647"/>
                    <a:pt x="65901" y="91647"/>
                    <a:pt x="65901" y="91647"/>
                  </a:cubicBezTo>
                  <a:cubicBezTo>
                    <a:pt x="71065" y="90249"/>
                    <a:pt x="72786" y="86056"/>
                    <a:pt x="72786" y="81863"/>
                  </a:cubicBezTo>
                  <a:cubicBezTo>
                    <a:pt x="72786" y="76073"/>
                    <a:pt x="67622" y="70482"/>
                    <a:pt x="59016" y="70482"/>
                  </a:cubicBezTo>
                  <a:close/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lIns="45713" tIns="22850" rIns="45713" bIns="22850" anchor="ctr" anchorCtr="0">
              <a:noAutofit/>
            </a:bodyPr>
            <a:lstStyle/>
            <a:p>
              <a:endParaRPr lang="tr-TR" dirty="0">
                <a:ea typeface="Lato"/>
                <a:cs typeface="Lato"/>
                <a:sym typeface="Lato"/>
              </a:endParaRPr>
            </a:p>
          </p:txBody>
        </p:sp>
        <p:sp>
          <p:nvSpPr>
            <p:cNvPr id="320" name="Ellipse 321">
              <a:extLst>
                <a:ext uri="{FF2B5EF4-FFF2-40B4-BE49-F238E27FC236}">
                  <a16:creationId xmlns:a16="http://schemas.microsoft.com/office/drawing/2014/main" id="{E60E7BD6-61BB-CF48-811C-78B04EFE6792}"/>
                </a:ext>
              </a:extLst>
            </p:cNvPr>
            <p:cNvSpPr/>
            <p:nvPr/>
          </p:nvSpPr>
          <p:spPr>
            <a:xfrm rot="2617756">
              <a:off x="-2443029" y="11737501"/>
              <a:ext cx="436882" cy="436882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sz="900" dirty="0">
                <a:solidFill>
                  <a:schemeClr val="tx1"/>
                </a:solidFill>
              </a:endParaRPr>
            </a:p>
          </p:txBody>
        </p:sp>
        <p:cxnSp>
          <p:nvCxnSpPr>
            <p:cNvPr id="321" name="Gerader Verbinder 322">
              <a:extLst>
                <a:ext uri="{FF2B5EF4-FFF2-40B4-BE49-F238E27FC236}">
                  <a16:creationId xmlns:a16="http://schemas.microsoft.com/office/drawing/2014/main" id="{970DAB80-66AD-E44B-9926-288CA3E2F7E8}"/>
                </a:ext>
              </a:extLst>
            </p:cNvPr>
            <p:cNvCxnSpPr>
              <a:cxnSpLocks/>
              <a:stCxn id="318" idx="2"/>
              <a:endCxn id="320" idx="0"/>
            </p:cNvCxnSpPr>
            <p:nvPr/>
          </p:nvCxnSpPr>
          <p:spPr>
            <a:xfrm flipH="1">
              <a:off x="-2073865" y="9842567"/>
              <a:ext cx="2914632" cy="195526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2" name="Gruppieren 4">
            <a:extLst>
              <a:ext uri="{FF2B5EF4-FFF2-40B4-BE49-F238E27FC236}">
                <a16:creationId xmlns:a16="http://schemas.microsoft.com/office/drawing/2014/main" id="{64B8DCEE-E091-FF47-B9A3-6EAEEB581CD2}"/>
              </a:ext>
            </a:extLst>
          </p:cNvPr>
          <p:cNvGrpSpPr/>
          <p:nvPr/>
        </p:nvGrpSpPr>
        <p:grpSpPr>
          <a:xfrm>
            <a:off x="588386" y="3558785"/>
            <a:ext cx="8253814" cy="2916742"/>
            <a:chOff x="1330431" y="7549714"/>
            <a:chExt cx="16507628" cy="5833477"/>
          </a:xfrm>
        </p:grpSpPr>
        <p:sp>
          <p:nvSpPr>
            <p:cNvPr id="323" name="Shape 609">
              <a:extLst>
                <a:ext uri="{FF2B5EF4-FFF2-40B4-BE49-F238E27FC236}">
                  <a16:creationId xmlns:a16="http://schemas.microsoft.com/office/drawing/2014/main" id="{6FA18B11-DDAE-2F46-AE9E-2A19AF1868F3}"/>
                </a:ext>
              </a:extLst>
            </p:cNvPr>
            <p:cNvSpPr/>
            <p:nvPr/>
          </p:nvSpPr>
          <p:spPr>
            <a:xfrm>
              <a:off x="1346271" y="8297887"/>
              <a:ext cx="4721712" cy="5085304"/>
            </a:xfrm>
            <a:prstGeom prst="rect">
              <a:avLst/>
            </a:prstGeom>
            <a:noFill/>
            <a:ln>
              <a:noFill/>
            </a:ln>
          </p:spPr>
          <p:txBody>
            <a:bodyPr lIns="91412" tIns="45700" rIns="91412" bIns="45700" anchor="t" anchorCtr="0">
              <a:noAutofit/>
            </a:bodyPr>
            <a:lstStyle/>
            <a:p>
              <a:pPr marL="171450" indent="-171450">
                <a:lnSpc>
                  <a:spcPct val="130000"/>
                </a:lnSpc>
                <a:buSzPct val="25000"/>
                <a:buFont typeface="Wingdings" panose="05000000000000000000" pitchFamily="2" charset="2"/>
                <a:buChar char="v"/>
              </a:pPr>
              <a:r>
                <a:rPr lang="tr-TR" sz="900" dirty="0">
                  <a:ea typeface="Roboto"/>
                  <a:cs typeface="Roboto"/>
                  <a:sym typeface="Roboto"/>
                </a:rPr>
                <a:t>Süreçlerde Teknoloji Yönetimi (Endüstri 4.0)</a:t>
              </a:r>
            </a:p>
            <a:p>
              <a:pPr marL="171450" indent="-171450">
                <a:lnSpc>
                  <a:spcPct val="130000"/>
                </a:lnSpc>
                <a:buSzPct val="25000"/>
                <a:buFont typeface="Wingdings" panose="05000000000000000000" pitchFamily="2" charset="2"/>
                <a:buChar char="v"/>
              </a:pPr>
              <a:r>
                <a:rPr lang="tr-TR" sz="900" dirty="0">
                  <a:ea typeface="Roboto"/>
                  <a:cs typeface="Roboto"/>
                  <a:sym typeface="Roboto"/>
                </a:rPr>
                <a:t>Üretim yönetim sistemleri (MES, MII)</a:t>
              </a:r>
            </a:p>
            <a:p>
              <a:pPr marL="171450" indent="-171450">
                <a:lnSpc>
                  <a:spcPct val="130000"/>
                </a:lnSpc>
                <a:buSzPct val="25000"/>
                <a:buFont typeface="Wingdings" panose="05000000000000000000" pitchFamily="2" charset="2"/>
                <a:buChar char="v"/>
              </a:pPr>
              <a:r>
                <a:rPr lang="tr-TR" sz="900" dirty="0">
                  <a:ea typeface="Roboto"/>
                  <a:cs typeface="Roboto"/>
                  <a:sym typeface="Roboto"/>
                </a:rPr>
                <a:t>Tedarik Zinciri Yönetimi </a:t>
              </a:r>
            </a:p>
            <a:p>
              <a:pPr marL="171450" indent="-171450">
                <a:lnSpc>
                  <a:spcPct val="130000"/>
                </a:lnSpc>
                <a:buSzPct val="25000"/>
                <a:buFont typeface="Wingdings" panose="05000000000000000000" pitchFamily="2" charset="2"/>
                <a:buChar char="v"/>
              </a:pPr>
              <a:r>
                <a:rPr lang="tr-TR" sz="900" dirty="0">
                  <a:ea typeface="Roboto"/>
                  <a:cs typeface="Roboto"/>
                  <a:sym typeface="Roboto"/>
                </a:rPr>
                <a:t>İleri Seviye Planlama (S&amp;OP, DP, SNP, MPS, PPDS)</a:t>
              </a:r>
            </a:p>
            <a:p>
              <a:pPr marL="171450" indent="-171450">
                <a:lnSpc>
                  <a:spcPct val="130000"/>
                </a:lnSpc>
                <a:buSzPct val="25000"/>
                <a:buFont typeface="Wingdings" panose="05000000000000000000" pitchFamily="2" charset="2"/>
                <a:buChar char="v"/>
              </a:pPr>
              <a:r>
                <a:rPr lang="tr-TR" sz="900" dirty="0">
                  <a:ea typeface="Roboto"/>
                  <a:cs typeface="Roboto"/>
                  <a:sym typeface="Roboto"/>
                </a:rPr>
                <a:t>Tedarik Yönetimi (Sözleşme yönetimi, </a:t>
              </a:r>
              <a:r>
                <a:rPr lang="tr-TR" sz="900" dirty="0" err="1">
                  <a:ea typeface="Roboto"/>
                  <a:cs typeface="Roboto"/>
                  <a:sym typeface="Roboto"/>
                </a:rPr>
                <a:t>Satınalma</a:t>
              </a:r>
              <a:r>
                <a:rPr lang="tr-TR" sz="900" dirty="0">
                  <a:ea typeface="Roboto"/>
                  <a:cs typeface="Roboto"/>
                  <a:sym typeface="Roboto"/>
                </a:rPr>
                <a:t>, tedarik planlama, e-ihale, SRM)</a:t>
              </a:r>
            </a:p>
            <a:p>
              <a:pPr marL="171450" indent="-171450">
                <a:lnSpc>
                  <a:spcPct val="130000"/>
                </a:lnSpc>
                <a:buSzPct val="25000"/>
                <a:buFont typeface="Wingdings" panose="05000000000000000000" pitchFamily="2" charset="2"/>
                <a:buChar char="v"/>
              </a:pPr>
              <a:r>
                <a:rPr lang="tr-TR" sz="900" dirty="0">
                  <a:ea typeface="Roboto"/>
                  <a:cs typeface="Roboto"/>
                  <a:sym typeface="Roboto"/>
                </a:rPr>
                <a:t>Stok ve envanter yönetimi</a:t>
              </a:r>
            </a:p>
            <a:p>
              <a:pPr marL="171450" indent="-171450">
                <a:lnSpc>
                  <a:spcPct val="130000"/>
                </a:lnSpc>
                <a:buSzPct val="25000"/>
                <a:buFont typeface="Wingdings" panose="05000000000000000000" pitchFamily="2" charset="2"/>
                <a:buChar char="v"/>
              </a:pPr>
              <a:r>
                <a:rPr lang="tr-TR" sz="900" dirty="0">
                  <a:ea typeface="Roboto"/>
                  <a:cs typeface="Roboto"/>
                  <a:sym typeface="Roboto"/>
                </a:rPr>
                <a:t>Depo yönetimi</a:t>
              </a:r>
            </a:p>
            <a:p>
              <a:pPr marL="171450" indent="-171450">
                <a:lnSpc>
                  <a:spcPct val="130000"/>
                </a:lnSpc>
                <a:buSzPct val="25000"/>
                <a:buFont typeface="Wingdings" panose="05000000000000000000" pitchFamily="2" charset="2"/>
                <a:buChar char="v"/>
              </a:pPr>
              <a:r>
                <a:rPr lang="tr-TR" sz="900" dirty="0">
                  <a:ea typeface="Roboto"/>
                  <a:cs typeface="Roboto"/>
                  <a:sym typeface="Roboto"/>
                </a:rPr>
                <a:t>Dış ticaret</a:t>
              </a:r>
            </a:p>
            <a:p>
              <a:pPr marL="171450" indent="-171450">
                <a:lnSpc>
                  <a:spcPct val="130000"/>
                </a:lnSpc>
                <a:buSzPct val="25000"/>
                <a:buFont typeface="Wingdings" panose="05000000000000000000" pitchFamily="2" charset="2"/>
                <a:buChar char="v"/>
              </a:pPr>
              <a:r>
                <a:rPr lang="tr-TR" sz="900" dirty="0">
                  <a:ea typeface="Roboto"/>
                  <a:cs typeface="Roboto"/>
                  <a:sym typeface="Roboto"/>
                </a:rPr>
                <a:t>Lojistik ve nakliye yönetimi</a:t>
              </a:r>
            </a:p>
            <a:p>
              <a:pPr marL="171450" indent="-171450">
                <a:lnSpc>
                  <a:spcPct val="130000"/>
                </a:lnSpc>
                <a:buSzPct val="25000"/>
                <a:buFont typeface="Wingdings" panose="05000000000000000000" pitchFamily="2" charset="2"/>
                <a:buChar char="v"/>
              </a:pPr>
              <a:endParaRPr lang="tr-TR" sz="900" dirty="0">
                <a:ea typeface="Roboto"/>
                <a:cs typeface="Roboto"/>
                <a:sym typeface="Roboto"/>
              </a:endParaRPr>
            </a:p>
            <a:p>
              <a:pPr marL="171450" indent="-171450">
                <a:lnSpc>
                  <a:spcPct val="130000"/>
                </a:lnSpc>
                <a:buSzPct val="25000"/>
                <a:buFont typeface="Wingdings" panose="05000000000000000000" pitchFamily="2" charset="2"/>
                <a:buChar char="v"/>
              </a:pPr>
              <a:endParaRPr lang="tr-TR" sz="900" dirty="0">
                <a:ea typeface="Roboto"/>
                <a:cs typeface="Roboto"/>
                <a:sym typeface="Roboto"/>
              </a:endParaRPr>
            </a:p>
            <a:p>
              <a:pPr marL="171450" indent="-171450">
                <a:lnSpc>
                  <a:spcPct val="130000"/>
                </a:lnSpc>
                <a:buSzPct val="25000"/>
                <a:buFont typeface="Wingdings" panose="05000000000000000000" pitchFamily="2" charset="2"/>
                <a:buChar char="v"/>
              </a:pPr>
              <a:endParaRPr lang="tr-TR" sz="900" dirty="0">
                <a:ea typeface="Roboto"/>
                <a:cs typeface="Roboto"/>
                <a:sym typeface="Roboto"/>
              </a:endParaRPr>
            </a:p>
          </p:txBody>
        </p:sp>
        <p:sp>
          <p:nvSpPr>
            <p:cNvPr id="324" name="Shape 610">
              <a:extLst>
                <a:ext uri="{FF2B5EF4-FFF2-40B4-BE49-F238E27FC236}">
                  <a16:creationId xmlns:a16="http://schemas.microsoft.com/office/drawing/2014/main" id="{DE8C510A-D01B-1D46-8E37-E04A5471D515}"/>
                </a:ext>
              </a:extLst>
            </p:cNvPr>
            <p:cNvSpPr/>
            <p:nvPr/>
          </p:nvSpPr>
          <p:spPr>
            <a:xfrm>
              <a:off x="1330431" y="7549714"/>
              <a:ext cx="4332436" cy="800181"/>
            </a:xfrm>
            <a:prstGeom prst="rect">
              <a:avLst/>
            </a:prstGeom>
            <a:noFill/>
            <a:ln>
              <a:noFill/>
            </a:ln>
          </p:spPr>
          <p:txBody>
            <a:bodyPr lIns="91412" tIns="45700" rIns="91412" bIns="45700" anchor="t" anchorCtr="0">
              <a:noAutofit/>
            </a:bodyPr>
            <a:lstStyle/>
            <a:p>
              <a:pPr>
                <a:lnSpc>
                  <a:spcPct val="130000"/>
                </a:lnSpc>
                <a:buSzPct val="25000"/>
              </a:pPr>
              <a:r>
                <a:rPr lang="tr-TR" sz="1501" dirty="0">
                  <a:ea typeface="Roboto"/>
                  <a:cs typeface="Roboto"/>
                  <a:sym typeface="Roboto"/>
                </a:rPr>
                <a:t>Süreç Optimizasyon</a:t>
              </a:r>
            </a:p>
          </p:txBody>
        </p:sp>
        <p:sp>
          <p:nvSpPr>
            <p:cNvPr id="325" name="Ellipse 311">
              <a:extLst>
                <a:ext uri="{FF2B5EF4-FFF2-40B4-BE49-F238E27FC236}">
                  <a16:creationId xmlns:a16="http://schemas.microsoft.com/office/drawing/2014/main" id="{80F6CFC4-5A99-1640-A8E7-C6F9698CD0D7}"/>
                </a:ext>
              </a:extLst>
            </p:cNvPr>
            <p:cNvSpPr/>
            <p:nvPr/>
          </p:nvSpPr>
          <p:spPr>
            <a:xfrm>
              <a:off x="17007855" y="10047078"/>
              <a:ext cx="830204" cy="830203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sz="900" dirty="0">
                <a:solidFill>
                  <a:schemeClr val="tx1"/>
                </a:solidFill>
              </a:endParaRPr>
            </a:p>
          </p:txBody>
        </p:sp>
        <p:sp>
          <p:nvSpPr>
            <p:cNvPr id="326" name="Shape 3850">
              <a:extLst>
                <a:ext uri="{FF2B5EF4-FFF2-40B4-BE49-F238E27FC236}">
                  <a16:creationId xmlns:a16="http://schemas.microsoft.com/office/drawing/2014/main" id="{68D7E7DB-404A-5949-9067-A75974A730F0}"/>
                </a:ext>
              </a:extLst>
            </p:cNvPr>
            <p:cNvSpPr/>
            <p:nvPr/>
          </p:nvSpPr>
          <p:spPr>
            <a:xfrm>
              <a:off x="17269853" y="10280038"/>
              <a:ext cx="279772" cy="34287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868" y="119800"/>
                  </a:moveTo>
                  <a:moveTo>
                    <a:pt x="59016" y="70482"/>
                  </a:moveTo>
                  <a:lnTo>
                    <a:pt x="112868" y="119800"/>
                  </a:lnTo>
                  <a:lnTo>
                    <a:pt x="59016" y="70482"/>
                  </a:lnTo>
                  <a:cubicBezTo>
                    <a:pt x="6885" y="119800"/>
                    <a:pt x="6885" y="119800"/>
                    <a:pt x="6885" y="119800"/>
                  </a:cubicBezTo>
                  <a:cubicBezTo>
                    <a:pt x="1721" y="119800"/>
                    <a:pt x="0" y="117004"/>
                    <a:pt x="0" y="114209"/>
                  </a:cubicBezTo>
                  <a:cubicBezTo>
                    <a:pt x="0" y="64891"/>
                    <a:pt x="0" y="64891"/>
                    <a:pt x="0" y="64891"/>
                  </a:cubicBezTo>
                  <a:cubicBezTo>
                    <a:pt x="0" y="62096"/>
                    <a:pt x="1721" y="59101"/>
                    <a:pt x="6885" y="59101"/>
                  </a:cubicBezTo>
                  <a:cubicBezTo>
                    <a:pt x="17213" y="59101"/>
                    <a:pt x="17213" y="59101"/>
                    <a:pt x="17213" y="59101"/>
                  </a:cubicBezTo>
                  <a:cubicBezTo>
                    <a:pt x="17213" y="33743"/>
                    <a:pt x="17213" y="33743"/>
                    <a:pt x="17213" y="33743"/>
                  </a:cubicBezTo>
                  <a:cubicBezTo>
                    <a:pt x="17213" y="13976"/>
                    <a:pt x="36393" y="0"/>
                    <a:pt x="59016" y="0"/>
                  </a:cubicBezTo>
                  <a:cubicBezTo>
                    <a:pt x="83360" y="0"/>
                    <a:pt x="100573" y="13976"/>
                    <a:pt x="100573" y="33743"/>
                  </a:cubicBezTo>
                  <a:cubicBezTo>
                    <a:pt x="100573" y="36539"/>
                    <a:pt x="98852" y="39534"/>
                    <a:pt x="93688" y="39534"/>
                  </a:cubicBezTo>
                  <a:cubicBezTo>
                    <a:pt x="90245" y="39534"/>
                    <a:pt x="86803" y="36539"/>
                    <a:pt x="86803" y="33743"/>
                  </a:cubicBezTo>
                  <a:cubicBezTo>
                    <a:pt x="86803" y="21164"/>
                    <a:pt x="74754" y="11181"/>
                    <a:pt x="59016" y="11181"/>
                  </a:cubicBezTo>
                  <a:cubicBezTo>
                    <a:pt x="43278" y="11181"/>
                    <a:pt x="31229" y="21164"/>
                    <a:pt x="31229" y="33743"/>
                  </a:cubicBezTo>
                  <a:cubicBezTo>
                    <a:pt x="31229" y="59101"/>
                    <a:pt x="31229" y="59101"/>
                    <a:pt x="31229" y="59101"/>
                  </a:cubicBezTo>
                  <a:cubicBezTo>
                    <a:pt x="86803" y="59101"/>
                    <a:pt x="86803" y="59101"/>
                    <a:pt x="86803" y="59101"/>
                  </a:cubicBezTo>
                  <a:cubicBezTo>
                    <a:pt x="100573" y="59101"/>
                    <a:pt x="100573" y="59101"/>
                    <a:pt x="100573" y="59101"/>
                  </a:cubicBezTo>
                  <a:cubicBezTo>
                    <a:pt x="112868" y="59101"/>
                    <a:pt x="112868" y="59101"/>
                    <a:pt x="112868" y="59101"/>
                  </a:cubicBezTo>
                  <a:cubicBezTo>
                    <a:pt x="116311" y="59101"/>
                    <a:pt x="119754" y="62096"/>
                    <a:pt x="119754" y="64891"/>
                  </a:cubicBezTo>
                  <a:cubicBezTo>
                    <a:pt x="119754" y="114209"/>
                    <a:pt x="119754" y="114209"/>
                    <a:pt x="119754" y="114209"/>
                  </a:cubicBezTo>
                  <a:cubicBezTo>
                    <a:pt x="119754" y="117004"/>
                    <a:pt x="116311" y="119800"/>
                    <a:pt x="112868" y="119800"/>
                  </a:cubicBezTo>
                  <a:cubicBezTo>
                    <a:pt x="52131" y="70482"/>
                    <a:pt x="45000" y="76073"/>
                    <a:pt x="45000" y="81863"/>
                  </a:cubicBezTo>
                  <a:cubicBezTo>
                    <a:pt x="45000" y="86056"/>
                    <a:pt x="48688" y="90249"/>
                    <a:pt x="52131" y="91647"/>
                  </a:cubicBezTo>
                  <a:cubicBezTo>
                    <a:pt x="52131" y="103028"/>
                    <a:pt x="52131" y="103028"/>
                    <a:pt x="52131" y="103028"/>
                  </a:cubicBezTo>
                  <a:cubicBezTo>
                    <a:pt x="52131" y="105823"/>
                    <a:pt x="55573" y="108618"/>
                    <a:pt x="59016" y="108618"/>
                  </a:cubicBezTo>
                  <a:cubicBezTo>
                    <a:pt x="64180" y="108618"/>
                    <a:pt x="65901" y="105823"/>
                    <a:pt x="65901" y="103028"/>
                  </a:cubicBezTo>
                  <a:cubicBezTo>
                    <a:pt x="65901" y="91647"/>
                    <a:pt x="65901" y="91647"/>
                    <a:pt x="65901" y="91647"/>
                  </a:cubicBezTo>
                  <a:cubicBezTo>
                    <a:pt x="71065" y="90249"/>
                    <a:pt x="72786" y="86056"/>
                    <a:pt x="72786" y="81863"/>
                  </a:cubicBezTo>
                  <a:cubicBezTo>
                    <a:pt x="72786" y="76073"/>
                    <a:pt x="67622" y="70482"/>
                    <a:pt x="59016" y="70482"/>
                  </a:cubicBezTo>
                  <a:close/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lIns="45713" tIns="22850" rIns="45713" bIns="22850" anchor="ctr" anchorCtr="0">
              <a:noAutofit/>
            </a:bodyPr>
            <a:lstStyle/>
            <a:p>
              <a:endParaRPr lang="tr-TR" dirty="0">
                <a:ea typeface="Lato"/>
                <a:cs typeface="Lato"/>
                <a:sym typeface="Lato"/>
              </a:endParaRPr>
            </a:p>
          </p:txBody>
        </p:sp>
        <p:sp>
          <p:nvSpPr>
            <p:cNvPr id="327" name="Ellipse 320">
              <a:extLst>
                <a:ext uri="{FF2B5EF4-FFF2-40B4-BE49-F238E27FC236}">
                  <a16:creationId xmlns:a16="http://schemas.microsoft.com/office/drawing/2014/main" id="{D32C4E5E-CBE5-D542-B565-E56A28FED15C}"/>
                </a:ext>
              </a:extLst>
            </p:cNvPr>
            <p:cNvSpPr/>
            <p:nvPr/>
          </p:nvSpPr>
          <p:spPr>
            <a:xfrm rot="2427305">
              <a:off x="13291059" y="8180310"/>
              <a:ext cx="436881" cy="436881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sz="900" dirty="0">
                <a:solidFill>
                  <a:schemeClr val="tx1"/>
                </a:solidFill>
              </a:endParaRPr>
            </a:p>
          </p:txBody>
        </p:sp>
        <p:cxnSp>
          <p:nvCxnSpPr>
            <p:cNvPr id="328" name="Gerader Verbinder 323">
              <a:extLst>
                <a:ext uri="{FF2B5EF4-FFF2-40B4-BE49-F238E27FC236}">
                  <a16:creationId xmlns:a16="http://schemas.microsoft.com/office/drawing/2014/main" id="{666C3B2A-F44F-D446-AE9A-F52D3236BAE0}"/>
                </a:ext>
              </a:extLst>
            </p:cNvPr>
            <p:cNvCxnSpPr>
              <a:cxnSpLocks/>
              <a:stCxn id="325" idx="2"/>
              <a:endCxn id="327" idx="7"/>
            </p:cNvCxnSpPr>
            <p:nvPr/>
          </p:nvCxnSpPr>
          <p:spPr>
            <a:xfrm flipH="1" flipV="1">
              <a:off x="13727253" y="8381442"/>
              <a:ext cx="3280602" cy="208073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876474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250"/>
                            </p:stCondLst>
                            <p:childTnLst>
                              <p:par>
                                <p:cTn id="1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250" fill="hold"/>
                                        <p:tgtEl>
                                          <p:spTgt spid="30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250" fill="hold"/>
                                        <p:tgtEl>
                                          <p:spTgt spid="3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250" fill="hold"/>
                                        <p:tgtEl>
                                          <p:spTgt spid="30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250" fill="hold"/>
                                        <p:tgtEl>
                                          <p:spTgt spid="30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750"/>
                            </p:stCondLst>
                            <p:childTnLst>
                              <p:par>
                                <p:cTn id="2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250" fill="hold"/>
                                        <p:tgtEl>
                                          <p:spTgt spid="3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250" fill="hold"/>
                                        <p:tgtEl>
                                          <p:spTgt spid="3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"/>
                            </p:stCondLst>
                            <p:childTnLst>
                              <p:par>
                                <p:cTn id="2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250" fill="hold"/>
                                        <p:tgtEl>
                                          <p:spTgt spid="3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250" fill="hold"/>
                                        <p:tgtEl>
                                          <p:spTgt spid="3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CF9D1ABD-890B-447C-8F97-340953EE83D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C57EDA-1B8D-4F13-B3C1-034A3BC59D6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3869" y="1439999"/>
            <a:ext cx="11182288" cy="968903"/>
          </a:xfrm>
        </p:spPr>
        <p:txBody>
          <a:bodyPr/>
          <a:lstStyle/>
          <a:p>
            <a:pPr defTabSz="457200"/>
            <a:r>
              <a:rPr lang="tr-TR" sz="2000" dirty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rPr>
              <a:t>Dijitalleşmede amaç ve kapsam</a:t>
            </a:r>
          </a:p>
        </p:txBody>
      </p:sp>
    </p:spTree>
    <p:extLst>
      <p:ext uri="{BB962C8B-B14F-4D97-AF65-F5344CB8AC3E}">
        <p14:creationId xmlns:p14="http://schemas.microsoft.com/office/powerpoint/2010/main" val="39490239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0EBB0C-3E59-8D9F-65E9-748280AD7E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1D79B63-762E-E2B9-AD06-15966ECED570}"/>
              </a:ext>
            </a:extLst>
          </p:cNvPr>
          <p:cNvSpPr txBox="1">
            <a:spLocks/>
          </p:cNvSpPr>
          <p:nvPr/>
        </p:nvSpPr>
        <p:spPr>
          <a:xfrm>
            <a:off x="591074" y="217869"/>
            <a:ext cx="7199376" cy="4712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tr-TR" sz="2000">
                <a:solidFill>
                  <a:schemeClr val="accent1"/>
                </a:solidFill>
                <a:latin typeface="Century Gothic" panose="020B0502020202020204" pitchFamily="34" charset="0"/>
              </a:rPr>
              <a:t>İşletme Değeri vs Analitik Olgunluk</a:t>
            </a:r>
            <a:endParaRPr lang="tr-TR" sz="20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4" name="Up Arrow 62">
            <a:extLst>
              <a:ext uri="{FF2B5EF4-FFF2-40B4-BE49-F238E27FC236}">
                <a16:creationId xmlns:a16="http://schemas.microsoft.com/office/drawing/2014/main" id="{4B95775E-77D7-10B3-4226-94951B578EC3}"/>
              </a:ext>
            </a:extLst>
          </p:cNvPr>
          <p:cNvSpPr/>
          <p:nvPr/>
        </p:nvSpPr>
        <p:spPr>
          <a:xfrm>
            <a:off x="1428934" y="1073096"/>
            <a:ext cx="586814" cy="5511092"/>
          </a:xfrm>
          <a:prstGeom prst="upArrow">
            <a:avLst/>
          </a:prstGeom>
          <a:gradFill flip="none" rotWithShape="1">
            <a:gsLst>
              <a:gs pos="100000">
                <a:schemeClr val="accent1">
                  <a:lumMod val="5000"/>
                  <a:lumOff val="95000"/>
                  <a:alpha val="0"/>
                </a:schemeClr>
              </a:gs>
              <a:gs pos="0">
                <a:srgbClr val="00E4FF"/>
              </a:gs>
            </a:gsLst>
            <a:lin ang="5400000" scaled="1"/>
            <a:tileRect/>
          </a:gradFill>
          <a:ln w="22225" cap="flat" cmpd="sng" algn="ctr">
            <a:gradFill flip="none" rotWithShape="1">
              <a:gsLst>
                <a:gs pos="100000">
                  <a:schemeClr val="accent1">
                    <a:lumMod val="5000"/>
                    <a:lumOff val="95000"/>
                    <a:alpha val="0"/>
                  </a:schemeClr>
                </a:gs>
                <a:gs pos="0">
                  <a:srgbClr val="00E4FF"/>
                </a:gs>
              </a:gsLst>
              <a:lin ang="5400000" scaled="1"/>
              <a:tileRect/>
            </a:gradFill>
            <a:prstDash val="solid"/>
            <a:miter lim="800000"/>
          </a:ln>
          <a:effectLst/>
        </p:spPr>
        <p:txBody>
          <a:bodyPr vert="vert270" rtlCol="0" anchor="ctr"/>
          <a:lstStyle/>
          <a:p>
            <a:pPr marL="0" marR="0" lvl="0" indent="0" algn="r" defTabSz="9139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100" b="1" i="0" u="none" strike="noStrike" kern="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Montserrat" pitchFamily="2" charset="0"/>
                <a:ea typeface="+mn-ea"/>
                <a:cs typeface="Arial"/>
              </a:rPr>
              <a:t>İşletme Değeri</a:t>
            </a:r>
          </a:p>
        </p:txBody>
      </p:sp>
      <p:sp>
        <p:nvSpPr>
          <p:cNvPr id="5" name="Right Arrow 63">
            <a:extLst>
              <a:ext uri="{FF2B5EF4-FFF2-40B4-BE49-F238E27FC236}">
                <a16:creationId xmlns:a16="http://schemas.microsoft.com/office/drawing/2014/main" id="{E0DCCFEC-F25A-DA41-6A6A-3FD9883E622D}"/>
              </a:ext>
            </a:extLst>
          </p:cNvPr>
          <p:cNvSpPr/>
          <p:nvPr/>
        </p:nvSpPr>
        <p:spPr>
          <a:xfrm>
            <a:off x="1722342" y="6212276"/>
            <a:ext cx="8570717" cy="493996"/>
          </a:xfrm>
          <a:prstGeom prst="rightArrow">
            <a:avLst/>
          </a:prstGeom>
          <a:gradFill>
            <a:gsLst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rgbClr val="00E4FF"/>
              </a:gs>
            </a:gsLst>
            <a:lin ang="0" scaled="1"/>
          </a:gradFill>
          <a:ln w="22225" cap="flat" cmpd="sng" algn="ctr">
            <a:gradFill flip="none" rotWithShape="1"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100000">
                  <a:srgbClr val="00E4FF"/>
                </a:gs>
              </a:gsLst>
              <a:lin ang="0" scaled="1"/>
              <a:tileRect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r" defTabSz="9139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100" b="1" i="0" u="none" strike="noStrike" kern="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Montserrat" pitchFamily="2" charset="0"/>
                <a:ea typeface="+mn-ea"/>
                <a:cs typeface="Arial"/>
              </a:rPr>
              <a:t>Analitik Olgunluk           </a:t>
            </a:r>
          </a:p>
        </p:txBody>
      </p:sp>
      <p:grpSp>
        <p:nvGrpSpPr>
          <p:cNvPr id="6" name="Grup 309">
            <a:extLst>
              <a:ext uri="{FF2B5EF4-FFF2-40B4-BE49-F238E27FC236}">
                <a16:creationId xmlns:a16="http://schemas.microsoft.com/office/drawing/2014/main" id="{88C7781A-64E5-D6C8-A2D5-29D1E1837991}"/>
              </a:ext>
            </a:extLst>
          </p:cNvPr>
          <p:cNvGrpSpPr/>
          <p:nvPr/>
        </p:nvGrpSpPr>
        <p:grpSpPr>
          <a:xfrm>
            <a:off x="1885436" y="580402"/>
            <a:ext cx="10134600" cy="6277598"/>
            <a:chOff x="1640485" y="829196"/>
            <a:chExt cx="10134600" cy="6277598"/>
          </a:xfrm>
        </p:grpSpPr>
        <p:pic>
          <p:nvPicPr>
            <p:cNvPr id="7" name="Resim 4">
              <a:extLst>
                <a:ext uri="{FF2B5EF4-FFF2-40B4-BE49-F238E27FC236}">
                  <a16:creationId xmlns:a16="http://schemas.microsoft.com/office/drawing/2014/main" id="{8C80441B-99A0-FCC5-C973-36A24983DA9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057" t="22349" r="36960" b="32640"/>
            <a:stretch/>
          </p:blipFill>
          <p:spPr>
            <a:xfrm>
              <a:off x="1799832" y="829196"/>
              <a:ext cx="9975253" cy="5611361"/>
            </a:xfrm>
            <a:prstGeom prst="rect">
              <a:avLst/>
            </a:prstGeom>
          </p:spPr>
        </p:pic>
        <p:pic>
          <p:nvPicPr>
            <p:cNvPr id="8" name="Resim 10">
              <a:extLst>
                <a:ext uri="{FF2B5EF4-FFF2-40B4-BE49-F238E27FC236}">
                  <a16:creationId xmlns:a16="http://schemas.microsoft.com/office/drawing/2014/main" id="{867657C0-8714-9EC2-C742-45F1DD7977D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3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723" t="33752" r="43633" b="20061"/>
            <a:stretch/>
          </p:blipFill>
          <p:spPr>
            <a:xfrm>
              <a:off x="1843082" y="995710"/>
              <a:ext cx="8859361" cy="6111084"/>
            </a:xfrm>
            <a:prstGeom prst="rect">
              <a:avLst/>
            </a:prstGeom>
          </p:spPr>
        </p:pic>
        <p:pic>
          <p:nvPicPr>
            <p:cNvPr id="14" name="Resim 29">
              <a:extLst>
                <a:ext uri="{FF2B5EF4-FFF2-40B4-BE49-F238E27FC236}">
                  <a16:creationId xmlns:a16="http://schemas.microsoft.com/office/drawing/2014/main" id="{94858E67-8A66-E147-4075-1793D6A1E78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098238" y="1183020"/>
              <a:ext cx="4653529" cy="5803477"/>
            </a:xfrm>
            <a:prstGeom prst="rect">
              <a:avLst/>
            </a:prstGeom>
          </p:spPr>
        </p:pic>
        <p:cxnSp>
          <p:nvCxnSpPr>
            <p:cNvPr id="9" name="Straight Connector 74">
              <a:extLst>
                <a:ext uri="{FF2B5EF4-FFF2-40B4-BE49-F238E27FC236}">
                  <a16:creationId xmlns:a16="http://schemas.microsoft.com/office/drawing/2014/main" id="{76D96E19-2BFE-9693-03C3-4FFB5DFBD91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064733" y="4301254"/>
              <a:ext cx="5194711" cy="0"/>
            </a:xfrm>
            <a:prstGeom prst="line">
              <a:avLst/>
            </a:prstGeom>
            <a:noFill/>
            <a:ln w="15875" cap="flat" cmpd="sng" algn="ctr">
              <a:gradFill flip="none" rotWithShape="1">
                <a:gsLst>
                  <a:gs pos="100000">
                    <a:schemeClr val="accent1">
                      <a:lumMod val="5000"/>
                      <a:lumOff val="95000"/>
                    </a:schemeClr>
                  </a:gs>
                  <a:gs pos="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  <a:prstDash val="sysDash"/>
              <a:miter lim="800000"/>
              <a:tailEnd type="none"/>
            </a:ln>
            <a:effectLst/>
          </p:spPr>
        </p:cxnSp>
        <p:cxnSp>
          <p:nvCxnSpPr>
            <p:cNvPr id="10" name="Straight Connector 75">
              <a:extLst>
                <a:ext uri="{FF2B5EF4-FFF2-40B4-BE49-F238E27FC236}">
                  <a16:creationId xmlns:a16="http://schemas.microsoft.com/office/drawing/2014/main" id="{C0C612DD-F816-B120-486E-3077AAEAFD9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038782" y="3687680"/>
              <a:ext cx="4863823" cy="23876"/>
            </a:xfrm>
            <a:prstGeom prst="line">
              <a:avLst/>
            </a:prstGeom>
            <a:noFill/>
            <a:ln w="15875" cap="flat" cmpd="sng" algn="ctr">
              <a:gradFill flip="none" rotWithShape="1">
                <a:gsLst>
                  <a:gs pos="100000">
                    <a:schemeClr val="accent1">
                      <a:lumMod val="5000"/>
                      <a:lumOff val="95000"/>
                    </a:schemeClr>
                  </a:gs>
                  <a:gs pos="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  <a:prstDash val="sysDash"/>
              <a:miter lim="800000"/>
              <a:tailEnd type="none"/>
            </a:ln>
            <a:effectLst/>
          </p:spPr>
        </p:cxnSp>
        <p:cxnSp>
          <p:nvCxnSpPr>
            <p:cNvPr id="11" name="Straight Connector 76">
              <a:extLst>
                <a:ext uri="{FF2B5EF4-FFF2-40B4-BE49-F238E27FC236}">
                  <a16:creationId xmlns:a16="http://schemas.microsoft.com/office/drawing/2014/main" id="{ACD51418-7137-8662-321C-4DEA305AB93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047046" y="3102664"/>
              <a:ext cx="5612465" cy="17912"/>
            </a:xfrm>
            <a:prstGeom prst="line">
              <a:avLst/>
            </a:prstGeom>
            <a:noFill/>
            <a:ln w="15875" cap="flat" cmpd="sng" algn="ctr">
              <a:gradFill flip="none" rotWithShape="1">
                <a:gsLst>
                  <a:gs pos="100000">
                    <a:schemeClr val="accent1">
                      <a:lumMod val="5000"/>
                      <a:lumOff val="95000"/>
                    </a:schemeClr>
                  </a:gs>
                  <a:gs pos="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  <a:prstDash val="sysDash"/>
              <a:miter lim="800000"/>
              <a:tailEnd type="none"/>
            </a:ln>
            <a:effectLst/>
          </p:spPr>
        </p:cxnSp>
        <p:cxnSp>
          <p:nvCxnSpPr>
            <p:cNvPr id="12" name="Straight Connector 77">
              <a:extLst>
                <a:ext uri="{FF2B5EF4-FFF2-40B4-BE49-F238E27FC236}">
                  <a16:creationId xmlns:a16="http://schemas.microsoft.com/office/drawing/2014/main" id="{E8A90897-6B9D-B470-6178-A45AF4A519F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047046" y="2482867"/>
              <a:ext cx="5413120" cy="36207"/>
            </a:xfrm>
            <a:prstGeom prst="line">
              <a:avLst/>
            </a:prstGeom>
            <a:noFill/>
            <a:ln w="15875" cap="flat" cmpd="sng" algn="ctr">
              <a:gradFill flip="none" rotWithShape="1">
                <a:gsLst>
                  <a:gs pos="100000">
                    <a:schemeClr val="accent1">
                      <a:lumMod val="5000"/>
                      <a:lumOff val="95000"/>
                    </a:schemeClr>
                  </a:gs>
                  <a:gs pos="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  <a:prstDash val="sysDash"/>
              <a:miter lim="800000"/>
              <a:tailEnd type="none"/>
            </a:ln>
            <a:effectLst/>
          </p:spPr>
        </p:cxnSp>
        <p:cxnSp>
          <p:nvCxnSpPr>
            <p:cNvPr id="13" name="Straight Connector 78">
              <a:extLst>
                <a:ext uri="{FF2B5EF4-FFF2-40B4-BE49-F238E27FC236}">
                  <a16:creationId xmlns:a16="http://schemas.microsoft.com/office/drawing/2014/main" id="{71B6210B-AC80-3EA1-AE9A-276E23BF946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058998" y="1893199"/>
              <a:ext cx="4372154" cy="50862"/>
            </a:xfrm>
            <a:prstGeom prst="line">
              <a:avLst/>
            </a:prstGeom>
            <a:noFill/>
            <a:ln w="15875" cap="flat" cmpd="sng" algn="ctr">
              <a:gradFill flip="none" rotWithShape="1">
                <a:gsLst>
                  <a:gs pos="100000">
                    <a:schemeClr val="accent1">
                      <a:lumMod val="5000"/>
                      <a:lumOff val="95000"/>
                    </a:schemeClr>
                  </a:gs>
                  <a:gs pos="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  <a:prstDash val="sysDash"/>
              <a:miter lim="800000"/>
              <a:tailEnd type="none"/>
            </a:ln>
            <a:effectLst/>
          </p:spPr>
        </p:cxnSp>
        <p:grpSp>
          <p:nvGrpSpPr>
            <p:cNvPr id="15" name="Grup 48">
              <a:extLst>
                <a:ext uri="{FF2B5EF4-FFF2-40B4-BE49-F238E27FC236}">
                  <a16:creationId xmlns:a16="http://schemas.microsoft.com/office/drawing/2014/main" id="{4B95A782-8C86-EFB8-F315-13D03E2AB0D2}"/>
                </a:ext>
              </a:extLst>
            </p:cNvPr>
            <p:cNvGrpSpPr/>
            <p:nvPr/>
          </p:nvGrpSpPr>
          <p:grpSpPr>
            <a:xfrm>
              <a:off x="6453066" y="1538761"/>
              <a:ext cx="417520" cy="417520"/>
              <a:chOff x="8198544" y="1988409"/>
              <a:chExt cx="611291" cy="611291"/>
            </a:xfrm>
          </p:grpSpPr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EFEC421C-ACAF-9084-F8CA-A8F659659A78}"/>
                  </a:ext>
                </a:extLst>
              </p:cNvPr>
              <p:cNvSpPr/>
              <p:nvPr/>
            </p:nvSpPr>
            <p:spPr>
              <a:xfrm>
                <a:off x="8198544" y="1988409"/>
                <a:ext cx="611291" cy="611291"/>
              </a:xfrm>
              <a:prstGeom prst="ellipse">
                <a:avLst/>
              </a:prstGeom>
              <a:gradFill>
                <a:gsLst>
                  <a:gs pos="0">
                    <a:srgbClr val="042659">
                      <a:alpha val="0"/>
                    </a:srgbClr>
                  </a:gs>
                  <a:gs pos="33000">
                    <a:srgbClr val="042659"/>
                  </a:gs>
                  <a:gs pos="68000">
                    <a:srgbClr val="042659"/>
                  </a:gs>
                  <a:gs pos="100000">
                    <a:srgbClr val="042659">
                      <a:alpha val="0"/>
                    </a:srgbClr>
                  </a:gs>
                </a:gsLst>
                <a:lin ang="16200000" scaled="1"/>
              </a:gradFill>
              <a:ln w="25400">
                <a:gradFill flip="none" rotWithShape="1">
                  <a:gsLst>
                    <a:gs pos="0">
                      <a:schemeClr val="accent1">
                        <a:lumMod val="5000"/>
                        <a:lumOff val="95000"/>
                        <a:alpha val="0"/>
                      </a:schemeClr>
                    </a:gs>
                    <a:gs pos="30000">
                      <a:schemeClr val="bg1"/>
                    </a:gs>
                    <a:gs pos="79000">
                      <a:schemeClr val="bg1"/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16200000" scaled="1"/>
                  <a:tileRect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8" name="Oval 57">
                <a:extLst>
                  <a:ext uri="{FF2B5EF4-FFF2-40B4-BE49-F238E27FC236}">
                    <a16:creationId xmlns:a16="http://schemas.microsoft.com/office/drawing/2014/main" id="{A3DD4C15-CD6B-8471-BF04-CA1F13836339}"/>
                  </a:ext>
                </a:extLst>
              </p:cNvPr>
              <p:cNvSpPr/>
              <p:nvPr/>
            </p:nvSpPr>
            <p:spPr>
              <a:xfrm>
                <a:off x="8374565" y="2164431"/>
                <a:ext cx="259247" cy="259247"/>
              </a:xfrm>
              <a:prstGeom prst="ellipse">
                <a:avLst/>
              </a:prstGeom>
              <a:solidFill>
                <a:schemeClr val="bg1"/>
              </a:solidFill>
              <a:ln w="254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6" name="Grup 52">
              <a:extLst>
                <a:ext uri="{FF2B5EF4-FFF2-40B4-BE49-F238E27FC236}">
                  <a16:creationId xmlns:a16="http://schemas.microsoft.com/office/drawing/2014/main" id="{CD0ADB51-02FD-5489-99EA-4D6DEB0BA9B5}"/>
                </a:ext>
              </a:extLst>
            </p:cNvPr>
            <p:cNvGrpSpPr/>
            <p:nvPr/>
          </p:nvGrpSpPr>
          <p:grpSpPr>
            <a:xfrm>
              <a:off x="7300966" y="2300986"/>
              <a:ext cx="417520" cy="417520"/>
              <a:chOff x="8198544" y="1988409"/>
              <a:chExt cx="611291" cy="611291"/>
            </a:xfrm>
          </p:grpSpPr>
          <p:sp>
            <p:nvSpPr>
              <p:cNvPr id="55" name="Oval 54">
                <a:extLst>
                  <a:ext uri="{FF2B5EF4-FFF2-40B4-BE49-F238E27FC236}">
                    <a16:creationId xmlns:a16="http://schemas.microsoft.com/office/drawing/2014/main" id="{433C5708-24EC-E44B-5946-EAFED56F924D}"/>
                  </a:ext>
                </a:extLst>
              </p:cNvPr>
              <p:cNvSpPr/>
              <p:nvPr/>
            </p:nvSpPr>
            <p:spPr>
              <a:xfrm>
                <a:off x="8198544" y="1988409"/>
                <a:ext cx="611291" cy="611291"/>
              </a:xfrm>
              <a:prstGeom prst="ellipse">
                <a:avLst/>
              </a:prstGeom>
              <a:gradFill>
                <a:gsLst>
                  <a:gs pos="0">
                    <a:srgbClr val="042659">
                      <a:alpha val="0"/>
                    </a:srgbClr>
                  </a:gs>
                  <a:gs pos="33000">
                    <a:srgbClr val="042659"/>
                  </a:gs>
                  <a:gs pos="68000">
                    <a:srgbClr val="042659"/>
                  </a:gs>
                  <a:gs pos="100000">
                    <a:srgbClr val="042659">
                      <a:alpha val="0"/>
                    </a:srgbClr>
                  </a:gs>
                </a:gsLst>
                <a:lin ang="16200000" scaled="1"/>
              </a:gradFill>
              <a:ln w="25400">
                <a:gradFill flip="none" rotWithShape="1">
                  <a:gsLst>
                    <a:gs pos="0">
                      <a:schemeClr val="accent1">
                        <a:lumMod val="5000"/>
                        <a:lumOff val="95000"/>
                        <a:alpha val="0"/>
                      </a:schemeClr>
                    </a:gs>
                    <a:gs pos="30000">
                      <a:schemeClr val="bg1"/>
                    </a:gs>
                    <a:gs pos="79000">
                      <a:schemeClr val="bg1"/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16200000" scaled="1"/>
                  <a:tileRect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3D994ABF-0D8C-6076-FD77-6A896B9F55A2}"/>
                  </a:ext>
                </a:extLst>
              </p:cNvPr>
              <p:cNvSpPr/>
              <p:nvPr/>
            </p:nvSpPr>
            <p:spPr>
              <a:xfrm>
                <a:off x="8374565" y="2164431"/>
                <a:ext cx="259247" cy="259247"/>
              </a:xfrm>
              <a:prstGeom prst="ellipse">
                <a:avLst/>
              </a:prstGeom>
              <a:solidFill>
                <a:schemeClr val="bg1"/>
              </a:solidFill>
              <a:ln w="254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7" name="Grup 55">
              <a:extLst>
                <a:ext uri="{FF2B5EF4-FFF2-40B4-BE49-F238E27FC236}">
                  <a16:creationId xmlns:a16="http://schemas.microsoft.com/office/drawing/2014/main" id="{AD521257-D8FE-66D5-B572-C74D04393124}"/>
                </a:ext>
              </a:extLst>
            </p:cNvPr>
            <p:cNvGrpSpPr/>
            <p:nvPr/>
          </p:nvGrpSpPr>
          <p:grpSpPr>
            <a:xfrm>
              <a:off x="7471483" y="3079444"/>
              <a:ext cx="417520" cy="417520"/>
              <a:chOff x="8184099" y="2277714"/>
              <a:chExt cx="611291" cy="611291"/>
            </a:xfrm>
          </p:grpSpPr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202EE99B-D217-F292-E0F5-73FDB9F1DEF1}"/>
                  </a:ext>
                </a:extLst>
              </p:cNvPr>
              <p:cNvSpPr/>
              <p:nvPr/>
            </p:nvSpPr>
            <p:spPr>
              <a:xfrm>
                <a:off x="8184099" y="2277714"/>
                <a:ext cx="611291" cy="611291"/>
              </a:xfrm>
              <a:prstGeom prst="ellipse">
                <a:avLst/>
              </a:prstGeom>
              <a:gradFill>
                <a:gsLst>
                  <a:gs pos="0">
                    <a:srgbClr val="042659">
                      <a:alpha val="0"/>
                    </a:srgbClr>
                  </a:gs>
                  <a:gs pos="33000">
                    <a:srgbClr val="042659"/>
                  </a:gs>
                  <a:gs pos="68000">
                    <a:srgbClr val="042659"/>
                  </a:gs>
                  <a:gs pos="100000">
                    <a:srgbClr val="042659">
                      <a:alpha val="0"/>
                    </a:srgbClr>
                  </a:gs>
                </a:gsLst>
                <a:lin ang="16200000" scaled="1"/>
              </a:gradFill>
              <a:ln w="25400">
                <a:gradFill flip="none" rotWithShape="1">
                  <a:gsLst>
                    <a:gs pos="0">
                      <a:schemeClr val="accent1">
                        <a:lumMod val="5000"/>
                        <a:lumOff val="95000"/>
                        <a:alpha val="0"/>
                      </a:schemeClr>
                    </a:gs>
                    <a:gs pos="30000">
                      <a:schemeClr val="bg1"/>
                    </a:gs>
                    <a:gs pos="79000">
                      <a:schemeClr val="bg1"/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16200000" scaled="1"/>
                  <a:tileRect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8CCAE58E-228F-96CC-873E-C7AD82B01806}"/>
                  </a:ext>
                </a:extLst>
              </p:cNvPr>
              <p:cNvSpPr/>
              <p:nvPr/>
            </p:nvSpPr>
            <p:spPr>
              <a:xfrm>
                <a:off x="8385761" y="2453179"/>
                <a:ext cx="259247" cy="259247"/>
              </a:xfrm>
              <a:prstGeom prst="ellipse">
                <a:avLst/>
              </a:prstGeom>
              <a:solidFill>
                <a:schemeClr val="bg1"/>
              </a:solidFill>
              <a:ln w="254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8" name="Grup 60">
              <a:extLst>
                <a:ext uri="{FF2B5EF4-FFF2-40B4-BE49-F238E27FC236}">
                  <a16:creationId xmlns:a16="http://schemas.microsoft.com/office/drawing/2014/main" id="{007ED49F-A657-539E-5AD0-A163EE5E0B35}"/>
                </a:ext>
              </a:extLst>
            </p:cNvPr>
            <p:cNvGrpSpPr/>
            <p:nvPr/>
          </p:nvGrpSpPr>
          <p:grpSpPr>
            <a:xfrm>
              <a:off x="6614535" y="3842492"/>
              <a:ext cx="417520" cy="417520"/>
              <a:chOff x="7909447" y="2520439"/>
              <a:chExt cx="611291" cy="611291"/>
            </a:xfrm>
          </p:grpSpPr>
          <p:sp>
            <p:nvSpPr>
              <p:cNvPr id="51" name="Oval 50">
                <a:extLst>
                  <a:ext uri="{FF2B5EF4-FFF2-40B4-BE49-F238E27FC236}">
                    <a16:creationId xmlns:a16="http://schemas.microsoft.com/office/drawing/2014/main" id="{742D3353-FF9C-06EC-BC2E-C2393FD6F2CC}"/>
                  </a:ext>
                </a:extLst>
              </p:cNvPr>
              <p:cNvSpPr/>
              <p:nvPr/>
            </p:nvSpPr>
            <p:spPr>
              <a:xfrm>
                <a:off x="7909447" y="2520439"/>
                <a:ext cx="611291" cy="611291"/>
              </a:xfrm>
              <a:prstGeom prst="ellipse">
                <a:avLst/>
              </a:prstGeom>
              <a:gradFill>
                <a:gsLst>
                  <a:gs pos="0">
                    <a:srgbClr val="042659">
                      <a:alpha val="0"/>
                    </a:srgbClr>
                  </a:gs>
                  <a:gs pos="33000">
                    <a:srgbClr val="042659"/>
                  </a:gs>
                  <a:gs pos="68000">
                    <a:srgbClr val="042659"/>
                  </a:gs>
                  <a:gs pos="100000">
                    <a:srgbClr val="042659">
                      <a:alpha val="0"/>
                    </a:srgbClr>
                  </a:gs>
                </a:gsLst>
                <a:lin ang="16200000" scaled="1"/>
              </a:gradFill>
              <a:ln w="25400">
                <a:gradFill flip="none" rotWithShape="1">
                  <a:gsLst>
                    <a:gs pos="0">
                      <a:schemeClr val="accent1">
                        <a:lumMod val="5000"/>
                        <a:lumOff val="95000"/>
                        <a:alpha val="0"/>
                      </a:schemeClr>
                    </a:gs>
                    <a:gs pos="30000">
                      <a:schemeClr val="bg1"/>
                    </a:gs>
                    <a:gs pos="79000">
                      <a:schemeClr val="bg1"/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16200000" scaled="1"/>
                  <a:tileRect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2" name="Oval 51">
                <a:extLst>
                  <a:ext uri="{FF2B5EF4-FFF2-40B4-BE49-F238E27FC236}">
                    <a16:creationId xmlns:a16="http://schemas.microsoft.com/office/drawing/2014/main" id="{E56AB697-02E9-C7A6-DC85-EBD7C06AA9FE}"/>
                  </a:ext>
                </a:extLst>
              </p:cNvPr>
              <p:cNvSpPr/>
              <p:nvPr/>
            </p:nvSpPr>
            <p:spPr>
              <a:xfrm>
                <a:off x="8071965" y="2681348"/>
                <a:ext cx="259247" cy="259247"/>
              </a:xfrm>
              <a:prstGeom prst="ellipse">
                <a:avLst/>
              </a:prstGeom>
              <a:solidFill>
                <a:srgbClr val="FF0000"/>
              </a:solidFill>
              <a:ln w="254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up 191">
              <a:extLst>
                <a:ext uri="{FF2B5EF4-FFF2-40B4-BE49-F238E27FC236}">
                  <a16:creationId xmlns:a16="http://schemas.microsoft.com/office/drawing/2014/main" id="{39FD1A47-D0A4-8182-E187-76186896B234}"/>
                </a:ext>
              </a:extLst>
            </p:cNvPr>
            <p:cNvGrpSpPr/>
            <p:nvPr/>
          </p:nvGrpSpPr>
          <p:grpSpPr>
            <a:xfrm>
              <a:off x="6162795" y="5200112"/>
              <a:ext cx="417520" cy="417520"/>
              <a:chOff x="7208487" y="3621858"/>
              <a:chExt cx="611291" cy="611291"/>
            </a:xfrm>
          </p:grpSpPr>
          <p:sp>
            <p:nvSpPr>
              <p:cNvPr id="49" name="Oval 48">
                <a:extLst>
                  <a:ext uri="{FF2B5EF4-FFF2-40B4-BE49-F238E27FC236}">
                    <a16:creationId xmlns:a16="http://schemas.microsoft.com/office/drawing/2014/main" id="{8FCE958C-284B-7BD6-1570-875BDB63B879}"/>
                  </a:ext>
                </a:extLst>
              </p:cNvPr>
              <p:cNvSpPr/>
              <p:nvPr/>
            </p:nvSpPr>
            <p:spPr>
              <a:xfrm>
                <a:off x="7208487" y="3621858"/>
                <a:ext cx="611291" cy="611291"/>
              </a:xfrm>
              <a:prstGeom prst="ellipse">
                <a:avLst/>
              </a:prstGeom>
              <a:gradFill>
                <a:gsLst>
                  <a:gs pos="0">
                    <a:srgbClr val="042659">
                      <a:alpha val="0"/>
                    </a:srgbClr>
                  </a:gs>
                  <a:gs pos="33000">
                    <a:srgbClr val="042659"/>
                  </a:gs>
                  <a:gs pos="68000">
                    <a:srgbClr val="042659"/>
                  </a:gs>
                  <a:gs pos="100000">
                    <a:srgbClr val="042659">
                      <a:alpha val="0"/>
                    </a:srgbClr>
                  </a:gs>
                </a:gsLst>
                <a:lin ang="16200000" scaled="1"/>
              </a:gradFill>
              <a:ln w="25400">
                <a:gradFill flip="none" rotWithShape="1">
                  <a:gsLst>
                    <a:gs pos="0">
                      <a:schemeClr val="accent1">
                        <a:lumMod val="5000"/>
                        <a:lumOff val="95000"/>
                        <a:alpha val="0"/>
                      </a:schemeClr>
                    </a:gs>
                    <a:gs pos="30000">
                      <a:schemeClr val="bg1"/>
                    </a:gs>
                    <a:gs pos="79000">
                      <a:schemeClr val="bg1"/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16200000" scaled="1"/>
                  <a:tileRect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825E3DA6-2730-CD44-21B9-42D754F9F1FC}"/>
                  </a:ext>
                </a:extLst>
              </p:cNvPr>
              <p:cNvSpPr/>
              <p:nvPr/>
            </p:nvSpPr>
            <p:spPr>
              <a:xfrm>
                <a:off x="7383650" y="3810507"/>
                <a:ext cx="259247" cy="259247"/>
              </a:xfrm>
              <a:prstGeom prst="ellipse">
                <a:avLst/>
              </a:prstGeom>
              <a:solidFill>
                <a:schemeClr val="bg1"/>
              </a:solidFill>
              <a:ln w="254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30" name="Grup 284">
              <a:extLst>
                <a:ext uri="{FF2B5EF4-FFF2-40B4-BE49-F238E27FC236}">
                  <a16:creationId xmlns:a16="http://schemas.microsoft.com/office/drawing/2014/main" id="{453ADCE7-56A8-50DE-BC22-CDDB79B346D2}"/>
                </a:ext>
              </a:extLst>
            </p:cNvPr>
            <p:cNvGrpSpPr/>
            <p:nvPr/>
          </p:nvGrpSpPr>
          <p:grpSpPr>
            <a:xfrm>
              <a:off x="7951742" y="5079353"/>
              <a:ext cx="1742659" cy="563896"/>
              <a:chOff x="8595269" y="5022644"/>
              <a:chExt cx="1584235" cy="512633"/>
            </a:xfrm>
          </p:grpSpPr>
          <p:sp>
            <p:nvSpPr>
              <p:cNvPr id="45" name="Yuvarlatılmış Dikdörtgen 276">
                <a:extLst>
                  <a:ext uri="{FF2B5EF4-FFF2-40B4-BE49-F238E27FC236}">
                    <a16:creationId xmlns:a16="http://schemas.microsoft.com/office/drawing/2014/main" id="{1A036E2F-F284-18B9-DB93-C9DC061696BE}"/>
                  </a:ext>
                </a:extLst>
              </p:cNvPr>
              <p:cNvSpPr/>
              <p:nvPr/>
            </p:nvSpPr>
            <p:spPr>
              <a:xfrm>
                <a:off x="8619706" y="5022644"/>
                <a:ext cx="1559798" cy="512633"/>
              </a:xfrm>
              <a:prstGeom prst="roundRect">
                <a:avLst/>
              </a:prstGeom>
              <a:gradFill>
                <a:gsLst>
                  <a:gs pos="0">
                    <a:srgbClr val="042659">
                      <a:alpha val="0"/>
                    </a:srgbClr>
                  </a:gs>
                  <a:gs pos="33000">
                    <a:srgbClr val="042659"/>
                  </a:gs>
                  <a:gs pos="68000">
                    <a:srgbClr val="042659"/>
                  </a:gs>
                  <a:gs pos="100000">
                    <a:srgbClr val="042659">
                      <a:alpha val="0"/>
                    </a:srgbClr>
                  </a:gs>
                </a:gsLst>
                <a:lin ang="16200000" scaled="1"/>
              </a:gradFill>
              <a:ln w="25400">
                <a:gradFill flip="none" rotWithShape="1">
                  <a:gsLst>
                    <a:gs pos="0">
                      <a:schemeClr val="accent1">
                        <a:lumMod val="5000"/>
                        <a:lumOff val="95000"/>
                        <a:alpha val="0"/>
                      </a:schemeClr>
                    </a:gs>
                    <a:gs pos="30000">
                      <a:schemeClr val="bg1"/>
                    </a:gs>
                    <a:gs pos="79000">
                      <a:schemeClr val="bg1"/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16200000" scaled="1"/>
                  <a:tileRect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46" name="Grup 272">
                <a:extLst>
                  <a:ext uri="{FF2B5EF4-FFF2-40B4-BE49-F238E27FC236}">
                    <a16:creationId xmlns:a16="http://schemas.microsoft.com/office/drawing/2014/main" id="{E0F9D15A-D657-DAEF-33D5-79718A1E242B}"/>
                  </a:ext>
                </a:extLst>
              </p:cNvPr>
              <p:cNvGrpSpPr/>
              <p:nvPr/>
            </p:nvGrpSpPr>
            <p:grpSpPr>
              <a:xfrm>
                <a:off x="8595269" y="5040163"/>
                <a:ext cx="1552679" cy="370368"/>
                <a:chOff x="6740907" y="5754073"/>
                <a:chExt cx="1552679" cy="370368"/>
              </a:xfrm>
            </p:grpSpPr>
            <p:sp>
              <p:nvSpPr>
                <p:cNvPr id="47" name="TextBox 131">
                  <a:extLst>
                    <a:ext uri="{FF2B5EF4-FFF2-40B4-BE49-F238E27FC236}">
                      <a16:creationId xmlns:a16="http://schemas.microsoft.com/office/drawing/2014/main" id="{80C99287-842C-1243-8DD5-DA4798578C79}"/>
                    </a:ext>
                  </a:extLst>
                </p:cNvPr>
                <p:cNvSpPr txBox="1"/>
                <p:nvPr/>
              </p:nvSpPr>
              <p:spPr>
                <a:xfrm>
                  <a:off x="6740907" y="5754073"/>
                  <a:ext cx="1552679" cy="22383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393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tr-TR" sz="1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Montserrat" pitchFamily="2" charset="0"/>
                      <a:ea typeface="+mn-ea"/>
                      <a:cs typeface="Arial"/>
                    </a:rPr>
                    <a:t>Tanımlayıcı</a:t>
                  </a:r>
                </a:p>
              </p:txBody>
            </p:sp>
            <p:sp>
              <p:nvSpPr>
                <p:cNvPr id="48" name="Rectangle 10">
                  <a:extLst>
                    <a:ext uri="{FF2B5EF4-FFF2-40B4-BE49-F238E27FC236}">
                      <a16:creationId xmlns:a16="http://schemas.microsoft.com/office/drawing/2014/main" id="{621D098C-B6B7-BCE3-70C7-A826799D6A0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54694" y="5984543"/>
                  <a:ext cx="1538892" cy="13989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3887" tIns="0" rIns="3887" bIns="0">
                  <a:spAutoFit/>
                </a:bodyPr>
                <a:lstStyle>
                  <a:lvl1pPr marL="342900" indent="-342900" defTabSz="895350" eaLnBrk="0" hangingPunct="0">
                    <a:buSzPct val="120000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ea typeface="-윤고딕130" pitchFamily="18" charset="-127"/>
                    </a:defRPr>
                  </a:lvl1pPr>
                  <a:lvl2pPr marL="144463" indent="-142875" defTabSz="895350" eaLnBrk="0" hangingPunct="0">
                    <a:buSzPct val="120000"/>
                    <a:buChar char="•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ea typeface="-윤고딕130" pitchFamily="18" charset="-127"/>
                    </a:defRPr>
                  </a:lvl2pPr>
                  <a:lvl3pPr marL="1143000" indent="-228600" defTabSz="895350" eaLnBrk="0" hangingPunct="0">
                    <a:buChar char="–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ea typeface="-윤고딕130" pitchFamily="18" charset="-127"/>
                    </a:defRPr>
                  </a:lvl3pPr>
                  <a:lvl4pPr marL="1600200" indent="-228600" defTabSz="895350" eaLnBrk="0" hangingPunct="0">
                    <a:buSzPct val="89000"/>
                    <a:buChar char="•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ea typeface="-윤고딕130" pitchFamily="18" charset="-127"/>
                    </a:defRPr>
                  </a:lvl4pPr>
                  <a:lvl5pPr marL="2057400" indent="-228600" defTabSz="895350" eaLnBrk="0" hangingPunct="0">
                    <a:buSzPct val="75000"/>
                    <a:buChar char="–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ea typeface="-윤고딕130" pitchFamily="18" charset="-127"/>
                    </a:defRPr>
                  </a:lvl5pPr>
                  <a:lvl6pPr marL="2514600" indent="-228600" defTabSz="89535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Char char="–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ea typeface="-윤고딕130" pitchFamily="18" charset="-127"/>
                    </a:defRPr>
                  </a:lvl6pPr>
                  <a:lvl7pPr marL="2971800" indent="-228600" defTabSz="89535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Char char="–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ea typeface="-윤고딕130" pitchFamily="18" charset="-127"/>
                    </a:defRPr>
                  </a:lvl7pPr>
                  <a:lvl8pPr marL="3429000" indent="-228600" defTabSz="89535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Char char="–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ea typeface="-윤고딕130" pitchFamily="18" charset="-127"/>
                    </a:defRPr>
                  </a:lvl8pPr>
                  <a:lvl9pPr marL="3886200" indent="-228600" defTabSz="89535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Char char="–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ea typeface="-윤고딕130" pitchFamily="18" charset="-127"/>
                    </a:defRPr>
                  </a:lvl9pPr>
                </a:lstStyle>
                <a:p>
                  <a:pPr marL="1588" marR="0" lvl="1" indent="0" algn="ctr" defTabSz="89535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Pct val="120000"/>
                    <a:buFontTx/>
                    <a:buNone/>
                    <a:tabLst/>
                    <a:defRPr/>
                  </a:pPr>
                  <a:r>
                    <a:rPr kumimoji="0" lang="tr-TR" altLang="ko-KR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Montserrat" pitchFamily="2" charset="0"/>
                      <a:ea typeface="Gulim" pitchFamily="34" charset="-127"/>
                      <a:cs typeface="+mn-cs"/>
                    </a:rPr>
                    <a:t>Ne oldu</a:t>
                  </a:r>
                  <a:endParaRPr kumimoji="0" lang="en-US" altLang="ko-KR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Montserrat" pitchFamily="2" charset="0"/>
                    <a:ea typeface="Gulim" pitchFamily="34" charset="-127"/>
                    <a:cs typeface="+mn-cs"/>
                  </a:endParaRPr>
                </a:p>
              </p:txBody>
            </p:sp>
          </p:grpSp>
        </p:grpSp>
        <p:grpSp>
          <p:nvGrpSpPr>
            <p:cNvPr id="31" name="Grup 283">
              <a:extLst>
                <a:ext uri="{FF2B5EF4-FFF2-40B4-BE49-F238E27FC236}">
                  <a16:creationId xmlns:a16="http://schemas.microsoft.com/office/drawing/2014/main" id="{30FB7CA3-E27A-D713-BE29-DDD2CB846EA3}"/>
                </a:ext>
              </a:extLst>
            </p:cNvPr>
            <p:cNvGrpSpPr/>
            <p:nvPr/>
          </p:nvGrpSpPr>
          <p:grpSpPr>
            <a:xfrm>
              <a:off x="7941533" y="3735510"/>
              <a:ext cx="1772805" cy="563896"/>
              <a:chOff x="8125235" y="3747819"/>
              <a:chExt cx="1611640" cy="512633"/>
            </a:xfrm>
          </p:grpSpPr>
          <p:sp>
            <p:nvSpPr>
              <p:cNvPr id="41" name="Yuvarlatılmış Dikdörtgen 275">
                <a:extLst>
                  <a:ext uri="{FF2B5EF4-FFF2-40B4-BE49-F238E27FC236}">
                    <a16:creationId xmlns:a16="http://schemas.microsoft.com/office/drawing/2014/main" id="{A59BDEBE-4DD2-B90E-33C1-64BFF6C8C5A3}"/>
                  </a:ext>
                </a:extLst>
              </p:cNvPr>
              <p:cNvSpPr/>
              <p:nvPr/>
            </p:nvSpPr>
            <p:spPr>
              <a:xfrm>
                <a:off x="8177077" y="3747819"/>
                <a:ext cx="1559798" cy="512633"/>
              </a:xfrm>
              <a:prstGeom prst="roundRect">
                <a:avLst/>
              </a:prstGeom>
              <a:gradFill>
                <a:gsLst>
                  <a:gs pos="0">
                    <a:srgbClr val="042659">
                      <a:alpha val="0"/>
                    </a:srgbClr>
                  </a:gs>
                  <a:gs pos="33000">
                    <a:srgbClr val="042659"/>
                  </a:gs>
                  <a:gs pos="68000">
                    <a:srgbClr val="042659"/>
                  </a:gs>
                  <a:gs pos="100000">
                    <a:srgbClr val="042659">
                      <a:alpha val="0"/>
                    </a:srgbClr>
                  </a:gs>
                </a:gsLst>
                <a:lin ang="16200000" scaled="1"/>
              </a:gradFill>
              <a:ln w="25400">
                <a:gradFill flip="none" rotWithShape="1">
                  <a:gsLst>
                    <a:gs pos="0">
                      <a:schemeClr val="accent1">
                        <a:lumMod val="5000"/>
                        <a:lumOff val="95000"/>
                        <a:alpha val="0"/>
                      </a:schemeClr>
                    </a:gs>
                    <a:gs pos="30000">
                      <a:schemeClr val="bg1"/>
                    </a:gs>
                    <a:gs pos="79000">
                      <a:schemeClr val="bg1"/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16200000" scaled="1"/>
                  <a:tileRect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42" name="Grup 277">
                <a:extLst>
                  <a:ext uri="{FF2B5EF4-FFF2-40B4-BE49-F238E27FC236}">
                    <a16:creationId xmlns:a16="http://schemas.microsoft.com/office/drawing/2014/main" id="{6F72CF12-2945-67BA-6B6C-08505B57242C}"/>
                  </a:ext>
                </a:extLst>
              </p:cNvPr>
              <p:cNvGrpSpPr/>
              <p:nvPr/>
            </p:nvGrpSpPr>
            <p:grpSpPr>
              <a:xfrm>
                <a:off x="8125235" y="3759323"/>
                <a:ext cx="1569083" cy="386136"/>
                <a:chOff x="8363275" y="4383788"/>
                <a:chExt cx="1569083" cy="386136"/>
              </a:xfrm>
            </p:grpSpPr>
            <p:sp>
              <p:nvSpPr>
                <p:cNvPr id="43" name="TextBox 132">
                  <a:extLst>
                    <a:ext uri="{FF2B5EF4-FFF2-40B4-BE49-F238E27FC236}">
                      <a16:creationId xmlns:a16="http://schemas.microsoft.com/office/drawing/2014/main" id="{AFF09874-024C-B9E8-D084-7E730473D539}"/>
                    </a:ext>
                  </a:extLst>
                </p:cNvPr>
                <p:cNvSpPr txBox="1"/>
                <p:nvPr/>
              </p:nvSpPr>
              <p:spPr>
                <a:xfrm>
                  <a:off x="8372560" y="4383788"/>
                  <a:ext cx="1559798" cy="22383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393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tr-TR" sz="1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Montserrat" pitchFamily="2" charset="0"/>
                      <a:ea typeface="+mn-ea"/>
                      <a:cs typeface="Arial"/>
                    </a:rPr>
                    <a:t>Teşhis Eden</a:t>
                  </a:r>
                </a:p>
              </p:txBody>
            </p:sp>
            <p:sp>
              <p:nvSpPr>
                <p:cNvPr id="44" name="Rectangle 11">
                  <a:extLst>
                    <a:ext uri="{FF2B5EF4-FFF2-40B4-BE49-F238E27FC236}">
                      <a16:creationId xmlns:a16="http://schemas.microsoft.com/office/drawing/2014/main" id="{7FECA0F5-32F1-4341-B4BF-6A5E49FC1CF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363275" y="4630026"/>
                  <a:ext cx="1559798" cy="13989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3887" tIns="0" rIns="3887" bIns="0">
                  <a:spAutoFit/>
                </a:bodyPr>
                <a:lstStyle>
                  <a:lvl1pPr marL="342900" indent="-342900" defTabSz="895350" eaLnBrk="0" hangingPunct="0">
                    <a:buSzPct val="120000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ea typeface="-윤고딕130" pitchFamily="18" charset="-127"/>
                    </a:defRPr>
                  </a:lvl1pPr>
                  <a:lvl2pPr marL="144463" indent="-142875" defTabSz="895350" eaLnBrk="0" hangingPunct="0">
                    <a:buSzPct val="120000"/>
                    <a:buChar char="•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ea typeface="-윤고딕130" pitchFamily="18" charset="-127"/>
                    </a:defRPr>
                  </a:lvl2pPr>
                  <a:lvl3pPr marL="1143000" indent="-228600" defTabSz="895350" eaLnBrk="0" hangingPunct="0">
                    <a:buChar char="–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ea typeface="-윤고딕130" pitchFamily="18" charset="-127"/>
                    </a:defRPr>
                  </a:lvl3pPr>
                  <a:lvl4pPr marL="1600200" indent="-228600" defTabSz="895350" eaLnBrk="0" hangingPunct="0">
                    <a:buSzPct val="89000"/>
                    <a:buChar char="•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ea typeface="-윤고딕130" pitchFamily="18" charset="-127"/>
                    </a:defRPr>
                  </a:lvl4pPr>
                  <a:lvl5pPr marL="2057400" indent="-228600" defTabSz="895350" eaLnBrk="0" hangingPunct="0">
                    <a:buSzPct val="75000"/>
                    <a:buChar char="–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ea typeface="-윤고딕130" pitchFamily="18" charset="-127"/>
                    </a:defRPr>
                  </a:lvl5pPr>
                  <a:lvl6pPr marL="2514600" indent="-228600" defTabSz="89535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Char char="–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ea typeface="-윤고딕130" pitchFamily="18" charset="-127"/>
                    </a:defRPr>
                  </a:lvl6pPr>
                  <a:lvl7pPr marL="2971800" indent="-228600" defTabSz="89535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Char char="–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ea typeface="-윤고딕130" pitchFamily="18" charset="-127"/>
                    </a:defRPr>
                  </a:lvl7pPr>
                  <a:lvl8pPr marL="3429000" indent="-228600" defTabSz="89535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Char char="–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ea typeface="-윤고딕130" pitchFamily="18" charset="-127"/>
                    </a:defRPr>
                  </a:lvl8pPr>
                  <a:lvl9pPr marL="3886200" indent="-228600" defTabSz="89535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Char char="–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ea typeface="-윤고딕130" pitchFamily="18" charset="-127"/>
                    </a:defRPr>
                  </a:lvl9pPr>
                </a:lstStyle>
                <a:p>
                  <a:pPr marL="1588" marR="0" lvl="1" indent="0" algn="ctr" defTabSz="89535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Pct val="120000"/>
                    <a:buFontTx/>
                    <a:buNone/>
                    <a:tabLst/>
                    <a:defRPr/>
                  </a:pPr>
                  <a:r>
                    <a:rPr kumimoji="0" lang="tr-TR" altLang="ko-KR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Montserrat" pitchFamily="2" charset="0"/>
                      <a:ea typeface="Gulim" pitchFamily="34" charset="-127"/>
                      <a:cs typeface="+mn-cs"/>
                    </a:rPr>
                    <a:t>Neden oldu</a:t>
                  </a:r>
                  <a:endParaRPr kumimoji="0" lang="en-US" altLang="ko-KR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Montserrat" pitchFamily="2" charset="0"/>
                    <a:ea typeface="Gulim" pitchFamily="34" charset="-127"/>
                    <a:cs typeface="+mn-cs"/>
                  </a:endParaRPr>
                </a:p>
              </p:txBody>
            </p:sp>
          </p:grpSp>
        </p:grpSp>
        <p:grpSp>
          <p:nvGrpSpPr>
            <p:cNvPr id="32" name="Grup 282">
              <a:extLst>
                <a:ext uri="{FF2B5EF4-FFF2-40B4-BE49-F238E27FC236}">
                  <a16:creationId xmlns:a16="http://schemas.microsoft.com/office/drawing/2014/main" id="{4C06E2A3-B6E4-24B5-54D4-CDA898BCBB22}"/>
                </a:ext>
              </a:extLst>
            </p:cNvPr>
            <p:cNvGrpSpPr/>
            <p:nvPr/>
          </p:nvGrpSpPr>
          <p:grpSpPr>
            <a:xfrm>
              <a:off x="9274784" y="2985683"/>
              <a:ext cx="1721710" cy="563896"/>
              <a:chOff x="9112767" y="2995202"/>
              <a:chExt cx="1565191" cy="512633"/>
            </a:xfrm>
          </p:grpSpPr>
          <p:sp>
            <p:nvSpPr>
              <p:cNvPr id="38" name="Yuvarlatılmış Dikdörtgen 274">
                <a:extLst>
                  <a:ext uri="{FF2B5EF4-FFF2-40B4-BE49-F238E27FC236}">
                    <a16:creationId xmlns:a16="http://schemas.microsoft.com/office/drawing/2014/main" id="{8504BF97-0874-0968-B08D-10AE76B876BF}"/>
                  </a:ext>
                </a:extLst>
              </p:cNvPr>
              <p:cNvSpPr/>
              <p:nvPr/>
            </p:nvSpPr>
            <p:spPr>
              <a:xfrm>
                <a:off x="9112767" y="2995202"/>
                <a:ext cx="1559798" cy="512633"/>
              </a:xfrm>
              <a:prstGeom prst="roundRect">
                <a:avLst/>
              </a:prstGeom>
              <a:gradFill>
                <a:gsLst>
                  <a:gs pos="0">
                    <a:srgbClr val="042659">
                      <a:alpha val="0"/>
                    </a:srgbClr>
                  </a:gs>
                  <a:gs pos="33000">
                    <a:srgbClr val="042659"/>
                  </a:gs>
                  <a:gs pos="68000">
                    <a:srgbClr val="042659"/>
                  </a:gs>
                  <a:gs pos="100000">
                    <a:srgbClr val="042659">
                      <a:alpha val="0"/>
                    </a:srgbClr>
                  </a:gs>
                </a:gsLst>
                <a:lin ang="16200000" scaled="1"/>
              </a:gradFill>
              <a:ln w="25400">
                <a:gradFill flip="none" rotWithShape="1">
                  <a:gsLst>
                    <a:gs pos="0">
                      <a:schemeClr val="accent1">
                        <a:lumMod val="5000"/>
                        <a:lumOff val="95000"/>
                        <a:alpha val="0"/>
                      </a:schemeClr>
                    </a:gs>
                    <a:gs pos="30000">
                      <a:schemeClr val="bg1"/>
                    </a:gs>
                    <a:gs pos="79000">
                      <a:schemeClr val="bg1"/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16200000" scaled="1"/>
                  <a:tileRect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" name="TextBox 133">
                <a:extLst>
                  <a:ext uri="{FF2B5EF4-FFF2-40B4-BE49-F238E27FC236}">
                    <a16:creationId xmlns:a16="http://schemas.microsoft.com/office/drawing/2014/main" id="{6CE2CA0F-07E9-6359-DB06-6C21E64AFD6F}"/>
                  </a:ext>
                </a:extLst>
              </p:cNvPr>
              <p:cNvSpPr txBox="1"/>
              <p:nvPr/>
            </p:nvSpPr>
            <p:spPr>
              <a:xfrm>
                <a:off x="9112767" y="3023695"/>
                <a:ext cx="1565191" cy="22383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393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Montserrat" pitchFamily="2" charset="0"/>
                    <a:ea typeface="+mn-ea"/>
                    <a:cs typeface="Arial"/>
                  </a:rPr>
                  <a:t>Tahmin Eden</a:t>
                </a:r>
              </a:p>
            </p:txBody>
          </p:sp>
          <p:sp>
            <p:nvSpPr>
              <p:cNvPr id="40" name="Rectangle 12">
                <a:extLst>
                  <a:ext uri="{FF2B5EF4-FFF2-40B4-BE49-F238E27FC236}">
                    <a16:creationId xmlns:a16="http://schemas.microsoft.com/office/drawing/2014/main" id="{F02B9A6D-95D5-B3CA-F955-CD9B48FB21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169869" y="3292687"/>
                <a:ext cx="1495227" cy="1398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3887" tIns="0" rIns="3887" bIns="0">
                <a:spAutoFit/>
              </a:bodyPr>
              <a:lstStyle>
                <a:lvl1pPr marL="342900" indent="-342900" defTabSz="895350" eaLnBrk="0" hangingPunct="0">
                  <a:buSzPct val="120000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1pPr>
                <a:lvl2pPr marL="144463" indent="-142875" defTabSz="895350" eaLnBrk="0" hangingPunct="0"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2pPr>
                <a:lvl3pPr marL="1143000" indent="-228600" defTabSz="895350" eaLnBrk="0" hangingPunct="0"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3pPr>
                <a:lvl4pPr marL="1600200" indent="-228600" defTabSz="895350" eaLnBrk="0" hangingPunct="0">
                  <a:buSzPct val="89000"/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4pPr>
                <a:lvl5pPr marL="2057400" indent="-228600" defTabSz="895350" eaLnBrk="0" hangingPunct="0"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5pPr>
                <a:lvl6pPr marL="25146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6pPr>
                <a:lvl7pPr marL="29718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7pPr>
                <a:lvl8pPr marL="34290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8pPr>
                <a:lvl9pPr marL="38862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9pPr>
              </a:lstStyle>
              <a:p>
                <a:pPr marL="1588" marR="0" lvl="1" indent="0" algn="ctr" defTabSz="8953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120000"/>
                  <a:buFontTx/>
                  <a:buNone/>
                  <a:tabLst/>
                  <a:defRPr/>
                </a:pPr>
                <a:r>
                  <a:rPr kumimoji="0" lang="tr-TR" altLang="ko-KR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Montserrat" pitchFamily="2" charset="0"/>
                    <a:ea typeface="Gulim" pitchFamily="34" charset="-127"/>
                    <a:cs typeface="+mn-cs"/>
                  </a:rPr>
                  <a:t>Ne olacak</a:t>
                </a:r>
                <a:endParaRPr kumimoji="0" lang="en-US" altLang="ko-K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ontserrat" pitchFamily="2" charset="0"/>
                  <a:ea typeface="Gulim" pitchFamily="34" charset="-127"/>
                  <a:cs typeface="+mn-cs"/>
                </a:endParaRPr>
              </a:p>
            </p:txBody>
          </p:sp>
        </p:grpSp>
        <p:grpSp>
          <p:nvGrpSpPr>
            <p:cNvPr id="33" name="Grup 288">
              <a:extLst>
                <a:ext uri="{FF2B5EF4-FFF2-40B4-BE49-F238E27FC236}">
                  <a16:creationId xmlns:a16="http://schemas.microsoft.com/office/drawing/2014/main" id="{910BD3AC-48E0-57B2-F81D-2BF8A8E16155}"/>
                </a:ext>
              </a:extLst>
            </p:cNvPr>
            <p:cNvGrpSpPr/>
            <p:nvPr/>
          </p:nvGrpSpPr>
          <p:grpSpPr>
            <a:xfrm>
              <a:off x="8299262" y="1781208"/>
              <a:ext cx="1770941" cy="563896"/>
              <a:chOff x="8771173" y="1822310"/>
              <a:chExt cx="1609946" cy="512633"/>
            </a:xfrm>
          </p:grpSpPr>
          <p:sp>
            <p:nvSpPr>
              <p:cNvPr id="34" name="Yuvarlatılmış Dikdörtgen 273">
                <a:extLst>
                  <a:ext uri="{FF2B5EF4-FFF2-40B4-BE49-F238E27FC236}">
                    <a16:creationId xmlns:a16="http://schemas.microsoft.com/office/drawing/2014/main" id="{BEA7EA24-20D3-331B-1DBD-D374FBC3A259}"/>
                  </a:ext>
                </a:extLst>
              </p:cNvPr>
              <p:cNvSpPr/>
              <p:nvPr/>
            </p:nvSpPr>
            <p:spPr>
              <a:xfrm>
                <a:off x="8771173" y="1822310"/>
                <a:ext cx="1559798" cy="512633"/>
              </a:xfrm>
              <a:prstGeom prst="roundRect">
                <a:avLst/>
              </a:prstGeom>
              <a:gradFill>
                <a:gsLst>
                  <a:gs pos="0">
                    <a:srgbClr val="042659">
                      <a:alpha val="0"/>
                    </a:srgbClr>
                  </a:gs>
                  <a:gs pos="33000">
                    <a:srgbClr val="042659"/>
                  </a:gs>
                  <a:gs pos="68000">
                    <a:srgbClr val="042659"/>
                  </a:gs>
                  <a:gs pos="100000">
                    <a:srgbClr val="042659">
                      <a:alpha val="0"/>
                    </a:srgbClr>
                  </a:gs>
                </a:gsLst>
                <a:lin ang="16200000" scaled="1"/>
              </a:gradFill>
              <a:ln w="25400">
                <a:gradFill flip="none" rotWithShape="1">
                  <a:gsLst>
                    <a:gs pos="0">
                      <a:schemeClr val="accent1">
                        <a:lumMod val="5000"/>
                        <a:lumOff val="95000"/>
                        <a:alpha val="0"/>
                      </a:schemeClr>
                    </a:gs>
                    <a:gs pos="30000">
                      <a:schemeClr val="bg1"/>
                    </a:gs>
                    <a:gs pos="79000">
                      <a:schemeClr val="bg1"/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16200000" scaled="1"/>
                  <a:tileRect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35" name="Grup 285">
                <a:extLst>
                  <a:ext uri="{FF2B5EF4-FFF2-40B4-BE49-F238E27FC236}">
                    <a16:creationId xmlns:a16="http://schemas.microsoft.com/office/drawing/2014/main" id="{82D565BE-7484-2AC0-CF5E-14C3A08C2287}"/>
                  </a:ext>
                </a:extLst>
              </p:cNvPr>
              <p:cNvGrpSpPr/>
              <p:nvPr/>
            </p:nvGrpSpPr>
            <p:grpSpPr>
              <a:xfrm>
                <a:off x="8822392" y="1841349"/>
                <a:ext cx="1558727" cy="469408"/>
                <a:chOff x="8405549" y="1286635"/>
                <a:chExt cx="1558727" cy="469408"/>
              </a:xfrm>
            </p:grpSpPr>
            <p:sp>
              <p:nvSpPr>
                <p:cNvPr id="36" name="TextBox 134">
                  <a:extLst>
                    <a:ext uri="{FF2B5EF4-FFF2-40B4-BE49-F238E27FC236}">
                      <a16:creationId xmlns:a16="http://schemas.microsoft.com/office/drawing/2014/main" id="{F9ACA2CE-6670-A9E3-95CC-E455FD2A1C4D}"/>
                    </a:ext>
                  </a:extLst>
                </p:cNvPr>
                <p:cNvSpPr txBox="1"/>
                <p:nvPr/>
              </p:nvSpPr>
              <p:spPr>
                <a:xfrm>
                  <a:off x="8405549" y="1286635"/>
                  <a:ext cx="1545221" cy="22383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393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tr-TR" sz="1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Montserrat" pitchFamily="2" charset="0"/>
                      <a:ea typeface="+mn-ea"/>
                      <a:cs typeface="Arial"/>
                    </a:rPr>
                    <a:t>Yön Veren</a:t>
                  </a:r>
                </a:p>
              </p:txBody>
            </p:sp>
            <p:sp>
              <p:nvSpPr>
                <p:cNvPr id="37" name="Rectangle 13">
                  <a:extLst>
                    <a:ext uri="{FF2B5EF4-FFF2-40B4-BE49-F238E27FC236}">
                      <a16:creationId xmlns:a16="http://schemas.microsoft.com/office/drawing/2014/main" id="{DD2074B8-C497-A0B7-F4BF-C977F7401FB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419055" y="1476246"/>
                  <a:ext cx="1545221" cy="27979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3887" tIns="0" rIns="3887" bIns="0">
                  <a:spAutoFit/>
                </a:bodyPr>
                <a:lstStyle>
                  <a:lvl1pPr marL="342900" indent="-342900" defTabSz="895350" eaLnBrk="0" hangingPunct="0">
                    <a:buSzPct val="120000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ea typeface="-윤고딕130" pitchFamily="18" charset="-127"/>
                    </a:defRPr>
                  </a:lvl1pPr>
                  <a:lvl2pPr marL="144463" indent="-142875" defTabSz="895350" eaLnBrk="0" hangingPunct="0">
                    <a:buSzPct val="120000"/>
                    <a:buChar char="•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ea typeface="-윤고딕130" pitchFamily="18" charset="-127"/>
                    </a:defRPr>
                  </a:lvl2pPr>
                  <a:lvl3pPr marL="1143000" indent="-228600" defTabSz="895350" eaLnBrk="0" hangingPunct="0">
                    <a:buChar char="–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ea typeface="-윤고딕130" pitchFamily="18" charset="-127"/>
                    </a:defRPr>
                  </a:lvl3pPr>
                  <a:lvl4pPr marL="1600200" indent="-228600" defTabSz="895350" eaLnBrk="0" hangingPunct="0">
                    <a:buSzPct val="89000"/>
                    <a:buChar char="•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ea typeface="-윤고딕130" pitchFamily="18" charset="-127"/>
                    </a:defRPr>
                  </a:lvl4pPr>
                  <a:lvl5pPr marL="2057400" indent="-228600" defTabSz="895350" eaLnBrk="0" hangingPunct="0">
                    <a:buSzPct val="75000"/>
                    <a:buChar char="–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ea typeface="-윤고딕130" pitchFamily="18" charset="-127"/>
                    </a:defRPr>
                  </a:lvl5pPr>
                  <a:lvl6pPr marL="2514600" indent="-228600" defTabSz="89535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Char char="–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ea typeface="-윤고딕130" pitchFamily="18" charset="-127"/>
                    </a:defRPr>
                  </a:lvl6pPr>
                  <a:lvl7pPr marL="2971800" indent="-228600" defTabSz="89535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Char char="–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ea typeface="-윤고딕130" pitchFamily="18" charset="-127"/>
                    </a:defRPr>
                  </a:lvl7pPr>
                  <a:lvl8pPr marL="3429000" indent="-228600" defTabSz="89535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Char char="–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ea typeface="-윤고딕130" pitchFamily="18" charset="-127"/>
                    </a:defRPr>
                  </a:lvl8pPr>
                  <a:lvl9pPr marL="3886200" indent="-228600" defTabSz="89535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Char char="–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ea typeface="-윤고딕130" pitchFamily="18" charset="-127"/>
                    </a:defRPr>
                  </a:lvl9pPr>
                </a:lstStyle>
                <a:p>
                  <a:pPr marL="1588" marR="0" lvl="1" indent="0" algn="ctr" defTabSz="89535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Pct val="120000"/>
                    <a:buFontTx/>
                    <a:buNone/>
                    <a:tabLst/>
                    <a:defRPr/>
                  </a:pPr>
                  <a:r>
                    <a:rPr kumimoji="0" lang="tr-TR" altLang="ko-KR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Montserrat" pitchFamily="2" charset="0"/>
                      <a:ea typeface="Gulim" pitchFamily="34" charset="-127"/>
                      <a:cs typeface="+mn-cs"/>
                    </a:rPr>
                    <a:t>X oldurmak için ne yapmalıyız?</a:t>
                  </a:r>
                  <a:endParaRPr kumimoji="0" lang="en-US" altLang="ko-KR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Montserrat" pitchFamily="2" charset="0"/>
                    <a:ea typeface="Gulim" pitchFamily="34" charset="-127"/>
                    <a:cs typeface="+mn-cs"/>
                  </a:endParaRPr>
                </a:p>
              </p:txBody>
            </p:sp>
          </p:grpSp>
        </p:grpSp>
        <p:sp>
          <p:nvSpPr>
            <p:cNvPr id="20" name="TextBox 83">
              <a:extLst>
                <a:ext uri="{FF2B5EF4-FFF2-40B4-BE49-F238E27FC236}">
                  <a16:creationId xmlns:a16="http://schemas.microsoft.com/office/drawing/2014/main" id="{F935D170-355E-3537-7715-294D4316DED4}"/>
                </a:ext>
              </a:extLst>
            </p:cNvPr>
            <p:cNvSpPr txBox="1"/>
            <p:nvPr/>
          </p:nvSpPr>
          <p:spPr>
            <a:xfrm>
              <a:off x="1640485" y="5263607"/>
              <a:ext cx="247746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39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Montserrat" pitchFamily="2" charset="0"/>
                  <a:ea typeface="+mn-ea"/>
                  <a:cs typeface="Arial"/>
                </a:rPr>
                <a:t>Ölçme &amp; Raporlama</a:t>
              </a:r>
            </a:p>
          </p:txBody>
        </p:sp>
        <p:sp>
          <p:nvSpPr>
            <p:cNvPr id="21" name="TextBox 84">
              <a:extLst>
                <a:ext uri="{FF2B5EF4-FFF2-40B4-BE49-F238E27FC236}">
                  <a16:creationId xmlns:a16="http://schemas.microsoft.com/office/drawing/2014/main" id="{2B1B3474-9C05-1401-6668-44A4DE7EE824}"/>
                </a:ext>
              </a:extLst>
            </p:cNvPr>
            <p:cNvSpPr txBox="1"/>
            <p:nvPr/>
          </p:nvSpPr>
          <p:spPr>
            <a:xfrm>
              <a:off x="2708932" y="3935004"/>
              <a:ext cx="320766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39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Montserrat" pitchFamily="2" charset="0"/>
                  <a:ea typeface="+mn-ea"/>
                  <a:cs typeface="Arial"/>
                </a:rPr>
                <a:t>Keşif &amp; Kullanabilme</a:t>
              </a:r>
            </a:p>
          </p:txBody>
        </p:sp>
        <p:sp>
          <p:nvSpPr>
            <p:cNvPr id="22" name="TextBox 85">
              <a:extLst>
                <a:ext uri="{FF2B5EF4-FFF2-40B4-BE49-F238E27FC236}">
                  <a16:creationId xmlns:a16="http://schemas.microsoft.com/office/drawing/2014/main" id="{F3788160-B675-51E3-CD99-FF5DAE0770A2}"/>
                </a:ext>
              </a:extLst>
            </p:cNvPr>
            <p:cNvSpPr txBox="1"/>
            <p:nvPr/>
          </p:nvSpPr>
          <p:spPr>
            <a:xfrm>
              <a:off x="4304556" y="3151730"/>
              <a:ext cx="165094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39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Montserrat" pitchFamily="2" charset="0"/>
                  <a:ea typeface="+mn-ea"/>
                  <a:cs typeface="Arial"/>
                </a:rPr>
                <a:t>Öngörme</a:t>
              </a:r>
            </a:p>
          </p:txBody>
        </p:sp>
        <p:sp>
          <p:nvSpPr>
            <p:cNvPr id="23" name="TextBox 86">
              <a:extLst>
                <a:ext uri="{FF2B5EF4-FFF2-40B4-BE49-F238E27FC236}">
                  <a16:creationId xmlns:a16="http://schemas.microsoft.com/office/drawing/2014/main" id="{949E1B8F-7A8A-D812-4A54-B0A13164C113}"/>
                </a:ext>
              </a:extLst>
            </p:cNvPr>
            <p:cNvSpPr txBox="1"/>
            <p:nvPr/>
          </p:nvSpPr>
          <p:spPr>
            <a:xfrm>
              <a:off x="4205343" y="2354662"/>
              <a:ext cx="165982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39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Montserrat" pitchFamily="2" charset="0"/>
                  <a:ea typeface="+mn-ea"/>
                  <a:cs typeface="Arial"/>
                </a:rPr>
                <a:t>Optimize Etme</a:t>
              </a:r>
            </a:p>
          </p:txBody>
        </p:sp>
        <p:sp>
          <p:nvSpPr>
            <p:cNvPr id="24" name="TextBox 87">
              <a:extLst>
                <a:ext uri="{FF2B5EF4-FFF2-40B4-BE49-F238E27FC236}">
                  <a16:creationId xmlns:a16="http://schemas.microsoft.com/office/drawing/2014/main" id="{ABBCF41F-B565-FC8A-7F41-5142114FE9F7}"/>
                </a:ext>
              </a:extLst>
            </p:cNvPr>
            <p:cNvSpPr txBox="1"/>
            <p:nvPr/>
          </p:nvSpPr>
          <p:spPr>
            <a:xfrm>
              <a:off x="4717923" y="1605791"/>
              <a:ext cx="165094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39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Montserrat" pitchFamily="2" charset="0"/>
                  <a:ea typeface="+mn-ea"/>
                  <a:cs typeface="Arial"/>
                </a:rPr>
                <a:t>Yenilik Yapma</a:t>
              </a:r>
            </a:p>
          </p:txBody>
        </p:sp>
        <p:sp>
          <p:nvSpPr>
            <p:cNvPr id="25" name="TextBox 69">
              <a:extLst>
                <a:ext uri="{FF2B5EF4-FFF2-40B4-BE49-F238E27FC236}">
                  <a16:creationId xmlns:a16="http://schemas.microsoft.com/office/drawing/2014/main" id="{13C6F466-5AAD-0874-50C7-696B0F6A89EA}"/>
                </a:ext>
              </a:extLst>
            </p:cNvPr>
            <p:cNvSpPr txBox="1"/>
            <p:nvPr/>
          </p:nvSpPr>
          <p:spPr>
            <a:xfrm>
              <a:off x="6996442" y="1604733"/>
              <a:ext cx="151064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defTabSz="913938">
                <a:defRPr sz="1400" b="1">
                  <a:solidFill>
                    <a:schemeClr val="bg1"/>
                  </a:solidFill>
                  <a:latin typeface="Montserrat" pitchFamily="2" charset="0"/>
                  <a:cs typeface="Arial"/>
                </a:defRPr>
              </a:lvl1pPr>
            </a:lstStyle>
            <a:p>
              <a:pPr marL="0" marR="0" lvl="0" indent="0" algn="l" defTabSz="9139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50000"/>
                    </a:schemeClr>
                  </a:solidFill>
                  <a:effectLst>
                    <a:outerShdw blurRad="498796" sx="102000" sy="102000" algn="ctr" rotWithShape="0">
                      <a:prstClr val="black">
                        <a:alpha val="97366"/>
                      </a:prstClr>
                    </a:outerShdw>
                  </a:effectLst>
                  <a:uLnTx/>
                  <a:uFillTx/>
                  <a:latin typeface="Montserrat" pitchFamily="2" charset="0"/>
                  <a:ea typeface="+mn-ea"/>
                  <a:cs typeface="Arial"/>
                </a:rPr>
                <a:t>Yenilikçi</a:t>
              </a:r>
            </a:p>
          </p:txBody>
        </p:sp>
        <p:sp>
          <p:nvSpPr>
            <p:cNvPr id="26" name="TextBox 70">
              <a:extLst>
                <a:ext uri="{FF2B5EF4-FFF2-40B4-BE49-F238E27FC236}">
                  <a16:creationId xmlns:a16="http://schemas.microsoft.com/office/drawing/2014/main" id="{B93A3D7D-1137-0D1D-8D88-D3F544351993}"/>
                </a:ext>
              </a:extLst>
            </p:cNvPr>
            <p:cNvSpPr txBox="1"/>
            <p:nvPr/>
          </p:nvSpPr>
          <p:spPr>
            <a:xfrm>
              <a:off x="7826995" y="2355857"/>
              <a:ext cx="117882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39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50000"/>
                    </a:schemeClr>
                  </a:solidFill>
                  <a:effectLst>
                    <a:outerShdw blurRad="498796" sx="102000" sy="102000" algn="ctr" rotWithShape="0">
                      <a:prstClr val="black">
                        <a:alpha val="97366"/>
                      </a:prstClr>
                    </a:outerShdw>
                  </a:effectLst>
                  <a:uLnTx/>
                  <a:uFillTx/>
                  <a:latin typeface="Montserrat" pitchFamily="2" charset="0"/>
                  <a:ea typeface="+mn-ea"/>
                  <a:cs typeface="Arial"/>
                </a:rPr>
                <a:t>Lider</a:t>
              </a:r>
            </a:p>
          </p:txBody>
        </p:sp>
        <p:sp>
          <p:nvSpPr>
            <p:cNvPr id="27" name="TextBox 71">
              <a:extLst>
                <a:ext uri="{FF2B5EF4-FFF2-40B4-BE49-F238E27FC236}">
                  <a16:creationId xmlns:a16="http://schemas.microsoft.com/office/drawing/2014/main" id="{2D700F2F-5BC1-388B-35FC-A6F72FFD1B32}"/>
                </a:ext>
              </a:extLst>
            </p:cNvPr>
            <p:cNvSpPr txBox="1"/>
            <p:nvPr/>
          </p:nvSpPr>
          <p:spPr>
            <a:xfrm>
              <a:off x="8095396" y="3151730"/>
              <a:ext cx="152210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39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50000"/>
                    </a:schemeClr>
                  </a:solidFill>
                  <a:effectLst>
                    <a:outerShdw blurRad="498796" sx="102000" sy="102000" algn="ctr" rotWithShape="0">
                      <a:prstClr val="black">
                        <a:alpha val="97366"/>
                      </a:prstClr>
                    </a:outerShdw>
                  </a:effectLst>
                  <a:uLnTx/>
                  <a:uFillTx/>
                  <a:latin typeface="Montserrat" pitchFamily="2" charset="0"/>
                  <a:ea typeface="+mn-ea"/>
                  <a:cs typeface="Arial"/>
                </a:rPr>
                <a:t>Rekabetçi</a:t>
              </a:r>
            </a:p>
          </p:txBody>
        </p:sp>
        <p:sp>
          <p:nvSpPr>
            <p:cNvPr id="28" name="TextBox 72">
              <a:extLst>
                <a:ext uri="{FF2B5EF4-FFF2-40B4-BE49-F238E27FC236}">
                  <a16:creationId xmlns:a16="http://schemas.microsoft.com/office/drawing/2014/main" id="{62310870-160E-E999-27D8-04C1DD490537}"/>
                </a:ext>
              </a:extLst>
            </p:cNvPr>
            <p:cNvSpPr txBox="1"/>
            <p:nvPr/>
          </p:nvSpPr>
          <p:spPr>
            <a:xfrm>
              <a:off x="7049023" y="3923547"/>
              <a:ext cx="152210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defTabSz="913938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chemeClr val="bg1"/>
                  </a:solidFill>
                  <a:effectLst>
                    <a:outerShdw blurRad="498796" sx="102000" sy="102000" algn="ctr" rotWithShape="0">
                      <a:prstClr val="black">
                        <a:alpha val="97366"/>
                      </a:prstClr>
                    </a:outerShdw>
                  </a:effectLst>
                  <a:latin typeface="Montserrat" pitchFamily="2" charset="0"/>
                  <a:cs typeface="Arial"/>
                </a:defRPr>
              </a:lvl1pPr>
            </a:lstStyle>
            <a:p>
              <a:pPr marL="0" marR="0" lvl="0" indent="0" algn="l" defTabSz="9139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400" b="1" i="0" u="none" strike="noStrike" kern="1200" cap="none" spc="0" normalizeH="0" baseline="0" noProof="0" dirty="0">
                  <a:ln>
                    <a:noFill/>
                  </a:ln>
                  <a:effectLst>
                    <a:outerShdw blurRad="498796" sx="102000" sy="102000" algn="ctr" rotWithShape="0">
                      <a:prstClr val="black">
                        <a:alpha val="97366"/>
                      </a:prstClr>
                    </a:outerShdw>
                  </a:effectLst>
                  <a:uLnTx/>
                  <a:uFillTx/>
                  <a:latin typeface="Montserrat" pitchFamily="2" charset="0"/>
                  <a:ea typeface="+mn-ea"/>
                  <a:cs typeface="Arial"/>
                </a:rPr>
                <a:t>Takipçi</a:t>
              </a:r>
            </a:p>
          </p:txBody>
        </p:sp>
        <p:sp>
          <p:nvSpPr>
            <p:cNvPr id="29" name="TextBox 73">
              <a:extLst>
                <a:ext uri="{FF2B5EF4-FFF2-40B4-BE49-F238E27FC236}">
                  <a16:creationId xmlns:a16="http://schemas.microsoft.com/office/drawing/2014/main" id="{CC0FB234-302F-0B39-19AC-25AD5539A1FF}"/>
                </a:ext>
              </a:extLst>
            </p:cNvPr>
            <p:cNvSpPr txBox="1"/>
            <p:nvPr/>
          </p:nvSpPr>
          <p:spPr>
            <a:xfrm>
              <a:off x="6598349" y="5254983"/>
              <a:ext cx="180896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defTabSz="913938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chemeClr val="bg1"/>
                  </a:solidFill>
                  <a:latin typeface="Montserrat" pitchFamily="2" charset="0"/>
                  <a:cs typeface="Arial"/>
                </a:defRPr>
              </a:lvl1pPr>
            </a:lstStyle>
            <a:p>
              <a:pPr marL="0" marR="0" lvl="0" indent="0" algn="l" defTabSz="9139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400" b="1" i="0" u="none" strike="noStrike" kern="1200" cap="none" spc="0" normalizeH="0" baseline="0" noProof="0" dirty="0">
                  <a:ln>
                    <a:noFill/>
                  </a:ln>
                  <a:effectLst>
                    <a:outerShdw blurRad="498796" sx="102000" sy="102000" algn="ctr" rotWithShape="0">
                      <a:prstClr val="black">
                        <a:alpha val="97366"/>
                      </a:prstClr>
                    </a:outerShdw>
                  </a:effectLst>
                  <a:uLnTx/>
                  <a:uFillTx/>
                  <a:latin typeface="Montserrat" pitchFamily="2" charset="0"/>
                  <a:ea typeface="+mn-ea"/>
                  <a:cs typeface="Arial"/>
                </a:rPr>
                <a:t>Emekleyen</a:t>
              </a:r>
            </a:p>
          </p:txBody>
        </p:sp>
      </p:grpSp>
      <p:grpSp>
        <p:nvGrpSpPr>
          <p:cNvPr id="59" name="Grup 308">
            <a:extLst>
              <a:ext uri="{FF2B5EF4-FFF2-40B4-BE49-F238E27FC236}">
                <a16:creationId xmlns:a16="http://schemas.microsoft.com/office/drawing/2014/main" id="{36D7B041-FCAA-DADF-7011-24F9CD7B03D2}"/>
              </a:ext>
            </a:extLst>
          </p:cNvPr>
          <p:cNvGrpSpPr/>
          <p:nvPr/>
        </p:nvGrpSpPr>
        <p:grpSpPr>
          <a:xfrm>
            <a:off x="312883" y="1335363"/>
            <a:ext cx="11427771" cy="2802712"/>
            <a:chOff x="810469" y="2044410"/>
            <a:chExt cx="11427771" cy="2802712"/>
          </a:xfrm>
        </p:grpSpPr>
        <p:sp>
          <p:nvSpPr>
            <p:cNvPr id="60" name="Content Placeholder 33">
              <a:extLst>
                <a:ext uri="{FF2B5EF4-FFF2-40B4-BE49-F238E27FC236}">
                  <a16:creationId xmlns:a16="http://schemas.microsoft.com/office/drawing/2014/main" id="{76AFB394-2CE5-58DE-BF7D-69D53FB8FFB1}"/>
                </a:ext>
              </a:extLst>
            </p:cNvPr>
            <p:cNvSpPr txBox="1">
              <a:spLocks/>
            </p:cNvSpPr>
            <p:nvPr/>
          </p:nvSpPr>
          <p:spPr>
            <a:xfrm>
              <a:off x="810469" y="3336014"/>
              <a:ext cx="2303452" cy="1511108"/>
            </a:xfrm>
            <a:prstGeom prst="rect">
              <a:avLst/>
            </a:prstGeom>
          </p:spPr>
          <p:txBody>
            <a:bodyPr vert="horz" lIns="91440" tIns="45720" rIns="91440" bIns="45720" rtlCol="0" anchor="t">
              <a:noAutofit/>
            </a:bodyPr>
            <a:lstStyle>
              <a:defPPr>
                <a:defRPr lang="en-US">
                  <a:effectLst/>
                </a:defRPr>
              </a:defPPr>
              <a:lvl1pPr marL="0" algn="l" defTabSz="893014" rtl="0" eaLnBrk="1" latinLnBrk="0" hangingPunct="1">
                <a:defRPr sz="1729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defRPr>
              </a:lvl1pPr>
              <a:lvl2pPr marL="446507" algn="l" defTabSz="893014" rtl="0" eaLnBrk="1" latinLnBrk="0" hangingPunct="1">
                <a:defRPr sz="1729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defRPr>
              </a:lvl2pPr>
              <a:lvl3pPr marL="893014" algn="l" defTabSz="893014" rtl="0" eaLnBrk="1" latinLnBrk="0" hangingPunct="1">
                <a:defRPr sz="1729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defRPr>
              </a:lvl3pPr>
              <a:lvl4pPr marL="1339521" algn="l" defTabSz="893014" rtl="0" eaLnBrk="1" latinLnBrk="0" hangingPunct="1">
                <a:defRPr sz="1729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defRPr>
              </a:lvl4pPr>
              <a:lvl5pPr marL="1786028" algn="l" defTabSz="893014" rtl="0" eaLnBrk="1" latinLnBrk="0" hangingPunct="1">
                <a:defRPr sz="1729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defRPr>
              </a:lvl5pPr>
              <a:lvl6pPr marL="2232535" algn="l" defTabSz="893014" rtl="0" eaLnBrk="1" latinLnBrk="0" hangingPunct="1">
                <a:defRPr sz="1729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defRPr>
              </a:lvl6pPr>
              <a:lvl7pPr marL="2679042" algn="l" defTabSz="893014" rtl="0" eaLnBrk="1" latinLnBrk="0" hangingPunct="1">
                <a:defRPr sz="1729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defRPr>
              </a:lvl7pPr>
              <a:lvl8pPr marL="3125549" algn="l" defTabSz="893014" rtl="0" eaLnBrk="1" latinLnBrk="0" hangingPunct="1">
                <a:defRPr sz="1729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defRPr>
              </a:lvl8pPr>
              <a:lvl9pPr marL="3572056" algn="l" defTabSz="893014" rtl="0" eaLnBrk="1" latinLnBrk="0" hangingPunct="1">
                <a:defRPr sz="1729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defRPr>
              </a:lvl9pPr>
            </a:lstStyle>
            <a:p>
              <a:pPr marL="171450" marR="0" lvl="0" indent="-171450" algn="l" defTabSz="89301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v"/>
                <a:tabLst/>
                <a:defRPr/>
              </a:pPr>
              <a:r>
                <a:rPr kumimoji="0" lang="tr-TR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Montserrat" pitchFamily="2" charset="0"/>
                  <a:ea typeface="+mn-ea"/>
                  <a:cs typeface="+mn-cs"/>
                </a:rPr>
                <a:t>Müşteri beklentilerini daha iyi karşılamak</a:t>
              </a:r>
            </a:p>
            <a:p>
              <a:pPr marL="171450" marR="0" lvl="0" indent="-171450" algn="l" defTabSz="89301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v"/>
                <a:tabLst/>
                <a:defRPr/>
              </a:pPr>
              <a:endParaRPr kumimoji="0" lang="tr-TR" sz="8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Montserrat" pitchFamily="2" charset="0"/>
                <a:ea typeface="+mn-ea"/>
                <a:cs typeface="+mn-cs"/>
              </a:endParaRPr>
            </a:p>
            <a:p>
              <a:pPr marL="171450" marR="0" lvl="0" indent="-171450" algn="l" defTabSz="89301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v"/>
                <a:tabLst/>
                <a:defRPr/>
              </a:pPr>
              <a:r>
                <a:rPr kumimoji="0" lang="tr-TR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Montserrat" pitchFamily="2" charset="0"/>
                  <a:ea typeface="+mn-ea"/>
                  <a:cs typeface="+mn-cs"/>
                </a:rPr>
                <a:t>İş süreçlerini kısaltmak</a:t>
              </a:r>
            </a:p>
            <a:p>
              <a:pPr marL="171450" marR="0" lvl="0" indent="-171450" algn="l" defTabSz="893014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v"/>
                <a:tabLst/>
                <a:defRPr/>
              </a:pPr>
              <a:endParaRPr kumimoji="0" lang="tr-TR" sz="8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Montserrat" pitchFamily="2" charset="0"/>
                <a:ea typeface="+mn-ea"/>
                <a:cs typeface="+mn-cs"/>
              </a:endParaRPr>
            </a:p>
            <a:p>
              <a:pPr marL="171450" marR="0" lvl="0" indent="-171450" algn="l" defTabSz="893014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v"/>
                <a:tabLst/>
                <a:defRPr/>
              </a:pPr>
              <a:r>
                <a:rPr kumimoji="0" lang="tr-TR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Montserrat" pitchFamily="2" charset="0"/>
                  <a:ea typeface="+mn-ea"/>
                  <a:cs typeface="+mn-cs"/>
                </a:rPr>
                <a:t>Veri odaklı hale gelmek</a:t>
              </a:r>
            </a:p>
            <a:p>
              <a:pPr marL="171450" marR="0" lvl="0" indent="-171450" algn="l" defTabSz="893014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v"/>
                <a:tabLst/>
                <a:defRPr/>
              </a:pPr>
              <a:endParaRPr kumimoji="0" lang="tr-TR" sz="8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Montserrat" pitchFamily="2" charset="0"/>
                <a:ea typeface="+mn-ea"/>
                <a:cs typeface="+mn-cs"/>
              </a:endParaRPr>
            </a:p>
            <a:p>
              <a:pPr marL="171450" marR="0" lvl="0" indent="-171450" algn="l" defTabSz="893014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v"/>
                <a:tabLst/>
                <a:defRPr/>
              </a:pPr>
              <a:r>
                <a:rPr kumimoji="0" lang="tr-TR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Montserrat" pitchFamily="2" charset="0"/>
                  <a:ea typeface="+mn-ea"/>
                  <a:cs typeface="+mn-cs"/>
                </a:rPr>
                <a:t>Büyümeyi hızlandırmak</a:t>
              </a:r>
            </a:p>
            <a:p>
              <a:pPr marL="171450" marR="0" lvl="0" indent="-171450" algn="l" defTabSz="893014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v"/>
                <a:tabLst/>
                <a:defRPr/>
              </a:pPr>
              <a:endParaRPr kumimoji="0" lang="tr-TR" sz="8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Montserrat" pitchFamily="2" charset="0"/>
                <a:ea typeface="+mn-ea"/>
                <a:cs typeface="+mn-cs"/>
              </a:endParaRPr>
            </a:p>
            <a:p>
              <a:pPr marL="171450" marR="0" lvl="0" indent="-171450" algn="l" defTabSz="893014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v"/>
                <a:tabLst/>
                <a:defRPr/>
              </a:pPr>
              <a:r>
                <a:rPr kumimoji="0" lang="tr-TR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Montserrat" pitchFamily="2" charset="0"/>
                  <a:ea typeface="+mn-ea"/>
                  <a:cs typeface="+mn-cs"/>
                </a:rPr>
                <a:t>Gelirleri arttırmak</a:t>
              </a:r>
            </a:p>
            <a:p>
              <a:pPr marL="171450" marR="0" lvl="0" indent="-171450" algn="l" defTabSz="893014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v"/>
                <a:tabLst/>
                <a:defRPr/>
              </a:pPr>
              <a:endParaRPr kumimoji="0" lang="tr-TR" sz="8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Montserrat" pitchFamily="2" charset="0"/>
                <a:ea typeface="+mn-ea"/>
                <a:cs typeface="+mn-cs"/>
              </a:endParaRPr>
            </a:p>
            <a:p>
              <a:pPr marL="171450" marR="0" lvl="0" indent="-171450" algn="l" defTabSz="893014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v"/>
                <a:tabLst/>
                <a:defRPr/>
              </a:pPr>
              <a:r>
                <a:rPr kumimoji="0" lang="tr-TR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Montserrat" pitchFamily="2" charset="0"/>
                  <a:ea typeface="+mn-ea"/>
                  <a:cs typeface="+mn-cs"/>
                </a:rPr>
                <a:t>Maliyetleri düşürmek</a:t>
              </a:r>
            </a:p>
            <a:p>
              <a:pPr marL="0" marR="0" lvl="0" indent="0" algn="l" defTabSz="893014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Montserrat" pitchFamily="2" charset="0"/>
                <a:ea typeface="+mn-ea"/>
                <a:cs typeface="+mn-cs"/>
              </a:endParaRPr>
            </a:p>
          </p:txBody>
        </p:sp>
        <p:pic>
          <p:nvPicPr>
            <p:cNvPr id="61" name="Grafik 295">
              <a:extLst>
                <a:ext uri="{FF2B5EF4-FFF2-40B4-BE49-F238E27FC236}">
                  <a16:creationId xmlns:a16="http://schemas.microsoft.com/office/drawing/2014/main" id="{78E27A4D-755A-7F4A-50AC-B4088923FF7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11984165" y="4227437"/>
              <a:ext cx="254075" cy="254075"/>
            </a:xfrm>
            <a:prstGeom prst="rect">
              <a:avLst/>
            </a:prstGeom>
          </p:spPr>
        </p:pic>
        <p:pic>
          <p:nvPicPr>
            <p:cNvPr id="62" name="Grafik 303">
              <a:extLst>
                <a:ext uri="{FF2B5EF4-FFF2-40B4-BE49-F238E27FC236}">
                  <a16:creationId xmlns:a16="http://schemas.microsoft.com/office/drawing/2014/main" id="{AA242011-0EFE-8BC0-597B-4065B498CCD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/>
          </p:blipFill>
          <p:spPr>
            <a:xfrm>
              <a:off x="11978521" y="2769340"/>
              <a:ext cx="254075" cy="254075"/>
            </a:xfrm>
            <a:prstGeom prst="rect">
              <a:avLst/>
            </a:prstGeom>
          </p:spPr>
        </p:pic>
        <p:pic>
          <p:nvPicPr>
            <p:cNvPr id="63" name="Grafik 306">
              <a:extLst>
                <a:ext uri="{FF2B5EF4-FFF2-40B4-BE49-F238E27FC236}">
                  <a16:creationId xmlns:a16="http://schemas.microsoft.com/office/drawing/2014/main" id="{ED0C5547-D5DB-71A6-4E8C-A908BBCD41C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/>
            <a:stretch/>
          </p:blipFill>
          <p:spPr>
            <a:xfrm>
              <a:off x="11972877" y="2044410"/>
              <a:ext cx="254075" cy="25407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100735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" presetClass="entr" presetSubtype="4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decel="5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9"/>
          <p:cNvSpPr txBox="1"/>
          <p:nvPr/>
        </p:nvSpPr>
        <p:spPr>
          <a:xfrm>
            <a:off x="344283" y="709571"/>
            <a:ext cx="384811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tr-TR" sz="900" dirty="0">
                <a:solidFill>
                  <a:schemeClr val="accent3"/>
                </a:solidFill>
                <a:latin typeface="Century Gothic" panose="020B0502020202020204" pitchFamily="34" charset="0"/>
              </a:rPr>
              <a:t>İyileştir, Dönüştür , Yaygınlaştır </a:t>
            </a:r>
          </a:p>
        </p:txBody>
      </p:sp>
      <p:sp>
        <p:nvSpPr>
          <p:cNvPr id="12" name="Textfeld 17"/>
          <p:cNvSpPr txBox="1"/>
          <p:nvPr/>
        </p:nvSpPr>
        <p:spPr>
          <a:xfrm>
            <a:off x="287141" y="269287"/>
            <a:ext cx="640826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tr-TR" sz="2000" dirty="0">
                <a:solidFill>
                  <a:schemeClr val="accent1"/>
                </a:solidFill>
                <a:latin typeface="Century Gothic" panose="020B0502020202020204" pitchFamily="34" charset="0"/>
              </a:rPr>
              <a:t>EM Dönüşüm yol haritası</a:t>
            </a:r>
            <a:endParaRPr lang="tr-TR" sz="2000" b="1" dirty="0">
              <a:solidFill>
                <a:schemeClr val="accent1"/>
              </a:solidFill>
              <a:latin typeface="Century Gothic" panose="020B0502020202020204" pitchFamily="34" charset="0"/>
            </a:endParaRPr>
          </a:p>
        </p:txBody>
      </p:sp>
      <p:sp>
        <p:nvSpPr>
          <p:cNvPr id="18" name="Oval 9">
            <a:extLst>
              <a:ext uri="{FF2B5EF4-FFF2-40B4-BE49-F238E27FC236}">
                <a16:creationId xmlns:a16="http://schemas.microsoft.com/office/drawing/2014/main" id="{596D652B-DC96-584D-AA47-D9DCE60DBB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92775" y="3331029"/>
            <a:ext cx="730066" cy="736527"/>
          </a:xfrm>
          <a:prstGeom prst="ellips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1062" tIns="20531" rIns="41062" bIns="20531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NeueLT Std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NeueLT Std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NeueLT Std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NeueLT Std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NeueLT Std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HelveticaNeueLT Std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HelveticaNeueLT Std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HelveticaNeueLT Std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HelveticaNeueLT Std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 defTabSz="407194">
              <a:lnSpc>
                <a:spcPct val="90000"/>
              </a:lnSpc>
              <a:defRPr/>
            </a:pPr>
            <a:endParaRPr lang="tr-TR" sz="1200">
              <a:latin typeface="Arial" charset="0"/>
              <a:cs typeface="+mn-cs"/>
            </a:endParaRPr>
          </a:p>
        </p:txBody>
      </p:sp>
      <p:sp>
        <p:nvSpPr>
          <p:cNvPr id="19" name="Oval 7">
            <a:extLst>
              <a:ext uri="{FF2B5EF4-FFF2-40B4-BE49-F238E27FC236}">
                <a16:creationId xmlns:a16="http://schemas.microsoft.com/office/drawing/2014/main" id="{D40359E8-7FAE-7F47-BA62-6D56E62966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3983" y="3331029"/>
            <a:ext cx="736527" cy="736527"/>
          </a:xfrm>
          <a:prstGeom prst="ellips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1062" tIns="20531" rIns="41062" bIns="20531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NeueLT Std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NeueLT Std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NeueLT Std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NeueLT Std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NeueLT Std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HelveticaNeueLT Std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HelveticaNeueLT Std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HelveticaNeueLT Std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HelveticaNeueLT Std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 defTabSz="407194">
              <a:lnSpc>
                <a:spcPct val="90000"/>
              </a:lnSpc>
              <a:defRPr/>
            </a:pPr>
            <a:endParaRPr lang="tr-TR" sz="1200">
              <a:latin typeface="Arial" charset="0"/>
              <a:cs typeface="+mn-cs"/>
            </a:endParaRPr>
          </a:p>
        </p:txBody>
      </p:sp>
      <p:sp>
        <p:nvSpPr>
          <p:cNvPr id="20" name="Oval 8">
            <a:extLst>
              <a:ext uri="{FF2B5EF4-FFF2-40B4-BE49-F238E27FC236}">
                <a16:creationId xmlns:a16="http://schemas.microsoft.com/office/drawing/2014/main" id="{EC223886-B5B8-3A43-99C4-C352BB1285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67840" y="3331029"/>
            <a:ext cx="737603" cy="736527"/>
          </a:xfrm>
          <a:prstGeom prst="ellips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1062" tIns="20531" rIns="41062" bIns="20531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NeueLT Std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NeueLT Std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NeueLT Std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NeueLT Std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NeueLT Std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HelveticaNeueLT Std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HelveticaNeueLT Std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HelveticaNeueLT Std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HelveticaNeueLT Std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 defTabSz="407194">
              <a:lnSpc>
                <a:spcPct val="90000"/>
              </a:lnSpc>
              <a:defRPr/>
            </a:pPr>
            <a:endParaRPr lang="tr-TR" sz="1200">
              <a:latin typeface="Arial" charset="0"/>
              <a:cs typeface="+mn-cs"/>
            </a:endParaRPr>
          </a:p>
        </p:txBody>
      </p:sp>
      <p:sp>
        <p:nvSpPr>
          <p:cNvPr id="21" name="Oval 11">
            <a:extLst>
              <a:ext uri="{FF2B5EF4-FFF2-40B4-BE49-F238E27FC236}">
                <a16:creationId xmlns:a16="http://schemas.microsoft.com/office/drawing/2014/main" id="{21AC14F3-ACCD-8942-86C1-1BE1F8E7D3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10173" y="3331029"/>
            <a:ext cx="736527" cy="736527"/>
          </a:xfrm>
          <a:prstGeom prst="ellips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1062" tIns="20531" rIns="41062" bIns="20531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NeueLT Std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NeueLT Std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NeueLT Std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NeueLT Std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NeueLT Std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HelveticaNeueLT Std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HelveticaNeueLT Std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HelveticaNeueLT Std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HelveticaNeueLT Std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 defTabSz="407194">
              <a:lnSpc>
                <a:spcPct val="90000"/>
              </a:lnSpc>
              <a:defRPr/>
            </a:pPr>
            <a:endParaRPr lang="tr-TR" sz="1200">
              <a:latin typeface="Arial" charset="0"/>
              <a:cs typeface="+mn-cs"/>
            </a:endParaRPr>
          </a:p>
        </p:txBody>
      </p:sp>
      <p:sp>
        <p:nvSpPr>
          <p:cNvPr id="22" name="Freeform 10">
            <a:extLst>
              <a:ext uri="{FF2B5EF4-FFF2-40B4-BE49-F238E27FC236}">
                <a16:creationId xmlns:a16="http://schemas.microsoft.com/office/drawing/2014/main" id="{0ADC627F-A799-F34B-B46E-3A4CD9559717}"/>
              </a:ext>
            </a:extLst>
          </p:cNvPr>
          <p:cNvSpPr>
            <a:spLocks noEditPoints="1"/>
          </p:cNvSpPr>
          <p:nvPr/>
        </p:nvSpPr>
        <p:spPr bwMode="auto">
          <a:xfrm>
            <a:off x="3093312" y="3216889"/>
            <a:ext cx="5919134" cy="964807"/>
          </a:xfrm>
          <a:custGeom>
            <a:avLst/>
            <a:gdLst>
              <a:gd name="T0" fmla="*/ 779 w 779"/>
              <a:gd name="T1" fmla="*/ 65 h 127"/>
              <a:gd name="T2" fmla="*/ 740 w 779"/>
              <a:gd name="T3" fmla="*/ 34 h 127"/>
              <a:gd name="T4" fmla="*/ 740 w 779"/>
              <a:gd name="T5" fmla="*/ 47 h 127"/>
              <a:gd name="T6" fmla="*/ 722 w 779"/>
              <a:gd name="T7" fmla="*/ 47 h 127"/>
              <a:gd name="T8" fmla="*/ 660 w 779"/>
              <a:gd name="T9" fmla="*/ 0 h 127"/>
              <a:gd name="T10" fmla="*/ 599 w 779"/>
              <a:gd name="T11" fmla="*/ 47 h 127"/>
              <a:gd name="T12" fmla="*/ 541 w 779"/>
              <a:gd name="T13" fmla="*/ 47 h 127"/>
              <a:gd name="T14" fmla="*/ 479 w 779"/>
              <a:gd name="T15" fmla="*/ 0 h 127"/>
              <a:gd name="T16" fmla="*/ 418 w 779"/>
              <a:gd name="T17" fmla="*/ 47 h 127"/>
              <a:gd name="T18" fmla="*/ 360 w 779"/>
              <a:gd name="T19" fmla="*/ 47 h 127"/>
              <a:gd name="T20" fmla="*/ 298 w 779"/>
              <a:gd name="T21" fmla="*/ 0 h 127"/>
              <a:gd name="T22" fmla="*/ 236 w 779"/>
              <a:gd name="T23" fmla="*/ 47 h 127"/>
              <a:gd name="T24" fmla="*/ 178 w 779"/>
              <a:gd name="T25" fmla="*/ 47 h 127"/>
              <a:gd name="T26" fmla="*/ 117 w 779"/>
              <a:gd name="T27" fmla="*/ 0 h 127"/>
              <a:gd name="T28" fmla="*/ 55 w 779"/>
              <a:gd name="T29" fmla="*/ 48 h 127"/>
              <a:gd name="T30" fmla="*/ 39 w 779"/>
              <a:gd name="T31" fmla="*/ 48 h 127"/>
              <a:gd name="T32" fmla="*/ 39 w 779"/>
              <a:gd name="T33" fmla="*/ 34 h 127"/>
              <a:gd name="T34" fmla="*/ 0 w 779"/>
              <a:gd name="T35" fmla="*/ 65 h 127"/>
              <a:gd name="T36" fmla="*/ 39 w 779"/>
              <a:gd name="T37" fmla="*/ 96 h 127"/>
              <a:gd name="T38" fmla="*/ 39 w 779"/>
              <a:gd name="T39" fmla="*/ 83 h 127"/>
              <a:gd name="T40" fmla="*/ 56 w 779"/>
              <a:gd name="T41" fmla="*/ 83 h 127"/>
              <a:gd name="T42" fmla="*/ 117 w 779"/>
              <a:gd name="T43" fmla="*/ 127 h 127"/>
              <a:gd name="T44" fmla="*/ 177 w 779"/>
              <a:gd name="T45" fmla="*/ 83 h 127"/>
              <a:gd name="T46" fmla="*/ 237 w 779"/>
              <a:gd name="T47" fmla="*/ 83 h 127"/>
              <a:gd name="T48" fmla="*/ 298 w 779"/>
              <a:gd name="T49" fmla="*/ 127 h 127"/>
              <a:gd name="T50" fmla="*/ 359 w 779"/>
              <a:gd name="T51" fmla="*/ 83 h 127"/>
              <a:gd name="T52" fmla="*/ 419 w 779"/>
              <a:gd name="T53" fmla="*/ 83 h 127"/>
              <a:gd name="T54" fmla="*/ 479 w 779"/>
              <a:gd name="T55" fmla="*/ 127 h 127"/>
              <a:gd name="T56" fmla="*/ 540 w 779"/>
              <a:gd name="T57" fmla="*/ 83 h 127"/>
              <a:gd name="T58" fmla="*/ 600 w 779"/>
              <a:gd name="T59" fmla="*/ 83 h 127"/>
              <a:gd name="T60" fmla="*/ 660 w 779"/>
              <a:gd name="T61" fmla="*/ 127 h 127"/>
              <a:gd name="T62" fmla="*/ 721 w 779"/>
              <a:gd name="T63" fmla="*/ 83 h 127"/>
              <a:gd name="T64" fmla="*/ 740 w 779"/>
              <a:gd name="T65" fmla="*/ 83 h 127"/>
              <a:gd name="T66" fmla="*/ 740 w 779"/>
              <a:gd name="T67" fmla="*/ 96 h 127"/>
              <a:gd name="T68" fmla="*/ 779 w 779"/>
              <a:gd name="T69" fmla="*/ 65 h 127"/>
              <a:gd name="T70" fmla="*/ 117 w 779"/>
              <a:gd name="T71" fmla="*/ 121 h 127"/>
              <a:gd name="T72" fmla="*/ 60 w 779"/>
              <a:gd name="T73" fmla="*/ 64 h 127"/>
              <a:gd name="T74" fmla="*/ 117 w 779"/>
              <a:gd name="T75" fmla="*/ 7 h 127"/>
              <a:gd name="T76" fmla="*/ 174 w 779"/>
              <a:gd name="T77" fmla="*/ 64 h 127"/>
              <a:gd name="T78" fmla="*/ 117 w 779"/>
              <a:gd name="T79" fmla="*/ 121 h 127"/>
              <a:gd name="T80" fmla="*/ 298 w 779"/>
              <a:gd name="T81" fmla="*/ 121 h 127"/>
              <a:gd name="T82" fmla="*/ 241 w 779"/>
              <a:gd name="T83" fmla="*/ 64 h 127"/>
              <a:gd name="T84" fmla="*/ 298 w 779"/>
              <a:gd name="T85" fmla="*/ 7 h 127"/>
              <a:gd name="T86" fmla="*/ 355 w 779"/>
              <a:gd name="T87" fmla="*/ 64 h 127"/>
              <a:gd name="T88" fmla="*/ 298 w 779"/>
              <a:gd name="T89" fmla="*/ 121 h 127"/>
              <a:gd name="T90" fmla="*/ 479 w 779"/>
              <a:gd name="T91" fmla="*/ 121 h 127"/>
              <a:gd name="T92" fmla="*/ 422 w 779"/>
              <a:gd name="T93" fmla="*/ 64 h 127"/>
              <a:gd name="T94" fmla="*/ 479 w 779"/>
              <a:gd name="T95" fmla="*/ 7 h 127"/>
              <a:gd name="T96" fmla="*/ 536 w 779"/>
              <a:gd name="T97" fmla="*/ 64 h 127"/>
              <a:gd name="T98" fmla="*/ 479 w 779"/>
              <a:gd name="T99" fmla="*/ 121 h 127"/>
              <a:gd name="T100" fmla="*/ 660 w 779"/>
              <a:gd name="T101" fmla="*/ 121 h 127"/>
              <a:gd name="T102" fmla="*/ 604 w 779"/>
              <a:gd name="T103" fmla="*/ 64 h 127"/>
              <a:gd name="T104" fmla="*/ 660 w 779"/>
              <a:gd name="T105" fmla="*/ 7 h 127"/>
              <a:gd name="T106" fmla="*/ 717 w 779"/>
              <a:gd name="T107" fmla="*/ 64 h 127"/>
              <a:gd name="T108" fmla="*/ 660 w 779"/>
              <a:gd name="T109" fmla="*/ 121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779" h="127">
                <a:moveTo>
                  <a:pt x="779" y="65"/>
                </a:moveTo>
                <a:moveTo>
                  <a:pt x="117" y="121"/>
                </a:moveTo>
                <a:moveTo>
                  <a:pt x="298" y="121"/>
                </a:moveTo>
                <a:moveTo>
                  <a:pt x="479" y="121"/>
                </a:moveTo>
                <a:moveTo>
                  <a:pt x="660" y="121"/>
                </a:moveTo>
                <a:cubicBezTo>
                  <a:pt x="740" y="34"/>
                  <a:pt x="740" y="34"/>
                  <a:pt x="740" y="34"/>
                </a:cubicBezTo>
                <a:cubicBezTo>
                  <a:pt x="740" y="47"/>
                  <a:pt x="740" y="47"/>
                  <a:pt x="740" y="47"/>
                </a:cubicBezTo>
                <a:cubicBezTo>
                  <a:pt x="722" y="47"/>
                  <a:pt x="722" y="47"/>
                  <a:pt x="722" y="47"/>
                </a:cubicBezTo>
                <a:cubicBezTo>
                  <a:pt x="715" y="20"/>
                  <a:pt x="690" y="0"/>
                  <a:pt x="660" y="0"/>
                </a:cubicBezTo>
                <a:cubicBezTo>
                  <a:pt x="631" y="0"/>
                  <a:pt x="606" y="20"/>
                  <a:pt x="599" y="47"/>
                </a:cubicBezTo>
                <a:cubicBezTo>
                  <a:pt x="541" y="47"/>
                  <a:pt x="541" y="47"/>
                  <a:pt x="541" y="47"/>
                </a:cubicBezTo>
                <a:cubicBezTo>
                  <a:pt x="534" y="20"/>
                  <a:pt x="509" y="0"/>
                  <a:pt x="479" y="0"/>
                </a:cubicBezTo>
                <a:cubicBezTo>
                  <a:pt x="450" y="0"/>
                  <a:pt x="425" y="20"/>
                  <a:pt x="418" y="47"/>
                </a:cubicBezTo>
                <a:cubicBezTo>
                  <a:pt x="360" y="47"/>
                  <a:pt x="360" y="47"/>
                  <a:pt x="360" y="47"/>
                </a:cubicBezTo>
                <a:cubicBezTo>
                  <a:pt x="352" y="20"/>
                  <a:pt x="328" y="0"/>
                  <a:pt x="298" y="0"/>
                </a:cubicBezTo>
                <a:cubicBezTo>
                  <a:pt x="268" y="0"/>
                  <a:pt x="244" y="20"/>
                  <a:pt x="236" y="47"/>
                </a:cubicBezTo>
                <a:cubicBezTo>
                  <a:pt x="178" y="47"/>
                  <a:pt x="178" y="47"/>
                  <a:pt x="178" y="47"/>
                </a:cubicBezTo>
                <a:cubicBezTo>
                  <a:pt x="171" y="20"/>
                  <a:pt x="146" y="0"/>
                  <a:pt x="117" y="0"/>
                </a:cubicBezTo>
                <a:cubicBezTo>
                  <a:pt x="87" y="0"/>
                  <a:pt x="62" y="20"/>
                  <a:pt x="55" y="48"/>
                </a:cubicBezTo>
                <a:cubicBezTo>
                  <a:pt x="39" y="48"/>
                  <a:pt x="39" y="48"/>
                  <a:pt x="39" y="48"/>
                </a:cubicBezTo>
                <a:cubicBezTo>
                  <a:pt x="39" y="34"/>
                  <a:pt x="39" y="34"/>
                  <a:pt x="39" y="34"/>
                </a:cubicBezTo>
                <a:cubicBezTo>
                  <a:pt x="0" y="65"/>
                  <a:pt x="0" y="65"/>
                  <a:pt x="0" y="65"/>
                </a:cubicBezTo>
                <a:cubicBezTo>
                  <a:pt x="39" y="96"/>
                  <a:pt x="39" y="96"/>
                  <a:pt x="39" y="96"/>
                </a:cubicBezTo>
                <a:cubicBezTo>
                  <a:pt x="39" y="83"/>
                  <a:pt x="39" y="83"/>
                  <a:pt x="39" y="83"/>
                </a:cubicBezTo>
                <a:cubicBezTo>
                  <a:pt x="56" y="83"/>
                  <a:pt x="56" y="83"/>
                  <a:pt x="56" y="83"/>
                </a:cubicBezTo>
                <a:cubicBezTo>
                  <a:pt x="64" y="109"/>
                  <a:pt x="88" y="127"/>
                  <a:pt x="117" y="127"/>
                </a:cubicBezTo>
                <a:cubicBezTo>
                  <a:pt x="145" y="127"/>
                  <a:pt x="169" y="109"/>
                  <a:pt x="177" y="83"/>
                </a:cubicBezTo>
                <a:cubicBezTo>
                  <a:pt x="237" y="83"/>
                  <a:pt x="237" y="83"/>
                  <a:pt x="237" y="83"/>
                </a:cubicBezTo>
                <a:cubicBezTo>
                  <a:pt x="246" y="109"/>
                  <a:pt x="270" y="127"/>
                  <a:pt x="298" y="127"/>
                </a:cubicBezTo>
                <a:cubicBezTo>
                  <a:pt x="326" y="127"/>
                  <a:pt x="351" y="109"/>
                  <a:pt x="359" y="83"/>
                </a:cubicBezTo>
                <a:cubicBezTo>
                  <a:pt x="419" y="83"/>
                  <a:pt x="419" y="83"/>
                  <a:pt x="419" y="83"/>
                </a:cubicBezTo>
                <a:cubicBezTo>
                  <a:pt x="427" y="109"/>
                  <a:pt x="451" y="127"/>
                  <a:pt x="479" y="127"/>
                </a:cubicBezTo>
                <a:cubicBezTo>
                  <a:pt x="508" y="127"/>
                  <a:pt x="532" y="109"/>
                  <a:pt x="540" y="83"/>
                </a:cubicBezTo>
                <a:cubicBezTo>
                  <a:pt x="600" y="83"/>
                  <a:pt x="600" y="83"/>
                  <a:pt x="600" y="83"/>
                </a:cubicBezTo>
                <a:cubicBezTo>
                  <a:pt x="608" y="109"/>
                  <a:pt x="632" y="127"/>
                  <a:pt x="660" y="127"/>
                </a:cubicBezTo>
                <a:cubicBezTo>
                  <a:pt x="689" y="127"/>
                  <a:pt x="713" y="109"/>
                  <a:pt x="721" y="83"/>
                </a:cubicBezTo>
                <a:cubicBezTo>
                  <a:pt x="740" y="83"/>
                  <a:pt x="740" y="83"/>
                  <a:pt x="740" y="83"/>
                </a:cubicBezTo>
                <a:cubicBezTo>
                  <a:pt x="740" y="96"/>
                  <a:pt x="740" y="96"/>
                  <a:pt x="740" y="96"/>
                </a:cubicBezTo>
                <a:cubicBezTo>
                  <a:pt x="85" y="121"/>
                  <a:pt x="60" y="95"/>
                  <a:pt x="60" y="64"/>
                </a:cubicBezTo>
                <a:cubicBezTo>
                  <a:pt x="60" y="32"/>
                  <a:pt x="85" y="7"/>
                  <a:pt x="117" y="7"/>
                </a:cubicBezTo>
                <a:cubicBezTo>
                  <a:pt x="148" y="7"/>
                  <a:pt x="174" y="32"/>
                  <a:pt x="174" y="64"/>
                </a:cubicBezTo>
                <a:cubicBezTo>
                  <a:pt x="174" y="95"/>
                  <a:pt x="148" y="121"/>
                  <a:pt x="117" y="121"/>
                </a:cubicBezTo>
                <a:cubicBezTo>
                  <a:pt x="267" y="121"/>
                  <a:pt x="241" y="95"/>
                  <a:pt x="241" y="64"/>
                </a:cubicBezTo>
                <a:cubicBezTo>
                  <a:pt x="241" y="32"/>
                  <a:pt x="267" y="7"/>
                  <a:pt x="298" y="7"/>
                </a:cubicBezTo>
                <a:cubicBezTo>
                  <a:pt x="329" y="7"/>
                  <a:pt x="355" y="32"/>
                  <a:pt x="355" y="64"/>
                </a:cubicBezTo>
                <a:cubicBezTo>
                  <a:pt x="355" y="95"/>
                  <a:pt x="329" y="121"/>
                  <a:pt x="298" y="121"/>
                </a:cubicBezTo>
                <a:cubicBezTo>
                  <a:pt x="448" y="121"/>
                  <a:pt x="422" y="95"/>
                  <a:pt x="422" y="64"/>
                </a:cubicBezTo>
                <a:cubicBezTo>
                  <a:pt x="422" y="32"/>
                  <a:pt x="448" y="7"/>
                  <a:pt x="479" y="7"/>
                </a:cubicBezTo>
                <a:cubicBezTo>
                  <a:pt x="511" y="7"/>
                  <a:pt x="536" y="32"/>
                  <a:pt x="536" y="64"/>
                </a:cubicBezTo>
                <a:cubicBezTo>
                  <a:pt x="536" y="95"/>
                  <a:pt x="511" y="121"/>
                  <a:pt x="479" y="121"/>
                </a:cubicBezTo>
                <a:cubicBezTo>
                  <a:pt x="629" y="121"/>
                  <a:pt x="604" y="95"/>
                  <a:pt x="604" y="64"/>
                </a:cubicBezTo>
                <a:cubicBezTo>
                  <a:pt x="604" y="32"/>
                  <a:pt x="629" y="7"/>
                  <a:pt x="660" y="7"/>
                </a:cubicBezTo>
                <a:cubicBezTo>
                  <a:pt x="692" y="7"/>
                  <a:pt x="717" y="32"/>
                  <a:pt x="717" y="64"/>
                </a:cubicBezTo>
                <a:cubicBezTo>
                  <a:pt x="717" y="95"/>
                  <a:pt x="692" y="121"/>
                  <a:pt x="660" y="121"/>
                </a:cubicBezTo>
                <a:lnTo>
                  <a:pt x="779" y="65"/>
                </a:lnTo>
                <a:close/>
                <a:close/>
                <a:close/>
                <a:close/>
                <a:close/>
              </a:path>
            </a:pathLst>
          </a:custGeom>
          <a:solidFill>
            <a:schemeClr val="tx1">
              <a:alpha val="1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1062" tIns="20531" rIns="41062" bIns="20531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NeueLT Std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NeueLT Std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NeueLT Std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NeueLT Std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NeueLT Std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HelveticaNeueLT Std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HelveticaNeueLT Std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HelveticaNeueLT Std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HelveticaNeueLT Std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 defTabSz="407194">
              <a:lnSpc>
                <a:spcPct val="90000"/>
              </a:lnSpc>
              <a:defRPr/>
            </a:pPr>
            <a:endParaRPr lang="tr-TR" sz="900">
              <a:latin typeface="+mn-lt"/>
              <a:cs typeface="+mn-cs"/>
            </a:endParaRPr>
          </a:p>
        </p:txBody>
      </p:sp>
      <p:sp>
        <p:nvSpPr>
          <p:cNvPr id="23" name="Shape 616">
            <a:extLst>
              <a:ext uri="{FF2B5EF4-FFF2-40B4-BE49-F238E27FC236}">
                <a16:creationId xmlns:a16="http://schemas.microsoft.com/office/drawing/2014/main" id="{60C3ABB5-7076-3344-BBFD-799F2E673AC6}"/>
              </a:ext>
            </a:extLst>
          </p:cNvPr>
          <p:cNvSpPr/>
          <p:nvPr/>
        </p:nvSpPr>
        <p:spPr>
          <a:xfrm>
            <a:off x="966493" y="3498917"/>
            <a:ext cx="1544576" cy="400091"/>
          </a:xfrm>
          <a:prstGeom prst="rect">
            <a:avLst/>
          </a:prstGeom>
          <a:noFill/>
          <a:ln>
            <a:noFill/>
          </a:ln>
        </p:spPr>
        <p:txBody>
          <a:bodyPr lIns="91412" tIns="45700" rIns="91412" bIns="45700" anchor="t" anchorCtr="0">
            <a:noAutofit/>
          </a:bodyPr>
          <a:lstStyle/>
          <a:p>
            <a:pPr algn="r">
              <a:lnSpc>
                <a:spcPct val="130000"/>
              </a:lnSpc>
              <a:buSzPct val="25000"/>
            </a:pPr>
            <a:r>
              <a:rPr lang="tr-TR" sz="1501" b="1" u="sng" dirty="0">
                <a:latin typeface="+mj-lt"/>
                <a:ea typeface="Roboto"/>
                <a:cs typeface="Roboto"/>
                <a:sym typeface="Roboto"/>
              </a:rPr>
              <a:t>DÖNÜŞÜM</a:t>
            </a:r>
          </a:p>
        </p:txBody>
      </p:sp>
      <p:sp>
        <p:nvSpPr>
          <p:cNvPr id="24" name="Shape 616">
            <a:extLst>
              <a:ext uri="{FF2B5EF4-FFF2-40B4-BE49-F238E27FC236}">
                <a16:creationId xmlns:a16="http://schemas.microsoft.com/office/drawing/2014/main" id="{6B2DCCA8-D31E-6748-BE45-728CD2A892FB}"/>
              </a:ext>
            </a:extLst>
          </p:cNvPr>
          <p:cNvSpPr/>
          <p:nvPr/>
        </p:nvSpPr>
        <p:spPr>
          <a:xfrm>
            <a:off x="9532243" y="3498917"/>
            <a:ext cx="1544576" cy="400091"/>
          </a:xfrm>
          <a:prstGeom prst="rect">
            <a:avLst/>
          </a:prstGeom>
          <a:noFill/>
          <a:ln>
            <a:noFill/>
          </a:ln>
        </p:spPr>
        <p:txBody>
          <a:bodyPr lIns="91412" tIns="45700" rIns="91412" bIns="45700" anchor="t" anchorCtr="0">
            <a:noAutofit/>
          </a:bodyPr>
          <a:lstStyle/>
          <a:p>
            <a:pPr>
              <a:lnSpc>
                <a:spcPct val="130000"/>
              </a:lnSpc>
              <a:buSzPct val="25000"/>
            </a:pPr>
            <a:r>
              <a:rPr lang="tr-TR" sz="1501" b="1" u="sng">
                <a:latin typeface="+mj-lt"/>
                <a:ea typeface="Roboto"/>
                <a:cs typeface="Roboto"/>
                <a:sym typeface="Roboto"/>
              </a:rPr>
              <a:t>INNOVASYON</a:t>
            </a:r>
          </a:p>
        </p:txBody>
      </p:sp>
      <p:sp>
        <p:nvSpPr>
          <p:cNvPr id="25" name="Shape 609">
            <a:extLst>
              <a:ext uri="{FF2B5EF4-FFF2-40B4-BE49-F238E27FC236}">
                <a16:creationId xmlns:a16="http://schemas.microsoft.com/office/drawing/2014/main" id="{4C51260F-90AE-8843-9A08-1CCB3EE71157}"/>
              </a:ext>
            </a:extLst>
          </p:cNvPr>
          <p:cNvSpPr/>
          <p:nvPr/>
        </p:nvSpPr>
        <p:spPr>
          <a:xfrm>
            <a:off x="4019303" y="2164321"/>
            <a:ext cx="1540310" cy="523971"/>
          </a:xfrm>
          <a:prstGeom prst="rect">
            <a:avLst/>
          </a:prstGeom>
          <a:noFill/>
          <a:ln>
            <a:noFill/>
          </a:ln>
        </p:spPr>
        <p:txBody>
          <a:bodyPr lIns="91412" tIns="45700" rIns="91412" bIns="45700" anchor="t" anchorCtr="0">
            <a:noAutofit/>
          </a:bodyPr>
          <a:lstStyle/>
          <a:p>
            <a:pPr marL="0" lvl="1">
              <a:lnSpc>
                <a:spcPct val="130000"/>
              </a:lnSpc>
              <a:buSzPct val="25000"/>
            </a:pPr>
            <a:r>
              <a:rPr lang="tr-TR" sz="900" dirty="0">
                <a:solidFill>
                  <a:schemeClr val="accent2">
                    <a:lumMod val="75000"/>
                  </a:schemeClr>
                </a:solidFill>
                <a:latin typeface="+mj-lt"/>
                <a:ea typeface="Roboto"/>
                <a:cs typeface="Roboto"/>
              </a:rPr>
              <a:t>Mevcut durum  ve ulaşılması istenen hedefler analiz edilir</a:t>
            </a:r>
          </a:p>
        </p:txBody>
      </p:sp>
      <p:sp>
        <p:nvSpPr>
          <p:cNvPr id="26" name="Shape 610">
            <a:extLst>
              <a:ext uri="{FF2B5EF4-FFF2-40B4-BE49-F238E27FC236}">
                <a16:creationId xmlns:a16="http://schemas.microsoft.com/office/drawing/2014/main" id="{EACCBFDE-D62C-474D-8A66-81B0ED7AD33E}"/>
              </a:ext>
            </a:extLst>
          </p:cNvPr>
          <p:cNvSpPr/>
          <p:nvPr/>
        </p:nvSpPr>
        <p:spPr>
          <a:xfrm>
            <a:off x="1779687" y="2584756"/>
            <a:ext cx="2166218" cy="400091"/>
          </a:xfrm>
          <a:prstGeom prst="rect">
            <a:avLst/>
          </a:prstGeom>
          <a:noFill/>
          <a:ln>
            <a:noFill/>
          </a:ln>
        </p:spPr>
        <p:txBody>
          <a:bodyPr lIns="91412" tIns="45700" rIns="91412" bIns="45700" anchor="t" anchorCtr="0">
            <a:noAutofit/>
          </a:bodyPr>
          <a:lstStyle/>
          <a:p>
            <a:pPr algn="r">
              <a:lnSpc>
                <a:spcPct val="130000"/>
              </a:lnSpc>
              <a:buSzPct val="25000"/>
            </a:pPr>
            <a:r>
              <a:rPr lang="tr-TR" sz="1501" b="1">
                <a:latin typeface="+mj-lt"/>
                <a:ea typeface="Roboto"/>
                <a:cs typeface="Roboto"/>
                <a:sym typeface="Roboto"/>
              </a:rPr>
              <a:t>Keşif</a:t>
            </a:r>
            <a:r>
              <a:rPr lang="tr-TR" sz="1501">
                <a:latin typeface="+mj-lt"/>
                <a:ea typeface="Roboto"/>
                <a:cs typeface="Roboto"/>
                <a:sym typeface="Roboto"/>
              </a:rPr>
              <a:t> Analiz</a:t>
            </a:r>
          </a:p>
        </p:txBody>
      </p:sp>
      <p:sp>
        <p:nvSpPr>
          <p:cNvPr id="28" name="Textfeld 23">
            <a:extLst>
              <a:ext uri="{FF2B5EF4-FFF2-40B4-BE49-F238E27FC236}">
                <a16:creationId xmlns:a16="http://schemas.microsoft.com/office/drawing/2014/main" id="{2440A3B0-86B9-DB41-A09D-9332C33BAD3C}"/>
              </a:ext>
            </a:extLst>
          </p:cNvPr>
          <p:cNvSpPr txBox="1"/>
          <p:nvPr/>
        </p:nvSpPr>
        <p:spPr>
          <a:xfrm>
            <a:off x="3572618" y="1635586"/>
            <a:ext cx="76132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3000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01</a:t>
            </a:r>
            <a:endParaRPr lang="tr-TR" sz="3000" b="1" dirty="0">
              <a:solidFill>
                <a:schemeClr val="tx2">
                  <a:lumMod val="60000"/>
                  <a:lumOff val="4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29" name="Shape 609">
            <a:extLst>
              <a:ext uri="{FF2B5EF4-FFF2-40B4-BE49-F238E27FC236}">
                <a16:creationId xmlns:a16="http://schemas.microsoft.com/office/drawing/2014/main" id="{921C3CA9-73EE-544F-8EA7-0151A55C2A36}"/>
              </a:ext>
            </a:extLst>
          </p:cNvPr>
          <p:cNvSpPr/>
          <p:nvPr/>
        </p:nvSpPr>
        <p:spPr>
          <a:xfrm>
            <a:off x="6792000" y="2164321"/>
            <a:ext cx="1912325" cy="687964"/>
          </a:xfrm>
          <a:prstGeom prst="rect">
            <a:avLst/>
          </a:prstGeom>
          <a:noFill/>
          <a:ln>
            <a:noFill/>
          </a:ln>
        </p:spPr>
        <p:txBody>
          <a:bodyPr lIns="91412" tIns="45700" rIns="91412" bIns="45700" anchor="t" anchorCtr="0">
            <a:noAutofit/>
          </a:bodyPr>
          <a:lstStyle/>
          <a:p>
            <a:pPr marL="0" lvl="1">
              <a:lnSpc>
                <a:spcPct val="130000"/>
              </a:lnSpc>
              <a:buSzPct val="25000"/>
            </a:pPr>
            <a:r>
              <a:rPr lang="tr-TR" sz="900" dirty="0">
                <a:solidFill>
                  <a:schemeClr val="accent2">
                    <a:lumMod val="75000"/>
                  </a:schemeClr>
                </a:solidFill>
                <a:latin typeface="+mj-lt"/>
                <a:ea typeface="Roboto"/>
                <a:cs typeface="Roboto"/>
              </a:rPr>
              <a:t>Değer yönetimi, analiz ve bütçe planlaması yapılarak uygulanabilirlik kararları verilir.</a:t>
            </a:r>
          </a:p>
        </p:txBody>
      </p:sp>
      <p:sp>
        <p:nvSpPr>
          <p:cNvPr id="30" name="Shape 610">
            <a:extLst>
              <a:ext uri="{FF2B5EF4-FFF2-40B4-BE49-F238E27FC236}">
                <a16:creationId xmlns:a16="http://schemas.microsoft.com/office/drawing/2014/main" id="{AF4FE7CE-F6D3-F841-8E98-7A9E86BC4463}"/>
              </a:ext>
            </a:extLst>
          </p:cNvPr>
          <p:cNvSpPr/>
          <p:nvPr/>
        </p:nvSpPr>
        <p:spPr>
          <a:xfrm>
            <a:off x="4526748" y="2599375"/>
            <a:ext cx="2166218" cy="400091"/>
          </a:xfrm>
          <a:prstGeom prst="rect">
            <a:avLst/>
          </a:prstGeom>
          <a:noFill/>
          <a:ln>
            <a:noFill/>
          </a:ln>
        </p:spPr>
        <p:txBody>
          <a:bodyPr lIns="91412" tIns="45700" rIns="91412" bIns="45700" anchor="t" anchorCtr="0">
            <a:noAutofit/>
          </a:bodyPr>
          <a:lstStyle/>
          <a:p>
            <a:pPr algn="r">
              <a:lnSpc>
                <a:spcPct val="130000"/>
              </a:lnSpc>
              <a:buSzPct val="25000"/>
            </a:pPr>
            <a:r>
              <a:rPr lang="tr-TR" sz="1501" b="1">
                <a:latin typeface="+mj-lt"/>
                <a:ea typeface="Roboto"/>
                <a:cs typeface="Roboto"/>
                <a:sym typeface="Roboto"/>
              </a:rPr>
              <a:t>Uygulanabilirlik</a:t>
            </a:r>
            <a:r>
              <a:rPr lang="tr-TR" sz="1501">
                <a:latin typeface="+mj-lt"/>
                <a:ea typeface="Roboto"/>
                <a:cs typeface="Roboto"/>
                <a:sym typeface="Roboto"/>
              </a:rPr>
              <a:t> Optimizasyon</a:t>
            </a:r>
          </a:p>
        </p:txBody>
      </p:sp>
      <p:sp>
        <p:nvSpPr>
          <p:cNvPr id="32" name="Textfeld 29">
            <a:extLst>
              <a:ext uri="{FF2B5EF4-FFF2-40B4-BE49-F238E27FC236}">
                <a16:creationId xmlns:a16="http://schemas.microsoft.com/office/drawing/2014/main" id="{94C8D802-7B7D-AE4A-9BEC-D0446A67E2FA}"/>
              </a:ext>
            </a:extLst>
          </p:cNvPr>
          <p:cNvSpPr txBox="1"/>
          <p:nvPr/>
        </p:nvSpPr>
        <p:spPr>
          <a:xfrm>
            <a:off x="6345315" y="1635586"/>
            <a:ext cx="76132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3000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03</a:t>
            </a:r>
            <a:endParaRPr lang="tr-TR" sz="3000" b="1" dirty="0">
              <a:solidFill>
                <a:schemeClr val="tx2">
                  <a:lumMod val="60000"/>
                  <a:lumOff val="4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33" name="Shape 609">
            <a:extLst>
              <a:ext uri="{FF2B5EF4-FFF2-40B4-BE49-F238E27FC236}">
                <a16:creationId xmlns:a16="http://schemas.microsoft.com/office/drawing/2014/main" id="{F38746CC-EFD8-E541-B42C-5983C66944BD}"/>
              </a:ext>
            </a:extLst>
          </p:cNvPr>
          <p:cNvSpPr/>
          <p:nvPr/>
        </p:nvSpPr>
        <p:spPr>
          <a:xfrm>
            <a:off x="5559623" y="4622852"/>
            <a:ext cx="1755573" cy="778789"/>
          </a:xfrm>
          <a:prstGeom prst="rect">
            <a:avLst/>
          </a:prstGeom>
          <a:noFill/>
          <a:ln>
            <a:noFill/>
          </a:ln>
        </p:spPr>
        <p:txBody>
          <a:bodyPr lIns="91412" tIns="45700" rIns="91412" bIns="45700" anchor="t" anchorCtr="0">
            <a:noAutofit/>
          </a:bodyPr>
          <a:lstStyle/>
          <a:p>
            <a:pPr marL="0" lvl="1">
              <a:lnSpc>
                <a:spcPct val="130000"/>
              </a:lnSpc>
              <a:buSzPct val="25000"/>
            </a:pPr>
            <a:r>
              <a:rPr lang="tr-TR" sz="900" dirty="0" err="1">
                <a:solidFill>
                  <a:schemeClr val="accent2">
                    <a:lumMod val="75000"/>
                  </a:schemeClr>
                </a:solidFill>
                <a:latin typeface="+mj-lt"/>
                <a:ea typeface="Roboto"/>
                <a:cs typeface="Roboto"/>
              </a:rPr>
              <a:t>Önceliklendirilen</a:t>
            </a:r>
            <a:r>
              <a:rPr lang="tr-TR" sz="900" dirty="0">
                <a:solidFill>
                  <a:schemeClr val="accent2">
                    <a:lumMod val="75000"/>
                  </a:schemeClr>
                </a:solidFill>
                <a:latin typeface="+mj-lt"/>
                <a:ea typeface="Roboto"/>
                <a:cs typeface="Roboto"/>
              </a:rPr>
              <a:t> hedeflere ulaşılması için gerekli inisiyatifler planlanır, uygulamaya yönelik tasarımlar oluşturulur. </a:t>
            </a:r>
          </a:p>
        </p:txBody>
      </p:sp>
      <p:sp>
        <p:nvSpPr>
          <p:cNvPr id="34" name="Shape 610">
            <a:extLst>
              <a:ext uri="{FF2B5EF4-FFF2-40B4-BE49-F238E27FC236}">
                <a16:creationId xmlns:a16="http://schemas.microsoft.com/office/drawing/2014/main" id="{0AE172FD-D9D1-434A-97A5-0C930913219C}"/>
              </a:ext>
            </a:extLst>
          </p:cNvPr>
          <p:cNvSpPr/>
          <p:nvPr/>
        </p:nvSpPr>
        <p:spPr>
          <a:xfrm>
            <a:off x="3109290" y="4376076"/>
            <a:ext cx="2166218" cy="400091"/>
          </a:xfrm>
          <a:prstGeom prst="rect">
            <a:avLst/>
          </a:prstGeom>
          <a:noFill/>
          <a:ln>
            <a:noFill/>
          </a:ln>
        </p:spPr>
        <p:txBody>
          <a:bodyPr lIns="91412" tIns="45700" rIns="91412" bIns="45700" anchor="t" anchorCtr="0">
            <a:noAutofit/>
          </a:bodyPr>
          <a:lstStyle/>
          <a:p>
            <a:pPr algn="r">
              <a:lnSpc>
                <a:spcPct val="130000"/>
              </a:lnSpc>
              <a:buSzPct val="25000"/>
            </a:pPr>
            <a:r>
              <a:rPr lang="tr-TR" sz="1501" b="1">
                <a:latin typeface="+mj-lt"/>
                <a:ea typeface="Roboto"/>
                <a:cs typeface="Roboto"/>
                <a:sym typeface="Roboto"/>
              </a:rPr>
              <a:t>Planlama</a:t>
            </a:r>
            <a:r>
              <a:rPr lang="tr-TR" sz="1501">
                <a:latin typeface="+mj-lt"/>
                <a:ea typeface="Roboto"/>
                <a:cs typeface="Roboto"/>
                <a:sym typeface="Roboto"/>
              </a:rPr>
              <a:t> Tasarım</a:t>
            </a:r>
          </a:p>
        </p:txBody>
      </p:sp>
      <p:sp>
        <p:nvSpPr>
          <p:cNvPr id="42" name="Textfeld 33">
            <a:extLst>
              <a:ext uri="{FF2B5EF4-FFF2-40B4-BE49-F238E27FC236}">
                <a16:creationId xmlns:a16="http://schemas.microsoft.com/office/drawing/2014/main" id="{B3449B10-6D67-3E44-BFC9-7B53B6142AE3}"/>
              </a:ext>
            </a:extLst>
          </p:cNvPr>
          <p:cNvSpPr txBox="1"/>
          <p:nvPr/>
        </p:nvSpPr>
        <p:spPr>
          <a:xfrm>
            <a:off x="4979452" y="5242928"/>
            <a:ext cx="76132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3000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02</a:t>
            </a:r>
            <a:endParaRPr lang="tr-TR" sz="3000" b="1" dirty="0">
              <a:solidFill>
                <a:schemeClr val="tx2">
                  <a:lumMod val="60000"/>
                  <a:lumOff val="4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43" name="Shape 609">
            <a:extLst>
              <a:ext uri="{FF2B5EF4-FFF2-40B4-BE49-F238E27FC236}">
                <a16:creationId xmlns:a16="http://schemas.microsoft.com/office/drawing/2014/main" id="{CF996EB0-8226-244A-A039-57E7294150C0}"/>
              </a:ext>
            </a:extLst>
          </p:cNvPr>
          <p:cNvSpPr/>
          <p:nvPr/>
        </p:nvSpPr>
        <p:spPr>
          <a:xfrm>
            <a:off x="8331173" y="4637599"/>
            <a:ext cx="1544575" cy="523971"/>
          </a:xfrm>
          <a:prstGeom prst="rect">
            <a:avLst/>
          </a:prstGeom>
          <a:noFill/>
          <a:ln>
            <a:noFill/>
          </a:ln>
        </p:spPr>
        <p:txBody>
          <a:bodyPr lIns="91412" tIns="45700" rIns="91412" bIns="45700" anchor="t" anchorCtr="0">
            <a:noAutofit/>
          </a:bodyPr>
          <a:lstStyle/>
          <a:p>
            <a:pPr>
              <a:lnSpc>
                <a:spcPct val="130000"/>
              </a:lnSpc>
              <a:buSzPct val="25000"/>
            </a:pPr>
            <a:r>
              <a:rPr lang="tr-TR" sz="900" dirty="0">
                <a:solidFill>
                  <a:schemeClr val="accent2">
                    <a:lumMod val="75000"/>
                  </a:schemeClr>
                </a:solidFill>
                <a:latin typeface="+mj-lt"/>
                <a:ea typeface="Roboto"/>
                <a:cs typeface="Roboto"/>
                <a:sym typeface="Roboto"/>
              </a:rPr>
              <a:t>Dönüşüm hızı, uygulama getirileri analizleri (dijital KPI) </a:t>
            </a:r>
          </a:p>
        </p:txBody>
      </p:sp>
      <p:sp>
        <p:nvSpPr>
          <p:cNvPr id="44" name="Shape 610">
            <a:extLst>
              <a:ext uri="{FF2B5EF4-FFF2-40B4-BE49-F238E27FC236}">
                <a16:creationId xmlns:a16="http://schemas.microsoft.com/office/drawing/2014/main" id="{FCB32DFD-8BC4-3643-B9AA-6C510856F829}"/>
              </a:ext>
            </a:extLst>
          </p:cNvPr>
          <p:cNvSpPr/>
          <p:nvPr/>
        </p:nvSpPr>
        <p:spPr>
          <a:xfrm>
            <a:off x="6711227" y="4382128"/>
            <a:ext cx="1270276" cy="400091"/>
          </a:xfrm>
          <a:prstGeom prst="rect">
            <a:avLst/>
          </a:prstGeom>
          <a:noFill/>
          <a:ln>
            <a:noFill/>
          </a:ln>
        </p:spPr>
        <p:txBody>
          <a:bodyPr lIns="91412" tIns="45700" rIns="91412" bIns="45700" anchor="t" anchorCtr="0">
            <a:noAutofit/>
          </a:bodyPr>
          <a:lstStyle/>
          <a:p>
            <a:pPr algn="r">
              <a:lnSpc>
                <a:spcPct val="130000"/>
              </a:lnSpc>
              <a:buSzPct val="25000"/>
            </a:pPr>
            <a:r>
              <a:rPr lang="tr-TR" sz="1501" b="1">
                <a:latin typeface="+mj-lt"/>
                <a:ea typeface="Roboto"/>
                <a:cs typeface="Roboto"/>
                <a:sym typeface="Roboto"/>
              </a:rPr>
              <a:t>Uygulama</a:t>
            </a:r>
            <a:r>
              <a:rPr lang="tr-TR" sz="1501">
                <a:latin typeface="+mj-lt"/>
                <a:ea typeface="Roboto"/>
                <a:cs typeface="Roboto"/>
                <a:sym typeface="Roboto"/>
              </a:rPr>
              <a:t> İzleme ve Ölçme</a:t>
            </a:r>
          </a:p>
        </p:txBody>
      </p:sp>
      <p:sp>
        <p:nvSpPr>
          <p:cNvPr id="46" name="Textfeld 37">
            <a:extLst>
              <a:ext uri="{FF2B5EF4-FFF2-40B4-BE49-F238E27FC236}">
                <a16:creationId xmlns:a16="http://schemas.microsoft.com/office/drawing/2014/main" id="{74EE1CC9-4CC5-8941-BBFF-E9A26022EBD2}"/>
              </a:ext>
            </a:extLst>
          </p:cNvPr>
          <p:cNvSpPr txBox="1"/>
          <p:nvPr/>
        </p:nvSpPr>
        <p:spPr>
          <a:xfrm>
            <a:off x="7751003" y="5242928"/>
            <a:ext cx="76132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3000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04</a:t>
            </a:r>
            <a:endParaRPr lang="tr-TR" sz="3000" b="1" dirty="0">
              <a:solidFill>
                <a:schemeClr val="tx2">
                  <a:lumMod val="60000"/>
                  <a:lumOff val="4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47" name="Freeform 46">
            <a:extLst>
              <a:ext uri="{FF2B5EF4-FFF2-40B4-BE49-F238E27FC236}">
                <a16:creationId xmlns:a16="http://schemas.microsoft.com/office/drawing/2014/main" id="{107CEFC1-CE5D-D146-AD10-5B7ACB7F97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5497" y="3434924"/>
            <a:ext cx="600446" cy="600603"/>
          </a:xfrm>
          <a:custGeom>
            <a:avLst/>
            <a:gdLst>
              <a:gd name="T0" fmla="*/ 601 w 609"/>
              <a:gd name="T1" fmla="*/ 43 h 609"/>
              <a:gd name="T2" fmla="*/ 601 w 609"/>
              <a:gd name="T3" fmla="*/ 43 h 609"/>
              <a:gd name="T4" fmla="*/ 601 w 609"/>
              <a:gd name="T5" fmla="*/ 43 h 609"/>
              <a:gd name="T6" fmla="*/ 396 w 609"/>
              <a:gd name="T7" fmla="*/ 587 h 609"/>
              <a:gd name="T8" fmla="*/ 396 w 609"/>
              <a:gd name="T9" fmla="*/ 587 h 609"/>
              <a:gd name="T10" fmla="*/ 367 w 609"/>
              <a:gd name="T11" fmla="*/ 608 h 609"/>
              <a:gd name="T12" fmla="*/ 339 w 609"/>
              <a:gd name="T13" fmla="*/ 587 h 609"/>
              <a:gd name="T14" fmla="*/ 339 w 609"/>
              <a:gd name="T15" fmla="*/ 587 h 609"/>
              <a:gd name="T16" fmla="*/ 283 w 609"/>
              <a:gd name="T17" fmla="*/ 326 h 609"/>
              <a:gd name="T18" fmla="*/ 21 w 609"/>
              <a:gd name="T19" fmla="*/ 269 h 609"/>
              <a:gd name="T20" fmla="*/ 21 w 609"/>
              <a:gd name="T21" fmla="*/ 269 h 609"/>
              <a:gd name="T22" fmla="*/ 0 w 609"/>
              <a:gd name="T23" fmla="*/ 241 h 609"/>
              <a:gd name="T24" fmla="*/ 21 w 609"/>
              <a:gd name="T25" fmla="*/ 212 h 609"/>
              <a:gd name="T26" fmla="*/ 21 w 609"/>
              <a:gd name="T27" fmla="*/ 212 h 609"/>
              <a:gd name="T28" fmla="*/ 565 w 609"/>
              <a:gd name="T29" fmla="*/ 8 h 609"/>
              <a:gd name="T30" fmla="*/ 565 w 609"/>
              <a:gd name="T31" fmla="*/ 8 h 609"/>
              <a:gd name="T32" fmla="*/ 579 w 609"/>
              <a:gd name="T33" fmla="*/ 0 h 609"/>
              <a:gd name="T34" fmla="*/ 608 w 609"/>
              <a:gd name="T35" fmla="*/ 29 h 609"/>
              <a:gd name="T36" fmla="*/ 601 w 609"/>
              <a:gd name="T37" fmla="*/ 43 h 609"/>
              <a:gd name="T38" fmla="*/ 127 w 609"/>
              <a:gd name="T39" fmla="*/ 234 h 609"/>
              <a:gd name="T40" fmla="*/ 127 w 609"/>
              <a:gd name="T41" fmla="*/ 234 h 609"/>
              <a:gd name="T42" fmla="*/ 311 w 609"/>
              <a:gd name="T43" fmla="*/ 276 h 609"/>
              <a:gd name="T44" fmla="*/ 311 w 609"/>
              <a:gd name="T45" fmla="*/ 276 h 609"/>
              <a:gd name="T46" fmla="*/ 332 w 609"/>
              <a:gd name="T47" fmla="*/ 297 h 609"/>
              <a:gd name="T48" fmla="*/ 332 w 609"/>
              <a:gd name="T49" fmla="*/ 297 h 609"/>
              <a:gd name="T50" fmla="*/ 375 w 609"/>
              <a:gd name="T51" fmla="*/ 481 h 609"/>
              <a:gd name="T52" fmla="*/ 530 w 609"/>
              <a:gd name="T53" fmla="*/ 78 h 609"/>
              <a:gd name="T54" fmla="*/ 127 w 609"/>
              <a:gd name="T55" fmla="*/ 234 h 6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609" h="609">
                <a:moveTo>
                  <a:pt x="601" y="43"/>
                </a:moveTo>
                <a:moveTo>
                  <a:pt x="127" y="234"/>
                </a:moveTo>
                <a:lnTo>
                  <a:pt x="601" y="43"/>
                </a:lnTo>
                <a:lnTo>
                  <a:pt x="601" y="43"/>
                </a:lnTo>
                <a:lnTo>
                  <a:pt x="396" y="587"/>
                </a:lnTo>
                <a:lnTo>
                  <a:pt x="339" y="587"/>
                </a:lnTo>
                <a:lnTo>
                  <a:pt x="21" y="269"/>
                </a:lnTo>
                <a:lnTo>
                  <a:pt x="21" y="212"/>
                </a:lnTo>
                <a:lnTo>
                  <a:pt x="565" y="8"/>
                </a:lnTo>
                <a:lnTo>
                  <a:pt x="127" y="234"/>
                </a:lnTo>
                <a:lnTo>
                  <a:pt x="311" y="276"/>
                </a:lnTo>
                <a:lnTo>
                  <a:pt x="332" y="297"/>
                </a:lnTo>
                <a:lnTo>
                  <a:pt x="127" y="234"/>
                </a:lnTo>
                <a:cubicBezTo>
                  <a:pt x="396" y="587"/>
                  <a:pt x="396" y="587"/>
                  <a:pt x="396" y="587"/>
                </a:cubicBezTo>
                <a:cubicBezTo>
                  <a:pt x="389" y="601"/>
                  <a:pt x="382" y="608"/>
                  <a:pt x="367" y="608"/>
                </a:cubicBezTo>
                <a:cubicBezTo>
                  <a:pt x="353" y="608"/>
                  <a:pt x="346" y="594"/>
                  <a:pt x="339" y="587"/>
                </a:cubicBezTo>
                <a:cubicBezTo>
                  <a:pt x="283" y="326"/>
                  <a:pt x="283" y="326"/>
                  <a:pt x="283" y="326"/>
                </a:cubicBezTo>
                <a:cubicBezTo>
                  <a:pt x="21" y="269"/>
                  <a:pt x="21" y="269"/>
                  <a:pt x="21" y="269"/>
                </a:cubicBezTo>
                <a:cubicBezTo>
                  <a:pt x="14" y="262"/>
                  <a:pt x="0" y="255"/>
                  <a:pt x="0" y="241"/>
                </a:cubicBezTo>
                <a:cubicBezTo>
                  <a:pt x="0" y="227"/>
                  <a:pt x="7" y="219"/>
                  <a:pt x="21" y="212"/>
                </a:cubicBezTo>
                <a:cubicBezTo>
                  <a:pt x="565" y="8"/>
                  <a:pt x="565" y="8"/>
                  <a:pt x="565" y="8"/>
                </a:cubicBezTo>
                <a:cubicBezTo>
                  <a:pt x="572" y="0"/>
                  <a:pt x="572" y="0"/>
                  <a:pt x="579" y="0"/>
                </a:cubicBezTo>
                <a:cubicBezTo>
                  <a:pt x="594" y="0"/>
                  <a:pt x="608" y="15"/>
                  <a:pt x="608" y="29"/>
                </a:cubicBezTo>
                <a:cubicBezTo>
                  <a:pt x="608" y="36"/>
                  <a:pt x="608" y="36"/>
                  <a:pt x="601" y="43"/>
                </a:cubicBezTo>
                <a:cubicBezTo>
                  <a:pt x="311" y="276"/>
                  <a:pt x="311" y="276"/>
                  <a:pt x="311" y="276"/>
                </a:cubicBezTo>
                <a:cubicBezTo>
                  <a:pt x="318" y="276"/>
                  <a:pt x="332" y="290"/>
                  <a:pt x="332" y="297"/>
                </a:cubicBezTo>
                <a:cubicBezTo>
                  <a:pt x="375" y="481"/>
                  <a:pt x="375" y="481"/>
                  <a:pt x="375" y="481"/>
                </a:cubicBezTo>
                <a:cubicBezTo>
                  <a:pt x="530" y="78"/>
                  <a:pt x="530" y="78"/>
                  <a:pt x="530" y="78"/>
                </a:cubicBezTo>
                <a:close/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wrap="none" anchor="ctr"/>
          <a:lstStyle/>
          <a:p>
            <a:pPr>
              <a:defRPr/>
            </a:pPr>
            <a:endParaRPr lang="tr-TR" sz="900"/>
          </a:p>
        </p:txBody>
      </p:sp>
      <p:sp>
        <p:nvSpPr>
          <p:cNvPr id="48" name="Freeform 29">
            <a:extLst>
              <a:ext uri="{FF2B5EF4-FFF2-40B4-BE49-F238E27FC236}">
                <a16:creationId xmlns:a16="http://schemas.microsoft.com/office/drawing/2014/main" id="{3DB56B7D-5662-364F-BAF1-2707896287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72343" y="3420726"/>
            <a:ext cx="583891" cy="602584"/>
          </a:xfrm>
          <a:custGeom>
            <a:avLst/>
            <a:gdLst>
              <a:gd name="T0" fmla="*/ 248 w 444"/>
              <a:gd name="T1" fmla="*/ 337 h 462"/>
              <a:gd name="T2" fmla="*/ 248 w 444"/>
              <a:gd name="T3" fmla="*/ 337 h 462"/>
              <a:gd name="T4" fmla="*/ 320 w 444"/>
              <a:gd name="T5" fmla="*/ 257 h 462"/>
              <a:gd name="T6" fmla="*/ 443 w 444"/>
              <a:gd name="T7" fmla="*/ 71 h 462"/>
              <a:gd name="T8" fmla="*/ 426 w 444"/>
              <a:gd name="T9" fmla="*/ 53 h 462"/>
              <a:gd name="T10" fmla="*/ 346 w 444"/>
              <a:gd name="T11" fmla="*/ 53 h 462"/>
              <a:gd name="T12" fmla="*/ 222 w 444"/>
              <a:gd name="T13" fmla="*/ 0 h 462"/>
              <a:gd name="T14" fmla="*/ 98 w 444"/>
              <a:gd name="T15" fmla="*/ 53 h 462"/>
              <a:gd name="T16" fmla="*/ 18 w 444"/>
              <a:gd name="T17" fmla="*/ 53 h 462"/>
              <a:gd name="T18" fmla="*/ 0 w 444"/>
              <a:gd name="T19" fmla="*/ 71 h 462"/>
              <a:gd name="T20" fmla="*/ 124 w 444"/>
              <a:gd name="T21" fmla="*/ 257 h 462"/>
              <a:gd name="T22" fmla="*/ 195 w 444"/>
              <a:gd name="T23" fmla="*/ 337 h 462"/>
              <a:gd name="T24" fmla="*/ 195 w 444"/>
              <a:gd name="T25" fmla="*/ 372 h 462"/>
              <a:gd name="T26" fmla="*/ 107 w 444"/>
              <a:gd name="T27" fmla="*/ 416 h 462"/>
              <a:gd name="T28" fmla="*/ 222 w 444"/>
              <a:gd name="T29" fmla="*/ 461 h 462"/>
              <a:gd name="T30" fmla="*/ 328 w 444"/>
              <a:gd name="T31" fmla="*/ 416 h 462"/>
              <a:gd name="T32" fmla="*/ 248 w 444"/>
              <a:gd name="T33" fmla="*/ 372 h 462"/>
              <a:gd name="T34" fmla="*/ 248 w 444"/>
              <a:gd name="T35" fmla="*/ 337 h 462"/>
              <a:gd name="T36" fmla="*/ 320 w 444"/>
              <a:gd name="T37" fmla="*/ 212 h 462"/>
              <a:gd name="T38" fmla="*/ 320 w 444"/>
              <a:gd name="T39" fmla="*/ 212 h 462"/>
              <a:gd name="T40" fmla="*/ 346 w 444"/>
              <a:gd name="T41" fmla="*/ 89 h 462"/>
              <a:gd name="T42" fmla="*/ 408 w 444"/>
              <a:gd name="T43" fmla="*/ 89 h 462"/>
              <a:gd name="T44" fmla="*/ 320 w 444"/>
              <a:gd name="T45" fmla="*/ 212 h 462"/>
              <a:gd name="T46" fmla="*/ 222 w 444"/>
              <a:gd name="T47" fmla="*/ 36 h 462"/>
              <a:gd name="T48" fmla="*/ 222 w 444"/>
              <a:gd name="T49" fmla="*/ 36 h 462"/>
              <a:gd name="T50" fmla="*/ 320 w 444"/>
              <a:gd name="T51" fmla="*/ 71 h 462"/>
              <a:gd name="T52" fmla="*/ 222 w 444"/>
              <a:gd name="T53" fmla="*/ 115 h 462"/>
              <a:gd name="T54" fmla="*/ 124 w 444"/>
              <a:gd name="T55" fmla="*/ 71 h 462"/>
              <a:gd name="T56" fmla="*/ 222 w 444"/>
              <a:gd name="T57" fmla="*/ 36 h 462"/>
              <a:gd name="T58" fmla="*/ 36 w 444"/>
              <a:gd name="T59" fmla="*/ 89 h 462"/>
              <a:gd name="T60" fmla="*/ 36 w 444"/>
              <a:gd name="T61" fmla="*/ 89 h 462"/>
              <a:gd name="T62" fmla="*/ 98 w 444"/>
              <a:gd name="T63" fmla="*/ 89 h 462"/>
              <a:gd name="T64" fmla="*/ 124 w 444"/>
              <a:gd name="T65" fmla="*/ 212 h 462"/>
              <a:gd name="T66" fmla="*/ 36 w 444"/>
              <a:gd name="T67" fmla="*/ 89 h 4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444" h="462">
                <a:moveTo>
                  <a:pt x="248" y="337"/>
                </a:moveTo>
                <a:moveTo>
                  <a:pt x="320" y="212"/>
                </a:moveTo>
                <a:moveTo>
                  <a:pt x="222" y="36"/>
                </a:moveTo>
                <a:moveTo>
                  <a:pt x="36" y="89"/>
                </a:moveTo>
                <a:lnTo>
                  <a:pt x="248" y="337"/>
                </a:lnTo>
                <a:lnTo>
                  <a:pt x="248" y="337"/>
                </a:lnTo>
                <a:lnTo>
                  <a:pt x="320" y="212"/>
                </a:lnTo>
                <a:lnTo>
                  <a:pt x="222" y="36"/>
                </a:lnTo>
                <a:lnTo>
                  <a:pt x="36" y="89"/>
                </a:lnTo>
                <a:cubicBezTo>
                  <a:pt x="248" y="302"/>
                  <a:pt x="275" y="283"/>
                  <a:pt x="320" y="257"/>
                </a:cubicBezTo>
                <a:cubicBezTo>
                  <a:pt x="373" y="221"/>
                  <a:pt x="443" y="177"/>
                  <a:pt x="443" y="71"/>
                </a:cubicBezTo>
                <a:cubicBezTo>
                  <a:pt x="443" y="62"/>
                  <a:pt x="434" y="53"/>
                  <a:pt x="426" y="53"/>
                </a:cubicBezTo>
                <a:cubicBezTo>
                  <a:pt x="346" y="53"/>
                  <a:pt x="346" y="53"/>
                  <a:pt x="346" y="53"/>
                </a:cubicBezTo>
                <a:cubicBezTo>
                  <a:pt x="328" y="27"/>
                  <a:pt x="293" y="0"/>
                  <a:pt x="222" y="0"/>
                </a:cubicBezTo>
                <a:cubicBezTo>
                  <a:pt x="151" y="0"/>
                  <a:pt x="116" y="27"/>
                  <a:pt x="98" y="53"/>
                </a:cubicBezTo>
                <a:cubicBezTo>
                  <a:pt x="18" y="53"/>
                  <a:pt x="18" y="53"/>
                  <a:pt x="18" y="53"/>
                </a:cubicBezTo>
                <a:cubicBezTo>
                  <a:pt x="9" y="53"/>
                  <a:pt x="0" y="62"/>
                  <a:pt x="0" y="71"/>
                </a:cubicBezTo>
                <a:cubicBezTo>
                  <a:pt x="0" y="177"/>
                  <a:pt x="62" y="221"/>
                  <a:pt x="124" y="257"/>
                </a:cubicBezTo>
                <a:cubicBezTo>
                  <a:pt x="169" y="283"/>
                  <a:pt x="195" y="302"/>
                  <a:pt x="195" y="337"/>
                </a:cubicBezTo>
                <a:cubicBezTo>
                  <a:pt x="195" y="372"/>
                  <a:pt x="195" y="372"/>
                  <a:pt x="195" y="372"/>
                </a:cubicBezTo>
                <a:cubicBezTo>
                  <a:pt x="142" y="381"/>
                  <a:pt x="107" y="399"/>
                  <a:pt x="107" y="416"/>
                </a:cubicBezTo>
                <a:cubicBezTo>
                  <a:pt x="107" y="443"/>
                  <a:pt x="160" y="461"/>
                  <a:pt x="222" y="461"/>
                </a:cubicBezTo>
                <a:cubicBezTo>
                  <a:pt x="283" y="461"/>
                  <a:pt x="328" y="443"/>
                  <a:pt x="328" y="416"/>
                </a:cubicBezTo>
                <a:cubicBezTo>
                  <a:pt x="328" y="399"/>
                  <a:pt x="302" y="381"/>
                  <a:pt x="248" y="372"/>
                </a:cubicBezTo>
                <a:cubicBezTo>
                  <a:pt x="337" y="186"/>
                  <a:pt x="346" y="142"/>
                  <a:pt x="346" y="89"/>
                </a:cubicBezTo>
                <a:cubicBezTo>
                  <a:pt x="408" y="89"/>
                  <a:pt x="408" y="89"/>
                  <a:pt x="408" y="89"/>
                </a:cubicBezTo>
                <a:cubicBezTo>
                  <a:pt x="399" y="151"/>
                  <a:pt x="364" y="186"/>
                  <a:pt x="320" y="212"/>
                </a:cubicBezTo>
                <a:cubicBezTo>
                  <a:pt x="293" y="36"/>
                  <a:pt x="320" y="62"/>
                  <a:pt x="320" y="71"/>
                </a:cubicBezTo>
                <a:cubicBezTo>
                  <a:pt x="320" y="80"/>
                  <a:pt x="293" y="106"/>
                  <a:pt x="222" y="115"/>
                </a:cubicBezTo>
                <a:cubicBezTo>
                  <a:pt x="151" y="106"/>
                  <a:pt x="124" y="80"/>
                  <a:pt x="124" y="71"/>
                </a:cubicBezTo>
                <a:cubicBezTo>
                  <a:pt x="124" y="62"/>
                  <a:pt x="151" y="36"/>
                  <a:pt x="222" y="36"/>
                </a:cubicBezTo>
                <a:cubicBezTo>
                  <a:pt x="98" y="89"/>
                  <a:pt x="98" y="89"/>
                  <a:pt x="98" y="89"/>
                </a:cubicBezTo>
                <a:cubicBezTo>
                  <a:pt x="98" y="142"/>
                  <a:pt x="107" y="186"/>
                  <a:pt x="124" y="212"/>
                </a:cubicBezTo>
                <a:cubicBezTo>
                  <a:pt x="80" y="186"/>
                  <a:pt x="36" y="151"/>
                  <a:pt x="36" y="89"/>
                </a:cubicBezTo>
                <a:close/>
                <a:close/>
                <a:close/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wrap="none" lIns="45712" tIns="22856" rIns="45712" bIns="22856" anchor="ctr"/>
          <a:lstStyle/>
          <a:p>
            <a:pPr>
              <a:defRPr/>
            </a:pPr>
            <a:endParaRPr lang="tr-TR" sz="90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08567209-E95E-714F-AA60-5F2C46F87974}"/>
              </a:ext>
            </a:extLst>
          </p:cNvPr>
          <p:cNvSpPr txBox="1"/>
          <p:nvPr/>
        </p:nvSpPr>
        <p:spPr>
          <a:xfrm>
            <a:off x="1531915" y="3912702"/>
            <a:ext cx="1270276" cy="578699"/>
          </a:xfrm>
          <a:prstGeom prst="rect">
            <a:avLst/>
          </a:prstGeom>
          <a:noFill/>
          <a:ln>
            <a:noFill/>
          </a:ln>
        </p:spPr>
        <p:txBody>
          <a:bodyPr lIns="91412" tIns="45700" rIns="91412" bIns="45700" anchor="t" anchorCtr="0">
            <a:noAutofit/>
          </a:bodyPr>
          <a:lstStyle>
            <a:defPPr>
              <a:defRPr lang="en-TR"/>
            </a:defPPr>
            <a:lvl2pPr marL="0" lvl="1">
              <a:lnSpc>
                <a:spcPct val="130000"/>
              </a:lnSpc>
              <a:buSzPct val="25000"/>
              <a:defRPr sz="900">
                <a:solidFill>
                  <a:schemeClr val="accent3"/>
                </a:solidFill>
                <a:latin typeface="+mj-lt"/>
                <a:ea typeface="Roboto"/>
                <a:cs typeface="Roboto"/>
              </a:defRPr>
            </a:lvl2pPr>
          </a:lstStyle>
          <a:p>
            <a:r>
              <a:rPr lang="tr-TR" sz="900" dirty="0">
                <a:solidFill>
                  <a:schemeClr val="accent2">
                    <a:lumMod val="75000"/>
                  </a:schemeClr>
                </a:solidFill>
                <a:latin typeface="+mj-lt"/>
                <a:ea typeface="Roboto"/>
                <a:sym typeface="Roboto"/>
              </a:rPr>
              <a:t>HEDEF: İyileştir, Yaygınlaştır ve Dönüştür</a:t>
            </a:r>
          </a:p>
        </p:txBody>
      </p:sp>
      <p:cxnSp>
        <p:nvCxnSpPr>
          <p:cNvPr id="27" name="Gerader Verbinder 22">
            <a:extLst>
              <a:ext uri="{FF2B5EF4-FFF2-40B4-BE49-F238E27FC236}">
                <a16:creationId xmlns:a16="http://schemas.microsoft.com/office/drawing/2014/main" id="{9C559BDF-7471-EE4D-B8DE-533140F93C37}"/>
              </a:ext>
            </a:extLst>
          </p:cNvPr>
          <p:cNvCxnSpPr/>
          <p:nvPr/>
        </p:nvCxnSpPr>
        <p:spPr>
          <a:xfrm>
            <a:off x="3953280" y="2252708"/>
            <a:ext cx="0" cy="778789"/>
          </a:xfrm>
          <a:prstGeom prst="line">
            <a:avLst/>
          </a:prstGeom>
          <a:ln>
            <a:solidFill>
              <a:schemeClr val="tx1"/>
            </a:solidFill>
            <a:prstDash val="solid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27">
            <a:extLst>
              <a:ext uri="{FF2B5EF4-FFF2-40B4-BE49-F238E27FC236}">
                <a16:creationId xmlns:a16="http://schemas.microsoft.com/office/drawing/2014/main" id="{B8A2A867-A43F-D340-873D-F82CBD777AF2}"/>
              </a:ext>
            </a:extLst>
          </p:cNvPr>
          <p:cNvCxnSpPr/>
          <p:nvPr/>
        </p:nvCxnSpPr>
        <p:spPr>
          <a:xfrm>
            <a:off x="6725977" y="2252708"/>
            <a:ext cx="0" cy="778789"/>
          </a:xfrm>
          <a:prstGeom prst="line">
            <a:avLst/>
          </a:prstGeom>
          <a:ln>
            <a:solidFill>
              <a:schemeClr val="tx1"/>
            </a:solidFill>
            <a:prstDash val="solid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32">
            <a:extLst>
              <a:ext uri="{FF2B5EF4-FFF2-40B4-BE49-F238E27FC236}">
                <a16:creationId xmlns:a16="http://schemas.microsoft.com/office/drawing/2014/main" id="{5C3EF5A8-4F8A-C84E-95D6-ECE6458291D7}"/>
              </a:ext>
            </a:extLst>
          </p:cNvPr>
          <p:cNvCxnSpPr/>
          <p:nvPr/>
        </p:nvCxnSpPr>
        <p:spPr>
          <a:xfrm>
            <a:off x="5360114" y="4386773"/>
            <a:ext cx="0" cy="778789"/>
          </a:xfrm>
          <a:prstGeom prst="line">
            <a:avLst/>
          </a:prstGeom>
          <a:ln>
            <a:solidFill>
              <a:schemeClr val="tx1"/>
            </a:solidFill>
            <a:prstDash val="solid"/>
            <a:headEnd type="oval"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36">
            <a:extLst>
              <a:ext uri="{FF2B5EF4-FFF2-40B4-BE49-F238E27FC236}">
                <a16:creationId xmlns:a16="http://schemas.microsoft.com/office/drawing/2014/main" id="{C06B7760-E591-9F41-B99F-542CB9A45880}"/>
              </a:ext>
            </a:extLst>
          </p:cNvPr>
          <p:cNvCxnSpPr/>
          <p:nvPr/>
        </p:nvCxnSpPr>
        <p:spPr>
          <a:xfrm>
            <a:off x="8131665" y="4386773"/>
            <a:ext cx="0" cy="778789"/>
          </a:xfrm>
          <a:prstGeom prst="line">
            <a:avLst/>
          </a:prstGeom>
          <a:ln>
            <a:solidFill>
              <a:schemeClr val="tx1"/>
            </a:solidFill>
            <a:prstDash val="solid"/>
            <a:headEnd type="oval"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36915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5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6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9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0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3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4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7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8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9" grpId="0" animBg="1"/>
      <p:bldP spid="20" grpId="0" animBg="1"/>
      <p:bldP spid="21" grpId="0" animBg="1"/>
      <p:bldP spid="22" grpId="0" animBg="1"/>
      <p:bldP spid="23" grpId="0"/>
      <p:bldP spid="24" grpId="0"/>
      <p:bldP spid="25" grpId="0"/>
      <p:bldP spid="26" grpId="0"/>
      <p:bldP spid="28" grpId="0"/>
      <p:bldP spid="29" grpId="0"/>
      <p:bldP spid="30" grpId="0"/>
      <p:bldP spid="32" grpId="0"/>
      <p:bldP spid="33" grpId="0"/>
      <p:bldP spid="34" grpId="0"/>
      <p:bldP spid="42" grpId="0"/>
      <p:bldP spid="43" grpId="0"/>
      <p:bldP spid="44" grpId="0"/>
      <p:bldP spid="46" grpId="0"/>
      <p:bldP spid="47" grpId="0" animBg="1"/>
      <p:bldP spid="48" grpId="0" animBg="1"/>
      <p:bldP spid="49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feld 17"/>
          <p:cNvSpPr txBox="1"/>
          <p:nvPr/>
        </p:nvSpPr>
        <p:spPr>
          <a:xfrm>
            <a:off x="446912" y="362627"/>
            <a:ext cx="55411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tr-TR" sz="2000" dirty="0">
                <a:solidFill>
                  <a:schemeClr val="accent1"/>
                </a:solidFill>
                <a:latin typeface="Century Gothic" panose="020B0502020202020204" pitchFamily="34" charset="0"/>
              </a:rPr>
              <a:t>Dijital Odak Alanları </a:t>
            </a:r>
          </a:p>
        </p:txBody>
      </p:sp>
      <p:sp>
        <p:nvSpPr>
          <p:cNvPr id="17" name="Freeform 176">
            <a:extLst>
              <a:ext uri="{FF2B5EF4-FFF2-40B4-BE49-F238E27FC236}">
                <a16:creationId xmlns:a16="http://schemas.microsoft.com/office/drawing/2014/main" id="{C702AC72-4D4D-0D42-9812-3DF5F3835268}"/>
              </a:ext>
            </a:extLst>
          </p:cNvPr>
          <p:cNvSpPr>
            <a:spLocks/>
          </p:cNvSpPr>
          <p:nvPr/>
        </p:nvSpPr>
        <p:spPr bwMode="auto">
          <a:xfrm>
            <a:off x="1588" y="3605172"/>
            <a:ext cx="1081045" cy="197141"/>
          </a:xfrm>
          <a:custGeom>
            <a:avLst/>
            <a:gdLst>
              <a:gd name="T0" fmla="*/ 0 w 284"/>
              <a:gd name="T1" fmla="*/ 0 h 52"/>
              <a:gd name="T2" fmla="*/ 284 w 284"/>
              <a:gd name="T3" fmla="*/ 0 h 52"/>
              <a:gd name="T4" fmla="*/ 258 w 284"/>
              <a:gd name="T5" fmla="*/ 26 h 52"/>
              <a:gd name="T6" fmla="*/ 284 w 284"/>
              <a:gd name="T7" fmla="*/ 52 h 52"/>
              <a:gd name="T8" fmla="*/ 0 w 284"/>
              <a:gd name="T9" fmla="*/ 52 h 52"/>
              <a:gd name="T10" fmla="*/ 0 w 284"/>
              <a:gd name="T11" fmla="*/ 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84" h="52">
                <a:moveTo>
                  <a:pt x="0" y="0"/>
                </a:moveTo>
                <a:cubicBezTo>
                  <a:pt x="284" y="0"/>
                  <a:pt x="284" y="0"/>
                  <a:pt x="284" y="0"/>
                </a:cubicBezTo>
                <a:cubicBezTo>
                  <a:pt x="270" y="0"/>
                  <a:pt x="258" y="11"/>
                  <a:pt x="258" y="26"/>
                </a:cubicBezTo>
                <a:cubicBezTo>
                  <a:pt x="258" y="41"/>
                  <a:pt x="270" y="52"/>
                  <a:pt x="284" y="52"/>
                </a:cubicBezTo>
                <a:cubicBezTo>
                  <a:pt x="0" y="52"/>
                  <a:pt x="0" y="52"/>
                  <a:pt x="0" y="52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tr-TR" sz="900" dirty="0"/>
          </a:p>
        </p:txBody>
      </p:sp>
      <p:sp>
        <p:nvSpPr>
          <p:cNvPr id="18" name="Freeform 177">
            <a:extLst>
              <a:ext uri="{FF2B5EF4-FFF2-40B4-BE49-F238E27FC236}">
                <a16:creationId xmlns:a16="http://schemas.microsoft.com/office/drawing/2014/main" id="{56612294-CE45-A346-AB48-CF1C439A081B}"/>
              </a:ext>
            </a:extLst>
          </p:cNvPr>
          <p:cNvSpPr>
            <a:spLocks/>
          </p:cNvSpPr>
          <p:nvPr/>
        </p:nvSpPr>
        <p:spPr bwMode="auto">
          <a:xfrm>
            <a:off x="11115831" y="3605172"/>
            <a:ext cx="1071350" cy="197141"/>
          </a:xfrm>
          <a:custGeom>
            <a:avLst/>
            <a:gdLst>
              <a:gd name="T0" fmla="*/ 281 w 281"/>
              <a:gd name="T1" fmla="*/ 0 h 52"/>
              <a:gd name="T2" fmla="*/ 0 w 281"/>
              <a:gd name="T3" fmla="*/ 0 h 52"/>
              <a:gd name="T4" fmla="*/ 26 w 281"/>
              <a:gd name="T5" fmla="*/ 26 h 52"/>
              <a:gd name="T6" fmla="*/ 0 w 281"/>
              <a:gd name="T7" fmla="*/ 52 h 52"/>
              <a:gd name="T8" fmla="*/ 281 w 281"/>
              <a:gd name="T9" fmla="*/ 52 h 52"/>
              <a:gd name="T10" fmla="*/ 281 w 281"/>
              <a:gd name="T11" fmla="*/ 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81" h="52">
                <a:moveTo>
                  <a:pt x="281" y="0"/>
                </a:moveTo>
                <a:cubicBezTo>
                  <a:pt x="0" y="0"/>
                  <a:pt x="0" y="0"/>
                  <a:pt x="0" y="0"/>
                </a:cubicBezTo>
                <a:cubicBezTo>
                  <a:pt x="14" y="0"/>
                  <a:pt x="26" y="11"/>
                  <a:pt x="26" y="26"/>
                </a:cubicBezTo>
                <a:cubicBezTo>
                  <a:pt x="26" y="41"/>
                  <a:pt x="14" y="52"/>
                  <a:pt x="0" y="52"/>
                </a:cubicBezTo>
                <a:cubicBezTo>
                  <a:pt x="281" y="52"/>
                  <a:pt x="281" y="52"/>
                  <a:pt x="281" y="52"/>
                </a:cubicBezTo>
                <a:lnTo>
                  <a:pt x="281" y="0"/>
                </a:lnTo>
                <a:close/>
              </a:path>
            </a:pathLst>
          </a:cu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tr-TR" sz="900" dirty="0"/>
          </a:p>
        </p:txBody>
      </p:sp>
      <p:sp>
        <p:nvSpPr>
          <p:cNvPr id="21" name="Freeform 206">
            <a:extLst>
              <a:ext uri="{FF2B5EF4-FFF2-40B4-BE49-F238E27FC236}">
                <a16:creationId xmlns:a16="http://schemas.microsoft.com/office/drawing/2014/main" id="{568ED886-095E-E549-864A-D6AA2B930BB6}"/>
              </a:ext>
            </a:extLst>
          </p:cNvPr>
          <p:cNvSpPr>
            <a:spLocks noEditPoints="1"/>
          </p:cNvSpPr>
          <p:nvPr/>
        </p:nvSpPr>
        <p:spPr bwMode="auto">
          <a:xfrm>
            <a:off x="1194131" y="3605172"/>
            <a:ext cx="9815050" cy="197141"/>
          </a:xfrm>
          <a:custGeom>
            <a:avLst/>
            <a:gdLst>
              <a:gd name="T0" fmla="*/ 2551 w 2578"/>
              <a:gd name="T1" fmla="*/ 0 h 52"/>
              <a:gd name="T2" fmla="*/ 26 w 2578"/>
              <a:gd name="T3" fmla="*/ 0 h 52"/>
              <a:gd name="T4" fmla="*/ 0 w 2578"/>
              <a:gd name="T5" fmla="*/ 26 h 52"/>
              <a:gd name="T6" fmla="*/ 26 w 2578"/>
              <a:gd name="T7" fmla="*/ 52 h 52"/>
              <a:gd name="T8" fmla="*/ 2551 w 2578"/>
              <a:gd name="T9" fmla="*/ 52 h 52"/>
              <a:gd name="T10" fmla="*/ 2578 w 2578"/>
              <a:gd name="T11" fmla="*/ 26 h 52"/>
              <a:gd name="T12" fmla="*/ 2551 w 2578"/>
              <a:gd name="T13" fmla="*/ 0 h 52"/>
              <a:gd name="T14" fmla="*/ 181 w 2578"/>
              <a:gd name="T15" fmla="*/ 39 h 52"/>
              <a:gd name="T16" fmla="*/ 168 w 2578"/>
              <a:gd name="T17" fmla="*/ 26 h 52"/>
              <a:gd name="T18" fmla="*/ 181 w 2578"/>
              <a:gd name="T19" fmla="*/ 13 h 52"/>
              <a:gd name="T20" fmla="*/ 194 w 2578"/>
              <a:gd name="T21" fmla="*/ 26 h 52"/>
              <a:gd name="T22" fmla="*/ 181 w 2578"/>
              <a:gd name="T23" fmla="*/ 39 h 52"/>
              <a:gd name="T24" fmla="*/ 558 w 2578"/>
              <a:gd name="T25" fmla="*/ 39 h 52"/>
              <a:gd name="T26" fmla="*/ 545 w 2578"/>
              <a:gd name="T27" fmla="*/ 26 h 52"/>
              <a:gd name="T28" fmla="*/ 558 w 2578"/>
              <a:gd name="T29" fmla="*/ 13 h 52"/>
              <a:gd name="T30" fmla="*/ 571 w 2578"/>
              <a:gd name="T31" fmla="*/ 26 h 52"/>
              <a:gd name="T32" fmla="*/ 558 w 2578"/>
              <a:gd name="T33" fmla="*/ 39 h 52"/>
              <a:gd name="T34" fmla="*/ 1028 w 2578"/>
              <a:gd name="T35" fmla="*/ 39 h 52"/>
              <a:gd name="T36" fmla="*/ 1015 w 2578"/>
              <a:gd name="T37" fmla="*/ 26 h 52"/>
              <a:gd name="T38" fmla="*/ 1028 w 2578"/>
              <a:gd name="T39" fmla="*/ 13 h 52"/>
              <a:gd name="T40" fmla="*/ 1040 w 2578"/>
              <a:gd name="T41" fmla="*/ 26 h 52"/>
              <a:gd name="T42" fmla="*/ 1028 w 2578"/>
              <a:gd name="T43" fmla="*/ 39 h 52"/>
              <a:gd name="T44" fmla="*/ 1398 w 2578"/>
              <a:gd name="T45" fmla="*/ 39 h 52"/>
              <a:gd name="T46" fmla="*/ 1385 w 2578"/>
              <a:gd name="T47" fmla="*/ 26 h 52"/>
              <a:gd name="T48" fmla="*/ 1398 w 2578"/>
              <a:gd name="T49" fmla="*/ 13 h 52"/>
              <a:gd name="T50" fmla="*/ 1410 w 2578"/>
              <a:gd name="T51" fmla="*/ 26 h 52"/>
              <a:gd name="T52" fmla="*/ 1398 w 2578"/>
              <a:gd name="T53" fmla="*/ 39 h 52"/>
              <a:gd name="T54" fmla="*/ 1874 w 2578"/>
              <a:gd name="T55" fmla="*/ 39 h 52"/>
              <a:gd name="T56" fmla="*/ 1861 w 2578"/>
              <a:gd name="T57" fmla="*/ 26 h 52"/>
              <a:gd name="T58" fmla="*/ 1874 w 2578"/>
              <a:gd name="T59" fmla="*/ 13 h 52"/>
              <a:gd name="T60" fmla="*/ 1887 w 2578"/>
              <a:gd name="T61" fmla="*/ 26 h 52"/>
              <a:gd name="T62" fmla="*/ 1874 w 2578"/>
              <a:gd name="T63" fmla="*/ 39 h 52"/>
              <a:gd name="T64" fmla="*/ 2237 w 2578"/>
              <a:gd name="T65" fmla="*/ 39 h 52"/>
              <a:gd name="T66" fmla="*/ 2224 w 2578"/>
              <a:gd name="T67" fmla="*/ 26 h 52"/>
              <a:gd name="T68" fmla="*/ 2237 w 2578"/>
              <a:gd name="T69" fmla="*/ 13 h 52"/>
              <a:gd name="T70" fmla="*/ 2250 w 2578"/>
              <a:gd name="T71" fmla="*/ 26 h 52"/>
              <a:gd name="T72" fmla="*/ 2237 w 2578"/>
              <a:gd name="T73" fmla="*/ 39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578" h="52">
                <a:moveTo>
                  <a:pt x="2551" y="0"/>
                </a:moveTo>
                <a:moveTo>
                  <a:pt x="181" y="39"/>
                </a:moveTo>
                <a:moveTo>
                  <a:pt x="558" y="39"/>
                </a:moveTo>
                <a:moveTo>
                  <a:pt x="1028" y="39"/>
                </a:moveTo>
                <a:moveTo>
                  <a:pt x="1398" y="39"/>
                </a:moveTo>
                <a:moveTo>
                  <a:pt x="1874" y="39"/>
                </a:moveTo>
                <a:moveTo>
                  <a:pt x="2237" y="39"/>
                </a:moveTo>
                <a:cubicBezTo>
                  <a:pt x="26" y="0"/>
                  <a:pt x="26" y="0"/>
                  <a:pt x="26" y="0"/>
                </a:cubicBezTo>
                <a:cubicBezTo>
                  <a:pt x="11" y="0"/>
                  <a:pt x="0" y="11"/>
                  <a:pt x="0" y="26"/>
                </a:cubicBezTo>
                <a:cubicBezTo>
                  <a:pt x="0" y="41"/>
                  <a:pt x="11" y="52"/>
                  <a:pt x="26" y="52"/>
                </a:cubicBezTo>
                <a:cubicBezTo>
                  <a:pt x="2551" y="52"/>
                  <a:pt x="2551" y="52"/>
                  <a:pt x="2551" y="52"/>
                </a:cubicBezTo>
                <a:cubicBezTo>
                  <a:pt x="2566" y="52"/>
                  <a:pt x="2578" y="41"/>
                  <a:pt x="2578" y="26"/>
                </a:cubicBezTo>
                <a:cubicBezTo>
                  <a:pt x="2578" y="11"/>
                  <a:pt x="2566" y="0"/>
                  <a:pt x="2551" y="0"/>
                </a:cubicBezTo>
                <a:cubicBezTo>
                  <a:pt x="174" y="39"/>
                  <a:pt x="168" y="33"/>
                  <a:pt x="168" y="26"/>
                </a:cubicBezTo>
                <a:cubicBezTo>
                  <a:pt x="168" y="19"/>
                  <a:pt x="174" y="13"/>
                  <a:pt x="181" y="13"/>
                </a:cubicBezTo>
                <a:cubicBezTo>
                  <a:pt x="188" y="13"/>
                  <a:pt x="194" y="19"/>
                  <a:pt x="194" y="26"/>
                </a:cubicBezTo>
                <a:cubicBezTo>
                  <a:pt x="194" y="33"/>
                  <a:pt x="188" y="39"/>
                  <a:pt x="181" y="39"/>
                </a:cubicBezTo>
                <a:cubicBezTo>
                  <a:pt x="551" y="39"/>
                  <a:pt x="545" y="33"/>
                  <a:pt x="545" y="26"/>
                </a:cubicBezTo>
                <a:cubicBezTo>
                  <a:pt x="545" y="19"/>
                  <a:pt x="551" y="13"/>
                  <a:pt x="558" y="13"/>
                </a:cubicBezTo>
                <a:cubicBezTo>
                  <a:pt x="565" y="13"/>
                  <a:pt x="571" y="19"/>
                  <a:pt x="571" y="26"/>
                </a:cubicBezTo>
                <a:cubicBezTo>
                  <a:pt x="571" y="33"/>
                  <a:pt x="565" y="39"/>
                  <a:pt x="558" y="39"/>
                </a:cubicBezTo>
                <a:cubicBezTo>
                  <a:pt x="1021" y="39"/>
                  <a:pt x="1015" y="33"/>
                  <a:pt x="1015" y="26"/>
                </a:cubicBezTo>
                <a:cubicBezTo>
                  <a:pt x="1015" y="19"/>
                  <a:pt x="1021" y="13"/>
                  <a:pt x="1028" y="13"/>
                </a:cubicBezTo>
                <a:cubicBezTo>
                  <a:pt x="1035" y="13"/>
                  <a:pt x="1040" y="19"/>
                  <a:pt x="1040" y="26"/>
                </a:cubicBezTo>
                <a:cubicBezTo>
                  <a:pt x="1040" y="33"/>
                  <a:pt x="1035" y="39"/>
                  <a:pt x="1028" y="39"/>
                </a:cubicBezTo>
                <a:cubicBezTo>
                  <a:pt x="1391" y="39"/>
                  <a:pt x="1385" y="33"/>
                  <a:pt x="1385" y="26"/>
                </a:cubicBezTo>
                <a:cubicBezTo>
                  <a:pt x="1385" y="19"/>
                  <a:pt x="1391" y="13"/>
                  <a:pt x="1398" y="13"/>
                </a:cubicBezTo>
                <a:cubicBezTo>
                  <a:pt x="1405" y="13"/>
                  <a:pt x="1410" y="19"/>
                  <a:pt x="1410" y="26"/>
                </a:cubicBezTo>
                <a:cubicBezTo>
                  <a:pt x="1410" y="33"/>
                  <a:pt x="1405" y="39"/>
                  <a:pt x="1398" y="39"/>
                </a:cubicBezTo>
                <a:cubicBezTo>
                  <a:pt x="1867" y="39"/>
                  <a:pt x="1861" y="33"/>
                  <a:pt x="1861" y="26"/>
                </a:cubicBezTo>
                <a:cubicBezTo>
                  <a:pt x="1861" y="19"/>
                  <a:pt x="1867" y="13"/>
                  <a:pt x="1874" y="13"/>
                </a:cubicBezTo>
                <a:cubicBezTo>
                  <a:pt x="1881" y="13"/>
                  <a:pt x="1887" y="19"/>
                  <a:pt x="1887" y="26"/>
                </a:cubicBezTo>
                <a:cubicBezTo>
                  <a:pt x="1887" y="33"/>
                  <a:pt x="1881" y="39"/>
                  <a:pt x="1874" y="39"/>
                </a:cubicBezTo>
                <a:cubicBezTo>
                  <a:pt x="2230" y="39"/>
                  <a:pt x="2224" y="33"/>
                  <a:pt x="2224" y="26"/>
                </a:cubicBezTo>
                <a:cubicBezTo>
                  <a:pt x="2224" y="19"/>
                  <a:pt x="2230" y="13"/>
                  <a:pt x="2237" y="13"/>
                </a:cubicBezTo>
                <a:cubicBezTo>
                  <a:pt x="2244" y="13"/>
                  <a:pt x="2250" y="19"/>
                  <a:pt x="2250" y="26"/>
                </a:cubicBezTo>
                <a:cubicBezTo>
                  <a:pt x="2250" y="33"/>
                  <a:pt x="2244" y="39"/>
                  <a:pt x="2237" y="39"/>
                </a:cubicBezTo>
                <a:close/>
                <a:close/>
                <a:close/>
                <a:close/>
                <a:close/>
                <a:close/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tr-TR" sz="900" dirty="0"/>
          </a:p>
        </p:txBody>
      </p:sp>
      <p:sp>
        <p:nvSpPr>
          <p:cNvPr id="27" name="Ellipse 106">
            <a:extLst>
              <a:ext uri="{FF2B5EF4-FFF2-40B4-BE49-F238E27FC236}">
                <a16:creationId xmlns:a16="http://schemas.microsoft.com/office/drawing/2014/main" id="{220DC4AC-BDEF-B64D-ABBD-B131B14D6BB9}"/>
              </a:ext>
            </a:extLst>
          </p:cNvPr>
          <p:cNvSpPr/>
          <p:nvPr/>
        </p:nvSpPr>
        <p:spPr>
          <a:xfrm>
            <a:off x="1837095" y="3549865"/>
            <a:ext cx="357492" cy="359961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100" dirty="0">
                <a:solidFill>
                  <a:schemeClr val="tx1"/>
                </a:solidFill>
              </a:rPr>
              <a:t>01</a:t>
            </a:r>
          </a:p>
        </p:txBody>
      </p:sp>
      <p:sp>
        <p:nvSpPr>
          <p:cNvPr id="28" name="Shape 610">
            <a:extLst>
              <a:ext uri="{FF2B5EF4-FFF2-40B4-BE49-F238E27FC236}">
                <a16:creationId xmlns:a16="http://schemas.microsoft.com/office/drawing/2014/main" id="{74D52934-8DE7-354E-A288-BE9ED7174B28}"/>
              </a:ext>
            </a:extLst>
          </p:cNvPr>
          <p:cNvSpPr/>
          <p:nvPr/>
        </p:nvSpPr>
        <p:spPr>
          <a:xfrm>
            <a:off x="1097381" y="4221565"/>
            <a:ext cx="1836921" cy="400091"/>
          </a:xfrm>
          <a:prstGeom prst="rect">
            <a:avLst/>
          </a:prstGeom>
          <a:noFill/>
          <a:ln>
            <a:noFill/>
          </a:ln>
          <a:effectLst/>
        </p:spPr>
        <p:txBody>
          <a:bodyPr lIns="91412" tIns="45700" rIns="91412" bIns="45700" anchor="t" anchorCtr="0">
            <a:noAutofit/>
          </a:bodyPr>
          <a:lstStyle/>
          <a:p>
            <a:pPr algn="ctr">
              <a:lnSpc>
                <a:spcPct val="130000"/>
              </a:lnSpc>
              <a:buSzPct val="25000"/>
            </a:pPr>
            <a:r>
              <a:rPr lang="tr-TR" sz="1501" dirty="0">
                <a:ea typeface="Roboto"/>
                <a:cs typeface="Roboto"/>
                <a:sym typeface="Roboto"/>
              </a:rPr>
              <a:t>STRATEJİ</a:t>
            </a:r>
          </a:p>
        </p:txBody>
      </p:sp>
      <p:sp>
        <p:nvSpPr>
          <p:cNvPr id="29" name="Shape 603">
            <a:extLst>
              <a:ext uri="{FF2B5EF4-FFF2-40B4-BE49-F238E27FC236}">
                <a16:creationId xmlns:a16="http://schemas.microsoft.com/office/drawing/2014/main" id="{0527B59A-AD8F-2443-B16A-F68785255604}"/>
              </a:ext>
            </a:extLst>
          </p:cNvPr>
          <p:cNvSpPr/>
          <p:nvPr/>
        </p:nvSpPr>
        <p:spPr>
          <a:xfrm>
            <a:off x="1097381" y="4683464"/>
            <a:ext cx="1947310" cy="767827"/>
          </a:xfrm>
          <a:prstGeom prst="rect">
            <a:avLst/>
          </a:prstGeom>
          <a:noFill/>
          <a:ln>
            <a:noFill/>
          </a:ln>
          <a:effectLst/>
        </p:spPr>
        <p:txBody>
          <a:bodyPr lIns="91412" tIns="45700" rIns="91412" bIns="45700" anchor="t" anchorCtr="0">
            <a:noAutofit/>
          </a:bodyPr>
          <a:lstStyle/>
          <a:p>
            <a:pPr lvl="1"/>
            <a:r>
              <a:rPr lang="tr-TR" sz="10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Mevcut İş Stratejilerinin ve Dijital Stratejilerin Analizi</a:t>
            </a:r>
          </a:p>
        </p:txBody>
      </p:sp>
      <p:sp>
        <p:nvSpPr>
          <p:cNvPr id="41" name="Ellipse 114">
            <a:extLst>
              <a:ext uri="{FF2B5EF4-FFF2-40B4-BE49-F238E27FC236}">
                <a16:creationId xmlns:a16="http://schemas.microsoft.com/office/drawing/2014/main" id="{3131B2D6-310D-6240-B07B-53BCE6351DDF}"/>
              </a:ext>
            </a:extLst>
          </p:cNvPr>
          <p:cNvSpPr/>
          <p:nvPr/>
        </p:nvSpPr>
        <p:spPr>
          <a:xfrm>
            <a:off x="3156235" y="3549865"/>
            <a:ext cx="357492" cy="359961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100" dirty="0">
                <a:solidFill>
                  <a:schemeClr val="tx1"/>
                </a:solidFill>
              </a:rPr>
              <a:t>02</a:t>
            </a:r>
          </a:p>
        </p:txBody>
      </p:sp>
      <p:sp>
        <p:nvSpPr>
          <p:cNvPr id="47" name="Ellipse 120">
            <a:extLst>
              <a:ext uri="{FF2B5EF4-FFF2-40B4-BE49-F238E27FC236}">
                <a16:creationId xmlns:a16="http://schemas.microsoft.com/office/drawing/2014/main" id="{CD8A3BF4-656F-E641-AD88-47069E7CE03D}"/>
              </a:ext>
            </a:extLst>
          </p:cNvPr>
          <p:cNvSpPr/>
          <p:nvPr/>
        </p:nvSpPr>
        <p:spPr>
          <a:xfrm>
            <a:off x="4926041" y="3549865"/>
            <a:ext cx="357492" cy="359961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100" dirty="0">
                <a:solidFill>
                  <a:schemeClr val="tx1"/>
                </a:solidFill>
              </a:rPr>
              <a:t>04</a:t>
            </a:r>
          </a:p>
        </p:txBody>
      </p:sp>
      <p:sp>
        <p:nvSpPr>
          <p:cNvPr id="53" name="Ellipse 126">
            <a:extLst>
              <a:ext uri="{FF2B5EF4-FFF2-40B4-BE49-F238E27FC236}">
                <a16:creationId xmlns:a16="http://schemas.microsoft.com/office/drawing/2014/main" id="{F95503DD-3CA2-A848-B288-243A6931FAD4}"/>
              </a:ext>
            </a:extLst>
          </p:cNvPr>
          <p:cNvSpPr/>
          <p:nvPr/>
        </p:nvSpPr>
        <p:spPr>
          <a:xfrm>
            <a:off x="6361513" y="3549865"/>
            <a:ext cx="357492" cy="359961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100" dirty="0">
                <a:solidFill>
                  <a:schemeClr val="tx1"/>
                </a:solidFill>
              </a:rPr>
              <a:t>05</a:t>
            </a:r>
          </a:p>
        </p:txBody>
      </p:sp>
      <p:sp>
        <p:nvSpPr>
          <p:cNvPr id="59" name="Ellipse 132">
            <a:extLst>
              <a:ext uri="{FF2B5EF4-FFF2-40B4-BE49-F238E27FC236}">
                <a16:creationId xmlns:a16="http://schemas.microsoft.com/office/drawing/2014/main" id="{B58D4ACD-5B24-004D-94C2-924165F65507}"/>
              </a:ext>
            </a:extLst>
          </p:cNvPr>
          <p:cNvSpPr/>
          <p:nvPr/>
        </p:nvSpPr>
        <p:spPr>
          <a:xfrm>
            <a:off x="8143845" y="3549865"/>
            <a:ext cx="357492" cy="359961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100" dirty="0">
                <a:solidFill>
                  <a:schemeClr val="tx1"/>
                </a:solidFill>
              </a:rPr>
              <a:t>07</a:t>
            </a:r>
          </a:p>
        </p:txBody>
      </p:sp>
      <p:sp>
        <p:nvSpPr>
          <p:cNvPr id="65" name="Ellipse 138">
            <a:extLst>
              <a:ext uri="{FF2B5EF4-FFF2-40B4-BE49-F238E27FC236}">
                <a16:creationId xmlns:a16="http://schemas.microsoft.com/office/drawing/2014/main" id="{0AD2C45A-2105-314C-8F41-4C2C5EB657A9}"/>
              </a:ext>
            </a:extLst>
          </p:cNvPr>
          <p:cNvSpPr/>
          <p:nvPr/>
        </p:nvSpPr>
        <p:spPr>
          <a:xfrm>
            <a:off x="9522928" y="3549865"/>
            <a:ext cx="357492" cy="359961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100" dirty="0">
                <a:solidFill>
                  <a:schemeClr val="tx1"/>
                </a:solidFill>
              </a:rPr>
              <a:t>08</a:t>
            </a:r>
          </a:p>
        </p:txBody>
      </p:sp>
      <p:sp>
        <p:nvSpPr>
          <p:cNvPr id="66" name="Shape 610">
            <a:extLst>
              <a:ext uri="{FF2B5EF4-FFF2-40B4-BE49-F238E27FC236}">
                <a16:creationId xmlns:a16="http://schemas.microsoft.com/office/drawing/2014/main" id="{5087783B-7B97-DA48-8589-FA95FB0EFD2B}"/>
              </a:ext>
            </a:extLst>
          </p:cNvPr>
          <p:cNvSpPr/>
          <p:nvPr/>
        </p:nvSpPr>
        <p:spPr>
          <a:xfrm>
            <a:off x="3318679" y="4249348"/>
            <a:ext cx="1836921" cy="400091"/>
          </a:xfrm>
          <a:prstGeom prst="rect">
            <a:avLst/>
          </a:prstGeom>
          <a:noFill/>
          <a:ln>
            <a:noFill/>
          </a:ln>
          <a:effectLst/>
        </p:spPr>
        <p:txBody>
          <a:bodyPr lIns="91412" tIns="45700" rIns="91412" bIns="45700" anchor="t" anchorCtr="0">
            <a:noAutofit/>
          </a:bodyPr>
          <a:lstStyle/>
          <a:p>
            <a:pPr algn="ctr">
              <a:lnSpc>
                <a:spcPct val="130000"/>
              </a:lnSpc>
              <a:buSzPct val="25000"/>
            </a:pPr>
            <a:r>
              <a:rPr lang="tr-TR" sz="1501" dirty="0">
                <a:ea typeface="Roboto"/>
                <a:cs typeface="Roboto"/>
                <a:sym typeface="Roboto"/>
              </a:rPr>
              <a:t>SÜREÇ</a:t>
            </a:r>
          </a:p>
        </p:txBody>
      </p:sp>
      <p:sp>
        <p:nvSpPr>
          <p:cNvPr id="67" name="Shape 603">
            <a:extLst>
              <a:ext uri="{FF2B5EF4-FFF2-40B4-BE49-F238E27FC236}">
                <a16:creationId xmlns:a16="http://schemas.microsoft.com/office/drawing/2014/main" id="{1AC14DA8-96C0-2841-ABA7-954ED2569A65}"/>
              </a:ext>
            </a:extLst>
          </p:cNvPr>
          <p:cNvSpPr/>
          <p:nvPr/>
        </p:nvSpPr>
        <p:spPr>
          <a:xfrm>
            <a:off x="3318679" y="4711248"/>
            <a:ext cx="1833652" cy="476338"/>
          </a:xfrm>
          <a:prstGeom prst="rect">
            <a:avLst/>
          </a:prstGeom>
          <a:noFill/>
          <a:ln>
            <a:noFill/>
          </a:ln>
          <a:effectLst/>
        </p:spPr>
        <p:txBody>
          <a:bodyPr lIns="91412" tIns="45700" rIns="91412" bIns="45700" anchor="t" anchorCtr="0">
            <a:noAutofit/>
          </a:bodyPr>
          <a:lstStyle/>
          <a:p>
            <a:pPr lvl="1"/>
            <a:r>
              <a:rPr lang="tr-TR" sz="10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İş Modeli ve İş Süreçleri Analizi</a:t>
            </a:r>
          </a:p>
        </p:txBody>
      </p:sp>
      <p:sp>
        <p:nvSpPr>
          <p:cNvPr id="68" name="Shape 610">
            <a:extLst>
              <a:ext uri="{FF2B5EF4-FFF2-40B4-BE49-F238E27FC236}">
                <a16:creationId xmlns:a16="http://schemas.microsoft.com/office/drawing/2014/main" id="{00A261C8-1109-9B4D-AA0C-E9EEE3274EB5}"/>
              </a:ext>
            </a:extLst>
          </p:cNvPr>
          <p:cNvSpPr/>
          <p:nvPr/>
        </p:nvSpPr>
        <p:spPr>
          <a:xfrm>
            <a:off x="7424673" y="4221565"/>
            <a:ext cx="1836921" cy="400091"/>
          </a:xfrm>
          <a:prstGeom prst="rect">
            <a:avLst/>
          </a:prstGeom>
          <a:noFill/>
          <a:ln>
            <a:noFill/>
          </a:ln>
          <a:effectLst/>
        </p:spPr>
        <p:txBody>
          <a:bodyPr lIns="91412" tIns="45700" rIns="91412" bIns="45700" anchor="t" anchorCtr="0">
            <a:noAutofit/>
          </a:bodyPr>
          <a:lstStyle/>
          <a:p>
            <a:pPr algn="ctr">
              <a:lnSpc>
                <a:spcPct val="130000"/>
              </a:lnSpc>
              <a:buSzPct val="25000"/>
            </a:pPr>
            <a:r>
              <a:rPr lang="tr-TR" sz="1501" dirty="0">
                <a:ea typeface="Roboto"/>
                <a:cs typeface="Roboto"/>
                <a:sym typeface="Roboto"/>
              </a:rPr>
              <a:t>CX</a:t>
            </a:r>
          </a:p>
        </p:txBody>
      </p:sp>
      <p:sp>
        <p:nvSpPr>
          <p:cNvPr id="69" name="Shape 603">
            <a:extLst>
              <a:ext uri="{FF2B5EF4-FFF2-40B4-BE49-F238E27FC236}">
                <a16:creationId xmlns:a16="http://schemas.microsoft.com/office/drawing/2014/main" id="{54147C60-3F8B-1440-9D61-8811C357E742}"/>
              </a:ext>
            </a:extLst>
          </p:cNvPr>
          <p:cNvSpPr/>
          <p:nvPr/>
        </p:nvSpPr>
        <p:spPr>
          <a:xfrm>
            <a:off x="7424673" y="4683465"/>
            <a:ext cx="1833652" cy="476338"/>
          </a:xfrm>
          <a:prstGeom prst="rect">
            <a:avLst/>
          </a:prstGeom>
          <a:noFill/>
          <a:ln>
            <a:noFill/>
          </a:ln>
          <a:effectLst/>
        </p:spPr>
        <p:txBody>
          <a:bodyPr lIns="91412" tIns="45700" rIns="91412" bIns="45700" anchor="t" anchorCtr="0">
            <a:noAutofit/>
          </a:bodyPr>
          <a:lstStyle/>
          <a:p>
            <a:pPr lvl="1"/>
            <a:r>
              <a:rPr lang="tr-TR" sz="10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Müşteri Deneyimi (CX) Analizi</a:t>
            </a:r>
          </a:p>
        </p:txBody>
      </p:sp>
      <p:sp>
        <p:nvSpPr>
          <p:cNvPr id="70" name="Shape 603">
            <a:extLst>
              <a:ext uri="{FF2B5EF4-FFF2-40B4-BE49-F238E27FC236}">
                <a16:creationId xmlns:a16="http://schemas.microsoft.com/office/drawing/2014/main" id="{7F3AF134-4F1A-E94B-93E9-A83B63104EEE}"/>
              </a:ext>
            </a:extLst>
          </p:cNvPr>
          <p:cNvSpPr/>
          <p:nvPr/>
        </p:nvSpPr>
        <p:spPr>
          <a:xfrm>
            <a:off x="2403488" y="2102510"/>
            <a:ext cx="1833652" cy="476338"/>
          </a:xfrm>
          <a:prstGeom prst="rect">
            <a:avLst/>
          </a:prstGeom>
          <a:noFill/>
          <a:ln>
            <a:noFill/>
          </a:ln>
          <a:effectLst/>
        </p:spPr>
        <p:txBody>
          <a:bodyPr lIns="91412" tIns="45700" rIns="91412" bIns="45700" anchor="t" anchorCtr="0">
            <a:noAutofit/>
          </a:bodyPr>
          <a:lstStyle/>
          <a:p>
            <a:pPr lvl="1"/>
            <a:r>
              <a:rPr lang="tr-TR" sz="10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Dijital İş Gücü, Dijital Gelir, Ürün ve Hizmet Analizi</a:t>
            </a:r>
          </a:p>
        </p:txBody>
      </p:sp>
      <p:sp>
        <p:nvSpPr>
          <p:cNvPr id="71" name="Shape 610">
            <a:extLst>
              <a:ext uri="{FF2B5EF4-FFF2-40B4-BE49-F238E27FC236}">
                <a16:creationId xmlns:a16="http://schemas.microsoft.com/office/drawing/2014/main" id="{7F1A0816-5FE5-1648-B7C1-9EC6B194F213}"/>
              </a:ext>
            </a:extLst>
          </p:cNvPr>
          <p:cNvSpPr/>
          <p:nvPr/>
        </p:nvSpPr>
        <p:spPr>
          <a:xfrm>
            <a:off x="2194588" y="2834225"/>
            <a:ext cx="2045822" cy="400091"/>
          </a:xfrm>
          <a:prstGeom prst="rect">
            <a:avLst/>
          </a:prstGeom>
          <a:noFill/>
          <a:ln>
            <a:noFill/>
          </a:ln>
          <a:effectLst/>
        </p:spPr>
        <p:txBody>
          <a:bodyPr lIns="91412" tIns="45700" rIns="91412" bIns="45700" anchor="t" anchorCtr="0">
            <a:noAutofit/>
          </a:bodyPr>
          <a:lstStyle/>
          <a:p>
            <a:pPr algn="ctr">
              <a:lnSpc>
                <a:spcPct val="130000"/>
              </a:lnSpc>
              <a:buSzPct val="25000"/>
            </a:pPr>
            <a:r>
              <a:rPr lang="tr-TR" sz="1501" dirty="0">
                <a:ea typeface="Roboto"/>
                <a:cs typeface="Roboto"/>
                <a:sym typeface="Roboto"/>
              </a:rPr>
              <a:t>DİJİTAL</a:t>
            </a:r>
          </a:p>
        </p:txBody>
      </p:sp>
      <p:sp>
        <p:nvSpPr>
          <p:cNvPr id="72" name="Shape 603">
            <a:extLst>
              <a:ext uri="{FF2B5EF4-FFF2-40B4-BE49-F238E27FC236}">
                <a16:creationId xmlns:a16="http://schemas.microsoft.com/office/drawing/2014/main" id="{37AF9744-1E1B-E741-90B9-E8F46EE42419}"/>
              </a:ext>
            </a:extLst>
          </p:cNvPr>
          <p:cNvSpPr/>
          <p:nvPr/>
        </p:nvSpPr>
        <p:spPr>
          <a:xfrm>
            <a:off x="6362574" y="2130837"/>
            <a:ext cx="1833652" cy="476338"/>
          </a:xfrm>
          <a:prstGeom prst="rect">
            <a:avLst/>
          </a:prstGeom>
          <a:noFill/>
          <a:ln>
            <a:noFill/>
          </a:ln>
          <a:effectLst/>
        </p:spPr>
        <p:txBody>
          <a:bodyPr lIns="91412" tIns="45700" rIns="91412" bIns="45700" anchor="t" anchorCtr="0">
            <a:noAutofit/>
          </a:bodyPr>
          <a:lstStyle/>
          <a:p>
            <a:pPr lvl="1"/>
            <a:r>
              <a:rPr lang="tr-TR" sz="10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Liderlik ve Yönetişim Analizi</a:t>
            </a:r>
          </a:p>
        </p:txBody>
      </p:sp>
      <p:sp>
        <p:nvSpPr>
          <p:cNvPr id="73" name="Shape 610">
            <a:extLst>
              <a:ext uri="{FF2B5EF4-FFF2-40B4-BE49-F238E27FC236}">
                <a16:creationId xmlns:a16="http://schemas.microsoft.com/office/drawing/2014/main" id="{A31C58D5-3F37-8845-9ED4-C68BAF5710B0}"/>
              </a:ext>
            </a:extLst>
          </p:cNvPr>
          <p:cNvSpPr/>
          <p:nvPr/>
        </p:nvSpPr>
        <p:spPr>
          <a:xfrm>
            <a:off x="6438620" y="2835063"/>
            <a:ext cx="1836921" cy="400091"/>
          </a:xfrm>
          <a:prstGeom prst="rect">
            <a:avLst/>
          </a:prstGeom>
          <a:noFill/>
          <a:ln>
            <a:noFill/>
          </a:ln>
          <a:effectLst/>
        </p:spPr>
        <p:txBody>
          <a:bodyPr lIns="91412" tIns="45700" rIns="91412" bIns="45700" anchor="t" anchorCtr="0">
            <a:noAutofit/>
          </a:bodyPr>
          <a:lstStyle/>
          <a:p>
            <a:pPr algn="ctr">
              <a:lnSpc>
                <a:spcPct val="130000"/>
              </a:lnSpc>
              <a:buSzPct val="25000"/>
            </a:pPr>
            <a:r>
              <a:rPr lang="tr-TR" sz="1501" dirty="0">
                <a:ea typeface="Roboto"/>
                <a:cs typeface="Roboto"/>
                <a:sym typeface="Roboto"/>
              </a:rPr>
              <a:t>LİDERLİK</a:t>
            </a:r>
          </a:p>
        </p:txBody>
      </p:sp>
      <p:sp>
        <p:nvSpPr>
          <p:cNvPr id="74" name="Shape 603">
            <a:extLst>
              <a:ext uri="{FF2B5EF4-FFF2-40B4-BE49-F238E27FC236}">
                <a16:creationId xmlns:a16="http://schemas.microsoft.com/office/drawing/2014/main" id="{884B8FFC-0364-534B-852C-2C2C7BAECDCD}"/>
              </a:ext>
            </a:extLst>
          </p:cNvPr>
          <p:cNvSpPr/>
          <p:nvPr/>
        </p:nvSpPr>
        <p:spPr>
          <a:xfrm>
            <a:off x="8764420" y="2102510"/>
            <a:ext cx="1833652" cy="723638"/>
          </a:xfrm>
          <a:prstGeom prst="rect">
            <a:avLst/>
          </a:prstGeom>
          <a:noFill/>
          <a:ln>
            <a:noFill/>
          </a:ln>
          <a:effectLst/>
        </p:spPr>
        <p:txBody>
          <a:bodyPr lIns="91412" tIns="45700" rIns="91412" bIns="45700" anchor="t" anchorCtr="0">
            <a:noAutofit/>
          </a:bodyPr>
          <a:lstStyle/>
          <a:p>
            <a:pPr>
              <a:lnSpc>
                <a:spcPct val="130000"/>
              </a:lnSpc>
              <a:buSzPct val="25000"/>
            </a:pPr>
            <a:r>
              <a:rPr lang="tr-TR" sz="1000" dirty="0">
                <a:solidFill>
                  <a:schemeClr val="accent2">
                    <a:lumMod val="75000"/>
                  </a:schemeClr>
                </a:solidFill>
                <a:ea typeface="Roboto"/>
                <a:cs typeface="Roboto"/>
                <a:sym typeface="Roboto"/>
              </a:rPr>
              <a:t>Organizasyon </a:t>
            </a:r>
            <a:r>
              <a:rPr lang="tr-TR" sz="1000" dirty="0" err="1">
                <a:solidFill>
                  <a:schemeClr val="accent2">
                    <a:lumMod val="75000"/>
                  </a:schemeClr>
                </a:solidFill>
                <a:ea typeface="Roboto"/>
                <a:cs typeface="Roboto"/>
                <a:sym typeface="Roboto"/>
              </a:rPr>
              <a:t>innovasyon</a:t>
            </a:r>
            <a:r>
              <a:rPr lang="tr-TR" sz="1000" dirty="0">
                <a:solidFill>
                  <a:schemeClr val="accent2">
                    <a:lumMod val="75000"/>
                  </a:schemeClr>
                </a:solidFill>
                <a:ea typeface="Roboto"/>
                <a:cs typeface="Roboto"/>
                <a:sym typeface="Roboto"/>
              </a:rPr>
              <a:t> kültürü ve değişim yönetimi etki analizleri</a:t>
            </a:r>
          </a:p>
        </p:txBody>
      </p:sp>
      <p:sp>
        <p:nvSpPr>
          <p:cNvPr id="75" name="Shape 610">
            <a:extLst>
              <a:ext uri="{FF2B5EF4-FFF2-40B4-BE49-F238E27FC236}">
                <a16:creationId xmlns:a16="http://schemas.microsoft.com/office/drawing/2014/main" id="{D1A6547B-3FAB-2340-8330-0E59C7B6345E}"/>
              </a:ext>
            </a:extLst>
          </p:cNvPr>
          <p:cNvSpPr/>
          <p:nvPr/>
        </p:nvSpPr>
        <p:spPr>
          <a:xfrm>
            <a:off x="8764420" y="2819937"/>
            <a:ext cx="1836921" cy="400091"/>
          </a:xfrm>
          <a:prstGeom prst="rect">
            <a:avLst/>
          </a:prstGeom>
          <a:noFill/>
          <a:ln>
            <a:noFill/>
          </a:ln>
          <a:effectLst/>
        </p:spPr>
        <p:txBody>
          <a:bodyPr lIns="91412" tIns="45700" rIns="91412" bIns="45700" anchor="t" anchorCtr="0">
            <a:noAutofit/>
          </a:bodyPr>
          <a:lstStyle/>
          <a:p>
            <a:pPr algn="ctr">
              <a:lnSpc>
                <a:spcPct val="130000"/>
              </a:lnSpc>
              <a:buSzPct val="25000"/>
            </a:pPr>
            <a:r>
              <a:rPr lang="tr-TR" sz="1501" dirty="0">
                <a:ea typeface="Roboto"/>
                <a:cs typeface="Roboto"/>
                <a:sym typeface="Roboto"/>
              </a:rPr>
              <a:t>KÜLTÜR</a:t>
            </a:r>
          </a:p>
        </p:txBody>
      </p:sp>
      <p:sp>
        <p:nvSpPr>
          <p:cNvPr id="91" name="Shape 603">
            <a:extLst>
              <a:ext uri="{FF2B5EF4-FFF2-40B4-BE49-F238E27FC236}">
                <a16:creationId xmlns:a16="http://schemas.microsoft.com/office/drawing/2014/main" id="{9BAF0F46-D1CA-8748-8447-2FC5D0B69996}"/>
              </a:ext>
            </a:extLst>
          </p:cNvPr>
          <p:cNvSpPr/>
          <p:nvPr/>
        </p:nvSpPr>
        <p:spPr>
          <a:xfrm>
            <a:off x="4263965" y="2086962"/>
            <a:ext cx="1935141" cy="476338"/>
          </a:xfrm>
          <a:prstGeom prst="rect">
            <a:avLst/>
          </a:prstGeom>
          <a:noFill/>
          <a:ln>
            <a:noFill/>
          </a:ln>
          <a:effectLst/>
        </p:spPr>
        <p:txBody>
          <a:bodyPr lIns="91412" tIns="45700" rIns="91412" bIns="45700" anchor="t" anchorCtr="0">
            <a:noAutofit/>
          </a:bodyPr>
          <a:lstStyle/>
          <a:p>
            <a:pPr lvl="1"/>
            <a:r>
              <a:rPr lang="tr-TR" sz="10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Organizasyonun Mevcut ve Hedef Yetkinliklerinin Analizi</a:t>
            </a:r>
          </a:p>
        </p:txBody>
      </p:sp>
      <p:sp>
        <p:nvSpPr>
          <p:cNvPr id="92" name="Shape 610">
            <a:extLst>
              <a:ext uri="{FF2B5EF4-FFF2-40B4-BE49-F238E27FC236}">
                <a16:creationId xmlns:a16="http://schemas.microsoft.com/office/drawing/2014/main" id="{45997BAA-C7CD-B64B-B2F9-5340CA61B5F7}"/>
              </a:ext>
            </a:extLst>
          </p:cNvPr>
          <p:cNvSpPr/>
          <p:nvPr/>
        </p:nvSpPr>
        <p:spPr>
          <a:xfrm>
            <a:off x="4228669" y="2816989"/>
            <a:ext cx="2045822" cy="400091"/>
          </a:xfrm>
          <a:prstGeom prst="rect">
            <a:avLst/>
          </a:prstGeom>
          <a:noFill/>
          <a:ln>
            <a:noFill/>
          </a:ln>
          <a:effectLst/>
        </p:spPr>
        <p:txBody>
          <a:bodyPr lIns="91412" tIns="45700" rIns="91412" bIns="45700" anchor="t" anchorCtr="0">
            <a:noAutofit/>
          </a:bodyPr>
          <a:lstStyle/>
          <a:p>
            <a:pPr algn="ctr">
              <a:lnSpc>
                <a:spcPct val="130000"/>
              </a:lnSpc>
              <a:buSzPct val="25000"/>
            </a:pPr>
            <a:r>
              <a:rPr lang="tr-TR" sz="1501" dirty="0">
                <a:ea typeface="Roboto"/>
                <a:cs typeface="Roboto"/>
                <a:sym typeface="Roboto"/>
              </a:rPr>
              <a:t>YETKİNLİK</a:t>
            </a:r>
          </a:p>
        </p:txBody>
      </p:sp>
      <p:sp>
        <p:nvSpPr>
          <p:cNvPr id="93" name="Shape 610">
            <a:extLst>
              <a:ext uri="{FF2B5EF4-FFF2-40B4-BE49-F238E27FC236}">
                <a16:creationId xmlns:a16="http://schemas.microsoft.com/office/drawing/2014/main" id="{10A97A19-88E4-434F-AFFA-BC56D20AF4BA}"/>
              </a:ext>
            </a:extLst>
          </p:cNvPr>
          <p:cNvSpPr/>
          <p:nvPr/>
        </p:nvSpPr>
        <p:spPr>
          <a:xfrm>
            <a:off x="5591021" y="4257030"/>
            <a:ext cx="1836921" cy="400091"/>
          </a:xfrm>
          <a:prstGeom prst="rect">
            <a:avLst/>
          </a:prstGeom>
          <a:noFill/>
          <a:ln>
            <a:noFill/>
          </a:ln>
          <a:effectLst/>
        </p:spPr>
        <p:txBody>
          <a:bodyPr lIns="91412" tIns="45700" rIns="91412" bIns="45700" anchor="t" anchorCtr="0">
            <a:noAutofit/>
          </a:bodyPr>
          <a:lstStyle/>
          <a:p>
            <a:pPr algn="ctr">
              <a:lnSpc>
                <a:spcPct val="130000"/>
              </a:lnSpc>
              <a:buSzPct val="25000"/>
            </a:pPr>
            <a:r>
              <a:rPr lang="tr-TR" sz="1501" dirty="0">
                <a:ea typeface="Roboto"/>
                <a:cs typeface="Roboto"/>
                <a:sym typeface="Roboto"/>
              </a:rPr>
              <a:t>TEKNOLOJİ</a:t>
            </a:r>
          </a:p>
        </p:txBody>
      </p:sp>
      <p:sp>
        <p:nvSpPr>
          <p:cNvPr id="94" name="Shape 603">
            <a:extLst>
              <a:ext uri="{FF2B5EF4-FFF2-40B4-BE49-F238E27FC236}">
                <a16:creationId xmlns:a16="http://schemas.microsoft.com/office/drawing/2014/main" id="{E6D8DE90-5415-B94E-B60C-DC837DE1CED0}"/>
              </a:ext>
            </a:extLst>
          </p:cNvPr>
          <p:cNvSpPr/>
          <p:nvPr/>
        </p:nvSpPr>
        <p:spPr>
          <a:xfrm>
            <a:off x="5591020" y="4718930"/>
            <a:ext cx="2068101" cy="767826"/>
          </a:xfrm>
          <a:prstGeom prst="rect">
            <a:avLst/>
          </a:prstGeom>
          <a:noFill/>
          <a:ln>
            <a:noFill/>
          </a:ln>
          <a:effectLst/>
        </p:spPr>
        <p:txBody>
          <a:bodyPr lIns="91412" tIns="45700" rIns="91412" bIns="45700" anchor="t" anchorCtr="0">
            <a:noAutofit/>
          </a:bodyPr>
          <a:lstStyle/>
          <a:p>
            <a:pPr>
              <a:lnSpc>
                <a:spcPct val="130000"/>
              </a:lnSpc>
              <a:buSzPct val="25000"/>
            </a:pPr>
            <a:r>
              <a:rPr lang="tr-TR" sz="1000" dirty="0">
                <a:solidFill>
                  <a:schemeClr val="accent2">
                    <a:lumMod val="75000"/>
                  </a:schemeClr>
                </a:solidFill>
                <a:ea typeface="Roboto"/>
                <a:cs typeface="Roboto"/>
                <a:sym typeface="Roboto"/>
              </a:rPr>
              <a:t>Teknoloji süreçlerinin, sağlanan hizmetler ve mevcut teknik altyapı ile yönetişim analizi</a:t>
            </a:r>
          </a:p>
        </p:txBody>
      </p:sp>
      <p:sp>
        <p:nvSpPr>
          <p:cNvPr id="95" name="Shape 610">
            <a:extLst>
              <a:ext uri="{FF2B5EF4-FFF2-40B4-BE49-F238E27FC236}">
                <a16:creationId xmlns:a16="http://schemas.microsoft.com/office/drawing/2014/main" id="{2982A47D-FE39-324A-BD86-50E165C7C202}"/>
              </a:ext>
            </a:extLst>
          </p:cNvPr>
          <p:cNvSpPr/>
          <p:nvPr/>
        </p:nvSpPr>
        <p:spPr>
          <a:xfrm>
            <a:off x="9880420" y="4267065"/>
            <a:ext cx="1836921" cy="400091"/>
          </a:xfrm>
          <a:prstGeom prst="rect">
            <a:avLst/>
          </a:prstGeom>
          <a:noFill/>
          <a:ln>
            <a:noFill/>
          </a:ln>
          <a:effectLst/>
        </p:spPr>
        <p:txBody>
          <a:bodyPr lIns="91412" tIns="45700" rIns="91412" bIns="45700" anchor="t" anchorCtr="0">
            <a:noAutofit/>
          </a:bodyPr>
          <a:lstStyle/>
          <a:p>
            <a:pPr algn="ctr">
              <a:lnSpc>
                <a:spcPct val="130000"/>
              </a:lnSpc>
              <a:buSzPct val="25000"/>
            </a:pPr>
            <a:r>
              <a:rPr lang="tr-TR" sz="1501" dirty="0">
                <a:ea typeface="Roboto"/>
                <a:cs typeface="Roboto"/>
                <a:sym typeface="Roboto"/>
              </a:rPr>
              <a:t>EKOSİSTEM</a:t>
            </a:r>
          </a:p>
        </p:txBody>
      </p:sp>
      <p:sp>
        <p:nvSpPr>
          <p:cNvPr id="96" name="Shape 603">
            <a:extLst>
              <a:ext uri="{FF2B5EF4-FFF2-40B4-BE49-F238E27FC236}">
                <a16:creationId xmlns:a16="http://schemas.microsoft.com/office/drawing/2014/main" id="{29A5D180-3EF2-4B42-89A9-40E9C98039C2}"/>
              </a:ext>
            </a:extLst>
          </p:cNvPr>
          <p:cNvSpPr/>
          <p:nvPr/>
        </p:nvSpPr>
        <p:spPr>
          <a:xfrm>
            <a:off x="9880420" y="4728965"/>
            <a:ext cx="2068100" cy="476338"/>
          </a:xfrm>
          <a:prstGeom prst="rect">
            <a:avLst/>
          </a:prstGeom>
          <a:noFill/>
          <a:ln>
            <a:noFill/>
          </a:ln>
          <a:effectLst/>
        </p:spPr>
        <p:txBody>
          <a:bodyPr lIns="91412" tIns="45700" rIns="91412" bIns="45700" anchor="t" anchorCtr="0">
            <a:noAutofit/>
          </a:bodyPr>
          <a:lstStyle/>
          <a:p>
            <a:pPr>
              <a:lnSpc>
                <a:spcPct val="130000"/>
              </a:lnSpc>
              <a:buSzPct val="25000"/>
            </a:pPr>
            <a:r>
              <a:rPr lang="tr-TR" sz="1000" dirty="0">
                <a:solidFill>
                  <a:schemeClr val="accent2">
                    <a:lumMod val="75000"/>
                  </a:schemeClr>
                </a:solidFill>
                <a:ea typeface="Roboto"/>
                <a:cs typeface="Roboto"/>
                <a:sym typeface="Roboto"/>
              </a:rPr>
              <a:t>Pazarın, iş ortaklarının, rakiplerin ve endüstri standartlarının analizi</a:t>
            </a:r>
          </a:p>
        </p:txBody>
      </p:sp>
      <p:sp>
        <p:nvSpPr>
          <p:cNvPr id="97" name="Ellipse 120">
            <a:extLst>
              <a:ext uri="{FF2B5EF4-FFF2-40B4-BE49-F238E27FC236}">
                <a16:creationId xmlns:a16="http://schemas.microsoft.com/office/drawing/2014/main" id="{E7BB0E82-F751-5948-BA7F-DF3ADFF74CE0}"/>
              </a:ext>
            </a:extLst>
          </p:cNvPr>
          <p:cNvSpPr/>
          <p:nvPr/>
        </p:nvSpPr>
        <p:spPr>
          <a:xfrm>
            <a:off x="4049923" y="3561750"/>
            <a:ext cx="357492" cy="359961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100" dirty="0">
                <a:solidFill>
                  <a:schemeClr val="tx1"/>
                </a:solidFill>
              </a:rPr>
              <a:t>03</a:t>
            </a:r>
          </a:p>
        </p:txBody>
      </p:sp>
      <p:sp>
        <p:nvSpPr>
          <p:cNvPr id="98" name="Ellipse 120">
            <a:extLst>
              <a:ext uri="{FF2B5EF4-FFF2-40B4-BE49-F238E27FC236}">
                <a16:creationId xmlns:a16="http://schemas.microsoft.com/office/drawing/2014/main" id="{8E6F489A-9B5E-D04F-95FB-EFCB02E1F866}"/>
              </a:ext>
            </a:extLst>
          </p:cNvPr>
          <p:cNvSpPr/>
          <p:nvPr/>
        </p:nvSpPr>
        <p:spPr>
          <a:xfrm>
            <a:off x="7234510" y="3574186"/>
            <a:ext cx="357492" cy="359961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100" dirty="0">
                <a:solidFill>
                  <a:schemeClr val="tx1"/>
                </a:solidFill>
              </a:rPr>
              <a:t>06</a:t>
            </a:r>
          </a:p>
        </p:txBody>
      </p:sp>
      <p:sp>
        <p:nvSpPr>
          <p:cNvPr id="99" name="Ellipse 120">
            <a:extLst>
              <a:ext uri="{FF2B5EF4-FFF2-40B4-BE49-F238E27FC236}">
                <a16:creationId xmlns:a16="http://schemas.microsoft.com/office/drawing/2014/main" id="{7C266982-1EFD-0248-BC21-F454F4D76A63}"/>
              </a:ext>
            </a:extLst>
          </p:cNvPr>
          <p:cNvSpPr/>
          <p:nvPr/>
        </p:nvSpPr>
        <p:spPr>
          <a:xfrm>
            <a:off x="10614943" y="3538396"/>
            <a:ext cx="357492" cy="359961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100" dirty="0">
                <a:solidFill>
                  <a:schemeClr val="tx1"/>
                </a:solidFill>
              </a:rPr>
              <a:t>09</a:t>
            </a:r>
          </a:p>
        </p:txBody>
      </p:sp>
      <p:grpSp>
        <p:nvGrpSpPr>
          <p:cNvPr id="22" name="Gruppieren 101">
            <a:extLst>
              <a:ext uri="{FF2B5EF4-FFF2-40B4-BE49-F238E27FC236}">
                <a16:creationId xmlns:a16="http://schemas.microsoft.com/office/drawing/2014/main" id="{32DCFC0C-FEAC-F241-A2E0-635F1558DC65}"/>
              </a:ext>
            </a:extLst>
          </p:cNvPr>
          <p:cNvGrpSpPr/>
          <p:nvPr/>
        </p:nvGrpSpPr>
        <p:grpSpPr>
          <a:xfrm>
            <a:off x="1672506" y="3380991"/>
            <a:ext cx="684526" cy="685068"/>
            <a:chOff x="2865368" y="6078656"/>
            <a:chExt cx="2321990" cy="2323830"/>
          </a:xfrm>
        </p:grpSpPr>
        <p:sp>
          <p:nvSpPr>
            <p:cNvPr id="23" name="Shape 3506">
              <a:extLst>
                <a:ext uri="{FF2B5EF4-FFF2-40B4-BE49-F238E27FC236}">
                  <a16:creationId xmlns:a16="http://schemas.microsoft.com/office/drawing/2014/main" id="{591E11DD-BA7E-184F-8985-A09F4F0FC492}"/>
                </a:ext>
              </a:extLst>
            </p:cNvPr>
            <p:cNvSpPr/>
            <p:nvPr/>
          </p:nvSpPr>
          <p:spPr>
            <a:xfrm rot="11840417">
              <a:off x="2865368" y="6080794"/>
              <a:ext cx="2321691" cy="2321692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lIns="45713" tIns="22850" rIns="45713" bIns="22850" anchor="ctr" anchorCtr="0">
              <a:noAutofit/>
            </a:bodyPr>
            <a:lstStyle/>
            <a:p>
              <a:pPr algn="ctr"/>
              <a:endParaRPr lang="tr-TR" dirty="0">
                <a:solidFill>
                  <a:schemeClr val="bg2">
                    <a:lumMod val="50000"/>
                  </a:schemeClr>
                </a:solidFill>
                <a:ea typeface="Lato"/>
                <a:cs typeface="Lato"/>
                <a:sym typeface="Lato"/>
              </a:endParaRPr>
            </a:p>
          </p:txBody>
        </p:sp>
        <p:grpSp>
          <p:nvGrpSpPr>
            <p:cNvPr id="24" name="Gruppieren 103">
              <a:extLst>
                <a:ext uri="{FF2B5EF4-FFF2-40B4-BE49-F238E27FC236}">
                  <a16:creationId xmlns:a16="http://schemas.microsoft.com/office/drawing/2014/main" id="{BCEF1121-4F45-2B4F-8E74-57057FFC77E1}"/>
                </a:ext>
              </a:extLst>
            </p:cNvPr>
            <p:cNvGrpSpPr/>
            <p:nvPr/>
          </p:nvGrpSpPr>
          <p:grpSpPr>
            <a:xfrm>
              <a:off x="2880272" y="6078656"/>
              <a:ext cx="2307086" cy="2306493"/>
              <a:chOff x="2880272" y="6078656"/>
              <a:chExt cx="2307086" cy="2306493"/>
            </a:xfrm>
          </p:grpSpPr>
          <p:sp>
            <p:nvSpPr>
              <p:cNvPr id="25" name="Shape 3507">
                <a:extLst>
                  <a:ext uri="{FF2B5EF4-FFF2-40B4-BE49-F238E27FC236}">
                    <a16:creationId xmlns:a16="http://schemas.microsoft.com/office/drawing/2014/main" id="{CEC597D0-DE9A-E443-9A5D-E6530F6B61AE}"/>
                  </a:ext>
                </a:extLst>
              </p:cNvPr>
              <p:cNvSpPr/>
              <p:nvPr/>
            </p:nvSpPr>
            <p:spPr>
              <a:xfrm rot="5422425">
                <a:off x="2880568" y="6078360"/>
                <a:ext cx="2306493" cy="2307086"/>
              </a:xfrm>
              <a:prstGeom prst="pie">
                <a:avLst>
                  <a:gd name="adj1" fmla="val 10766470"/>
                  <a:gd name="adj2" fmla="val 6573054"/>
                </a:avLst>
              </a:prstGeom>
              <a:solidFill>
                <a:schemeClr val="accent1"/>
              </a:solidFill>
              <a:ln>
                <a:noFill/>
              </a:ln>
              <a:effectLst>
                <a:outerShdw blurRad="38100" dist="38100" algn="ctr" rotWithShape="0">
                  <a:srgbClr val="000000">
                    <a:alpha val="23000"/>
                  </a:srgbClr>
                </a:outerShdw>
              </a:effectLst>
            </p:spPr>
            <p:txBody>
              <a:bodyPr lIns="45713" tIns="22850" rIns="45713" bIns="22850" anchor="ctr" anchorCtr="0">
                <a:noAutofit/>
              </a:bodyPr>
              <a:lstStyle/>
              <a:p>
                <a:pPr algn="ctr"/>
                <a:endParaRPr lang="tr-TR" dirty="0">
                  <a:solidFill>
                    <a:schemeClr val="bg2">
                      <a:lumMod val="50000"/>
                    </a:schemeClr>
                  </a:solidFill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" name="Shape 3508">
                <a:extLst>
                  <a:ext uri="{FF2B5EF4-FFF2-40B4-BE49-F238E27FC236}">
                    <a16:creationId xmlns:a16="http://schemas.microsoft.com/office/drawing/2014/main" id="{3FD7C573-9204-4343-817D-54F5B978E55A}"/>
                  </a:ext>
                </a:extLst>
              </p:cNvPr>
              <p:cNvSpPr/>
              <p:nvPr/>
            </p:nvSpPr>
            <p:spPr>
              <a:xfrm rot="5422425">
                <a:off x="3051642" y="6276091"/>
                <a:ext cx="1949143" cy="1949142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lIns="45713" tIns="22850" rIns="45713" bIns="22850" anchor="ctr" anchorCtr="0">
                <a:noAutofit/>
              </a:bodyPr>
              <a:lstStyle/>
              <a:p>
                <a:pPr algn="ctr"/>
                <a:endParaRPr lang="tr-TR" dirty="0">
                  <a:solidFill>
                    <a:schemeClr val="bg2">
                      <a:lumMod val="50000"/>
                    </a:schemeClr>
                  </a:solidFill>
                  <a:ea typeface="Lato"/>
                  <a:cs typeface="Lato"/>
                  <a:sym typeface="Lato"/>
                </a:endParaRPr>
              </a:p>
            </p:txBody>
          </p:sp>
        </p:grpSp>
      </p:grpSp>
      <p:grpSp>
        <p:nvGrpSpPr>
          <p:cNvPr id="30" name="Gruppieren 109">
            <a:extLst>
              <a:ext uri="{FF2B5EF4-FFF2-40B4-BE49-F238E27FC236}">
                <a16:creationId xmlns:a16="http://schemas.microsoft.com/office/drawing/2014/main" id="{25FBB0EF-EF33-7646-98EA-14E32229083E}"/>
              </a:ext>
            </a:extLst>
          </p:cNvPr>
          <p:cNvGrpSpPr/>
          <p:nvPr/>
        </p:nvGrpSpPr>
        <p:grpSpPr>
          <a:xfrm>
            <a:off x="2991646" y="3380991"/>
            <a:ext cx="684526" cy="685068"/>
            <a:chOff x="2865368" y="6078656"/>
            <a:chExt cx="2321990" cy="2323830"/>
          </a:xfrm>
        </p:grpSpPr>
        <p:sp>
          <p:nvSpPr>
            <p:cNvPr id="31" name="Shape 3506">
              <a:extLst>
                <a:ext uri="{FF2B5EF4-FFF2-40B4-BE49-F238E27FC236}">
                  <a16:creationId xmlns:a16="http://schemas.microsoft.com/office/drawing/2014/main" id="{1E4A6FDD-31EB-3742-9559-917D0254EB4E}"/>
                </a:ext>
              </a:extLst>
            </p:cNvPr>
            <p:cNvSpPr/>
            <p:nvPr/>
          </p:nvSpPr>
          <p:spPr>
            <a:xfrm rot="11840417">
              <a:off x="2865368" y="6080794"/>
              <a:ext cx="2321691" cy="2321692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lIns="45713" tIns="22850" rIns="45713" bIns="22850" anchor="ctr" anchorCtr="0">
              <a:noAutofit/>
            </a:bodyPr>
            <a:lstStyle/>
            <a:p>
              <a:pPr algn="ctr"/>
              <a:endParaRPr lang="tr-TR" dirty="0">
                <a:solidFill>
                  <a:schemeClr val="bg2">
                    <a:lumMod val="50000"/>
                  </a:schemeClr>
                </a:solidFill>
                <a:ea typeface="Lato"/>
                <a:cs typeface="Lato"/>
                <a:sym typeface="Lato"/>
              </a:endParaRPr>
            </a:p>
          </p:txBody>
        </p:sp>
        <p:grpSp>
          <p:nvGrpSpPr>
            <p:cNvPr id="32" name="Gruppieren 111">
              <a:extLst>
                <a:ext uri="{FF2B5EF4-FFF2-40B4-BE49-F238E27FC236}">
                  <a16:creationId xmlns:a16="http://schemas.microsoft.com/office/drawing/2014/main" id="{DED8ECBC-B026-4F47-A2BE-F6B20C164BDA}"/>
                </a:ext>
              </a:extLst>
            </p:cNvPr>
            <p:cNvGrpSpPr/>
            <p:nvPr/>
          </p:nvGrpSpPr>
          <p:grpSpPr>
            <a:xfrm>
              <a:off x="2880272" y="6078656"/>
              <a:ext cx="2307086" cy="2306493"/>
              <a:chOff x="2880272" y="6078656"/>
              <a:chExt cx="2307086" cy="2306493"/>
            </a:xfrm>
          </p:grpSpPr>
          <p:sp>
            <p:nvSpPr>
              <p:cNvPr id="33" name="Shape 3507">
                <a:extLst>
                  <a:ext uri="{FF2B5EF4-FFF2-40B4-BE49-F238E27FC236}">
                    <a16:creationId xmlns:a16="http://schemas.microsoft.com/office/drawing/2014/main" id="{3F160242-369E-8E49-8FDD-3969F3B658A2}"/>
                  </a:ext>
                </a:extLst>
              </p:cNvPr>
              <p:cNvSpPr/>
              <p:nvPr/>
            </p:nvSpPr>
            <p:spPr>
              <a:xfrm rot="5422425">
                <a:off x="2880568" y="6078360"/>
                <a:ext cx="2306493" cy="2307086"/>
              </a:xfrm>
              <a:prstGeom prst="pie">
                <a:avLst>
                  <a:gd name="adj1" fmla="val 10766470"/>
                  <a:gd name="adj2" fmla="val 6573054"/>
                </a:avLst>
              </a:prstGeom>
              <a:solidFill>
                <a:schemeClr val="accent1"/>
              </a:solidFill>
              <a:ln>
                <a:noFill/>
              </a:ln>
              <a:effectLst>
                <a:outerShdw blurRad="38100" dist="38100" algn="ctr" rotWithShape="0">
                  <a:srgbClr val="000000">
                    <a:alpha val="23000"/>
                  </a:srgbClr>
                </a:outerShdw>
              </a:effectLst>
            </p:spPr>
            <p:txBody>
              <a:bodyPr lIns="45713" tIns="22850" rIns="45713" bIns="22850" anchor="ctr" anchorCtr="0">
                <a:noAutofit/>
              </a:bodyPr>
              <a:lstStyle/>
              <a:p>
                <a:pPr algn="ctr"/>
                <a:endParaRPr lang="tr-TR" dirty="0">
                  <a:solidFill>
                    <a:schemeClr val="bg2">
                      <a:lumMod val="50000"/>
                    </a:schemeClr>
                  </a:solidFill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" name="Shape 3508">
                <a:extLst>
                  <a:ext uri="{FF2B5EF4-FFF2-40B4-BE49-F238E27FC236}">
                    <a16:creationId xmlns:a16="http://schemas.microsoft.com/office/drawing/2014/main" id="{39F9A152-0552-8C45-B533-09B6D26199EC}"/>
                  </a:ext>
                </a:extLst>
              </p:cNvPr>
              <p:cNvSpPr/>
              <p:nvPr/>
            </p:nvSpPr>
            <p:spPr>
              <a:xfrm rot="5422425">
                <a:off x="3051642" y="6276091"/>
                <a:ext cx="1949143" cy="1949142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lIns="45713" tIns="22850" rIns="45713" bIns="22850" anchor="ctr" anchorCtr="0">
                <a:noAutofit/>
              </a:bodyPr>
              <a:lstStyle/>
              <a:p>
                <a:pPr algn="ctr"/>
                <a:endParaRPr lang="tr-TR" dirty="0">
                  <a:solidFill>
                    <a:schemeClr val="bg2">
                      <a:lumMod val="50000"/>
                    </a:schemeClr>
                  </a:solidFill>
                  <a:ea typeface="Lato"/>
                  <a:cs typeface="Lato"/>
                  <a:sym typeface="Lato"/>
                </a:endParaRPr>
              </a:p>
            </p:txBody>
          </p:sp>
        </p:grpSp>
      </p:grpSp>
      <p:grpSp>
        <p:nvGrpSpPr>
          <p:cNvPr id="42" name="Gruppieren 115">
            <a:extLst>
              <a:ext uri="{FF2B5EF4-FFF2-40B4-BE49-F238E27FC236}">
                <a16:creationId xmlns:a16="http://schemas.microsoft.com/office/drawing/2014/main" id="{46FD4FB9-E696-2E49-9D8F-F9D6706206C4}"/>
              </a:ext>
            </a:extLst>
          </p:cNvPr>
          <p:cNvGrpSpPr/>
          <p:nvPr/>
        </p:nvGrpSpPr>
        <p:grpSpPr>
          <a:xfrm>
            <a:off x="4761452" y="3380991"/>
            <a:ext cx="684526" cy="685068"/>
            <a:chOff x="2865368" y="6078656"/>
            <a:chExt cx="2321990" cy="2323830"/>
          </a:xfrm>
        </p:grpSpPr>
        <p:sp>
          <p:nvSpPr>
            <p:cNvPr id="43" name="Shape 3506">
              <a:extLst>
                <a:ext uri="{FF2B5EF4-FFF2-40B4-BE49-F238E27FC236}">
                  <a16:creationId xmlns:a16="http://schemas.microsoft.com/office/drawing/2014/main" id="{4A612FF7-3331-7140-9C15-C4F490A024ED}"/>
                </a:ext>
              </a:extLst>
            </p:cNvPr>
            <p:cNvSpPr/>
            <p:nvPr/>
          </p:nvSpPr>
          <p:spPr>
            <a:xfrm rot="11840417">
              <a:off x="2865368" y="6080794"/>
              <a:ext cx="2321691" cy="2321692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lIns="45713" tIns="22850" rIns="45713" bIns="22850" anchor="ctr" anchorCtr="0">
              <a:noAutofit/>
            </a:bodyPr>
            <a:lstStyle/>
            <a:p>
              <a:pPr algn="ctr"/>
              <a:endParaRPr lang="tr-TR" dirty="0">
                <a:solidFill>
                  <a:schemeClr val="bg2">
                    <a:lumMod val="50000"/>
                  </a:schemeClr>
                </a:solidFill>
                <a:ea typeface="Lato"/>
                <a:cs typeface="Lato"/>
                <a:sym typeface="Lato"/>
              </a:endParaRPr>
            </a:p>
          </p:txBody>
        </p:sp>
        <p:grpSp>
          <p:nvGrpSpPr>
            <p:cNvPr id="44" name="Gruppieren 117">
              <a:extLst>
                <a:ext uri="{FF2B5EF4-FFF2-40B4-BE49-F238E27FC236}">
                  <a16:creationId xmlns:a16="http://schemas.microsoft.com/office/drawing/2014/main" id="{80DDF0EE-D541-E841-9650-3F930DE86D3F}"/>
                </a:ext>
              </a:extLst>
            </p:cNvPr>
            <p:cNvGrpSpPr/>
            <p:nvPr/>
          </p:nvGrpSpPr>
          <p:grpSpPr>
            <a:xfrm>
              <a:off x="2880272" y="6078656"/>
              <a:ext cx="2307086" cy="2306493"/>
              <a:chOff x="2880272" y="6078656"/>
              <a:chExt cx="2307086" cy="2306493"/>
            </a:xfrm>
          </p:grpSpPr>
          <p:sp>
            <p:nvSpPr>
              <p:cNvPr id="45" name="Shape 3507">
                <a:extLst>
                  <a:ext uri="{FF2B5EF4-FFF2-40B4-BE49-F238E27FC236}">
                    <a16:creationId xmlns:a16="http://schemas.microsoft.com/office/drawing/2014/main" id="{95213247-5D5F-A343-A66E-90CDC6D70E78}"/>
                  </a:ext>
                </a:extLst>
              </p:cNvPr>
              <p:cNvSpPr/>
              <p:nvPr/>
            </p:nvSpPr>
            <p:spPr>
              <a:xfrm rot="5422425">
                <a:off x="2880568" y="6078360"/>
                <a:ext cx="2306493" cy="2307086"/>
              </a:xfrm>
              <a:prstGeom prst="pie">
                <a:avLst>
                  <a:gd name="adj1" fmla="val 10766470"/>
                  <a:gd name="adj2" fmla="val 6573054"/>
                </a:avLst>
              </a:prstGeom>
              <a:solidFill>
                <a:schemeClr val="accent1"/>
              </a:solidFill>
              <a:ln>
                <a:noFill/>
              </a:ln>
              <a:effectLst>
                <a:outerShdw blurRad="38100" dist="38100" algn="ctr" rotWithShape="0">
                  <a:srgbClr val="000000">
                    <a:alpha val="23000"/>
                  </a:srgbClr>
                </a:outerShdw>
              </a:effectLst>
            </p:spPr>
            <p:txBody>
              <a:bodyPr lIns="45713" tIns="22850" rIns="45713" bIns="22850" anchor="ctr" anchorCtr="0">
                <a:noAutofit/>
              </a:bodyPr>
              <a:lstStyle/>
              <a:p>
                <a:pPr algn="ctr"/>
                <a:endParaRPr lang="tr-TR" dirty="0">
                  <a:solidFill>
                    <a:schemeClr val="bg2">
                      <a:lumMod val="50000"/>
                    </a:schemeClr>
                  </a:solidFill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" name="Shape 3508">
                <a:extLst>
                  <a:ext uri="{FF2B5EF4-FFF2-40B4-BE49-F238E27FC236}">
                    <a16:creationId xmlns:a16="http://schemas.microsoft.com/office/drawing/2014/main" id="{B2C231E6-48B4-DE4D-8AE5-3AD8A369ADD5}"/>
                  </a:ext>
                </a:extLst>
              </p:cNvPr>
              <p:cNvSpPr/>
              <p:nvPr/>
            </p:nvSpPr>
            <p:spPr>
              <a:xfrm rot="5422425">
                <a:off x="3051642" y="6276091"/>
                <a:ext cx="1949143" cy="1949142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lIns="45713" tIns="22850" rIns="45713" bIns="22850" anchor="ctr" anchorCtr="0">
                <a:noAutofit/>
              </a:bodyPr>
              <a:lstStyle/>
              <a:p>
                <a:pPr algn="ctr"/>
                <a:endParaRPr lang="tr-TR" dirty="0">
                  <a:solidFill>
                    <a:schemeClr val="bg2">
                      <a:lumMod val="50000"/>
                    </a:schemeClr>
                  </a:solidFill>
                  <a:ea typeface="Lato"/>
                  <a:cs typeface="Lato"/>
                  <a:sym typeface="Lato"/>
                </a:endParaRPr>
              </a:p>
            </p:txBody>
          </p:sp>
        </p:grpSp>
      </p:grpSp>
      <p:grpSp>
        <p:nvGrpSpPr>
          <p:cNvPr id="48" name="Gruppieren 121">
            <a:extLst>
              <a:ext uri="{FF2B5EF4-FFF2-40B4-BE49-F238E27FC236}">
                <a16:creationId xmlns:a16="http://schemas.microsoft.com/office/drawing/2014/main" id="{BB264D22-EA63-7A4E-8F35-A334FF0CF6B3}"/>
              </a:ext>
            </a:extLst>
          </p:cNvPr>
          <p:cNvGrpSpPr/>
          <p:nvPr/>
        </p:nvGrpSpPr>
        <p:grpSpPr>
          <a:xfrm>
            <a:off x="6196924" y="3380991"/>
            <a:ext cx="684526" cy="685068"/>
            <a:chOff x="2865368" y="6078656"/>
            <a:chExt cx="2321990" cy="2323830"/>
          </a:xfrm>
        </p:grpSpPr>
        <p:sp>
          <p:nvSpPr>
            <p:cNvPr id="49" name="Shape 3506">
              <a:extLst>
                <a:ext uri="{FF2B5EF4-FFF2-40B4-BE49-F238E27FC236}">
                  <a16:creationId xmlns:a16="http://schemas.microsoft.com/office/drawing/2014/main" id="{E6B45126-FA38-C748-8220-FDD1166324B8}"/>
                </a:ext>
              </a:extLst>
            </p:cNvPr>
            <p:cNvSpPr/>
            <p:nvPr/>
          </p:nvSpPr>
          <p:spPr>
            <a:xfrm rot="11840417">
              <a:off x="2865368" y="6080794"/>
              <a:ext cx="2321691" cy="2321692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lIns="45713" tIns="22850" rIns="45713" bIns="22850" anchor="ctr" anchorCtr="0">
              <a:noAutofit/>
            </a:bodyPr>
            <a:lstStyle/>
            <a:p>
              <a:pPr algn="ctr"/>
              <a:endParaRPr lang="tr-TR" dirty="0">
                <a:solidFill>
                  <a:schemeClr val="bg2">
                    <a:lumMod val="50000"/>
                  </a:schemeClr>
                </a:solidFill>
                <a:ea typeface="Lato"/>
                <a:cs typeface="Lato"/>
                <a:sym typeface="Lato"/>
              </a:endParaRPr>
            </a:p>
          </p:txBody>
        </p:sp>
        <p:grpSp>
          <p:nvGrpSpPr>
            <p:cNvPr id="50" name="Gruppieren 123">
              <a:extLst>
                <a:ext uri="{FF2B5EF4-FFF2-40B4-BE49-F238E27FC236}">
                  <a16:creationId xmlns:a16="http://schemas.microsoft.com/office/drawing/2014/main" id="{52E18795-E1EA-7049-A28B-295827B9134E}"/>
                </a:ext>
              </a:extLst>
            </p:cNvPr>
            <p:cNvGrpSpPr/>
            <p:nvPr/>
          </p:nvGrpSpPr>
          <p:grpSpPr>
            <a:xfrm>
              <a:off x="2880272" y="6078656"/>
              <a:ext cx="2307086" cy="2306493"/>
              <a:chOff x="2880272" y="6078656"/>
              <a:chExt cx="2307086" cy="2306493"/>
            </a:xfrm>
          </p:grpSpPr>
          <p:sp>
            <p:nvSpPr>
              <p:cNvPr id="51" name="Shape 3507">
                <a:extLst>
                  <a:ext uri="{FF2B5EF4-FFF2-40B4-BE49-F238E27FC236}">
                    <a16:creationId xmlns:a16="http://schemas.microsoft.com/office/drawing/2014/main" id="{846215E1-4257-CA43-A077-67F09F44D838}"/>
                  </a:ext>
                </a:extLst>
              </p:cNvPr>
              <p:cNvSpPr/>
              <p:nvPr/>
            </p:nvSpPr>
            <p:spPr>
              <a:xfrm rot="5422425">
                <a:off x="2880568" y="6078360"/>
                <a:ext cx="2306493" cy="2307086"/>
              </a:xfrm>
              <a:prstGeom prst="pie">
                <a:avLst>
                  <a:gd name="adj1" fmla="val 10766470"/>
                  <a:gd name="adj2" fmla="val 6573054"/>
                </a:avLst>
              </a:prstGeom>
              <a:solidFill>
                <a:schemeClr val="accent1"/>
              </a:solidFill>
              <a:ln>
                <a:noFill/>
              </a:ln>
              <a:effectLst>
                <a:outerShdw blurRad="38100" dist="38100" algn="ctr" rotWithShape="0">
                  <a:srgbClr val="000000">
                    <a:alpha val="23000"/>
                  </a:srgbClr>
                </a:outerShdw>
              </a:effectLst>
            </p:spPr>
            <p:txBody>
              <a:bodyPr lIns="45713" tIns="22850" rIns="45713" bIns="22850" anchor="ctr" anchorCtr="0">
                <a:noAutofit/>
              </a:bodyPr>
              <a:lstStyle/>
              <a:p>
                <a:pPr algn="ctr"/>
                <a:endParaRPr lang="tr-TR" dirty="0">
                  <a:solidFill>
                    <a:schemeClr val="bg2">
                      <a:lumMod val="50000"/>
                    </a:schemeClr>
                  </a:solidFill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" name="Shape 3508">
                <a:extLst>
                  <a:ext uri="{FF2B5EF4-FFF2-40B4-BE49-F238E27FC236}">
                    <a16:creationId xmlns:a16="http://schemas.microsoft.com/office/drawing/2014/main" id="{9F545108-1EE9-6A47-BD0F-7935EAC2EFFB}"/>
                  </a:ext>
                </a:extLst>
              </p:cNvPr>
              <p:cNvSpPr/>
              <p:nvPr/>
            </p:nvSpPr>
            <p:spPr>
              <a:xfrm rot="5422425">
                <a:off x="3051642" y="6276091"/>
                <a:ext cx="1949143" cy="1949142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lIns="45713" tIns="22850" rIns="45713" bIns="22850" anchor="ctr" anchorCtr="0">
                <a:noAutofit/>
              </a:bodyPr>
              <a:lstStyle/>
              <a:p>
                <a:pPr algn="ctr"/>
                <a:endParaRPr lang="tr-TR" dirty="0">
                  <a:solidFill>
                    <a:schemeClr val="bg2">
                      <a:lumMod val="50000"/>
                    </a:schemeClr>
                  </a:solidFill>
                  <a:ea typeface="Lato"/>
                  <a:cs typeface="Lato"/>
                  <a:sym typeface="Lato"/>
                </a:endParaRPr>
              </a:p>
            </p:txBody>
          </p:sp>
        </p:grpSp>
      </p:grpSp>
      <p:grpSp>
        <p:nvGrpSpPr>
          <p:cNvPr id="54" name="Gruppieren 127">
            <a:extLst>
              <a:ext uri="{FF2B5EF4-FFF2-40B4-BE49-F238E27FC236}">
                <a16:creationId xmlns:a16="http://schemas.microsoft.com/office/drawing/2014/main" id="{0A9CC75A-FEE3-F04C-9B1A-9234CC6926E0}"/>
              </a:ext>
            </a:extLst>
          </p:cNvPr>
          <p:cNvGrpSpPr/>
          <p:nvPr/>
        </p:nvGrpSpPr>
        <p:grpSpPr>
          <a:xfrm>
            <a:off x="7979256" y="3380991"/>
            <a:ext cx="684526" cy="685068"/>
            <a:chOff x="2865368" y="6078656"/>
            <a:chExt cx="2321990" cy="2323830"/>
          </a:xfrm>
        </p:grpSpPr>
        <p:sp>
          <p:nvSpPr>
            <p:cNvPr id="55" name="Shape 3506">
              <a:extLst>
                <a:ext uri="{FF2B5EF4-FFF2-40B4-BE49-F238E27FC236}">
                  <a16:creationId xmlns:a16="http://schemas.microsoft.com/office/drawing/2014/main" id="{07C17E09-2EC6-A14F-8F46-DE57F4B00B62}"/>
                </a:ext>
              </a:extLst>
            </p:cNvPr>
            <p:cNvSpPr/>
            <p:nvPr/>
          </p:nvSpPr>
          <p:spPr>
            <a:xfrm rot="11840417">
              <a:off x="2865368" y="6080794"/>
              <a:ext cx="2321691" cy="2321692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lIns="45713" tIns="22850" rIns="45713" bIns="22850" anchor="ctr" anchorCtr="0">
              <a:noAutofit/>
            </a:bodyPr>
            <a:lstStyle/>
            <a:p>
              <a:pPr algn="ctr"/>
              <a:endParaRPr lang="tr-TR" dirty="0">
                <a:solidFill>
                  <a:schemeClr val="bg2">
                    <a:lumMod val="50000"/>
                  </a:schemeClr>
                </a:solidFill>
                <a:ea typeface="Lato"/>
                <a:cs typeface="Lato"/>
                <a:sym typeface="Lato"/>
              </a:endParaRPr>
            </a:p>
          </p:txBody>
        </p:sp>
        <p:grpSp>
          <p:nvGrpSpPr>
            <p:cNvPr id="56" name="Gruppieren 129">
              <a:extLst>
                <a:ext uri="{FF2B5EF4-FFF2-40B4-BE49-F238E27FC236}">
                  <a16:creationId xmlns:a16="http://schemas.microsoft.com/office/drawing/2014/main" id="{F2794BC3-3153-B541-8A2D-6C6ACA803277}"/>
                </a:ext>
              </a:extLst>
            </p:cNvPr>
            <p:cNvGrpSpPr/>
            <p:nvPr/>
          </p:nvGrpSpPr>
          <p:grpSpPr>
            <a:xfrm>
              <a:off x="2880272" y="6078656"/>
              <a:ext cx="2307086" cy="2306493"/>
              <a:chOff x="2880272" y="6078656"/>
              <a:chExt cx="2307086" cy="2306493"/>
            </a:xfrm>
          </p:grpSpPr>
          <p:sp>
            <p:nvSpPr>
              <p:cNvPr id="57" name="Shape 3507">
                <a:extLst>
                  <a:ext uri="{FF2B5EF4-FFF2-40B4-BE49-F238E27FC236}">
                    <a16:creationId xmlns:a16="http://schemas.microsoft.com/office/drawing/2014/main" id="{D4121E3E-20C2-3245-8C80-027671475EF0}"/>
                  </a:ext>
                </a:extLst>
              </p:cNvPr>
              <p:cNvSpPr/>
              <p:nvPr/>
            </p:nvSpPr>
            <p:spPr>
              <a:xfrm rot="5422425">
                <a:off x="2880568" y="6078360"/>
                <a:ext cx="2306493" cy="2307086"/>
              </a:xfrm>
              <a:prstGeom prst="pie">
                <a:avLst>
                  <a:gd name="adj1" fmla="val 10766470"/>
                  <a:gd name="adj2" fmla="val 6573054"/>
                </a:avLst>
              </a:prstGeom>
              <a:solidFill>
                <a:schemeClr val="accent1"/>
              </a:solidFill>
              <a:ln>
                <a:noFill/>
              </a:ln>
              <a:effectLst>
                <a:outerShdw blurRad="38100" dist="38100" algn="ctr" rotWithShape="0">
                  <a:srgbClr val="000000">
                    <a:alpha val="23000"/>
                  </a:srgbClr>
                </a:outerShdw>
              </a:effectLst>
            </p:spPr>
            <p:txBody>
              <a:bodyPr lIns="45713" tIns="22850" rIns="45713" bIns="22850" anchor="ctr" anchorCtr="0">
                <a:noAutofit/>
              </a:bodyPr>
              <a:lstStyle/>
              <a:p>
                <a:pPr algn="ctr"/>
                <a:endParaRPr lang="tr-TR" dirty="0">
                  <a:solidFill>
                    <a:schemeClr val="bg2">
                      <a:lumMod val="50000"/>
                    </a:schemeClr>
                  </a:solidFill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8" name="Shape 3508">
                <a:extLst>
                  <a:ext uri="{FF2B5EF4-FFF2-40B4-BE49-F238E27FC236}">
                    <a16:creationId xmlns:a16="http://schemas.microsoft.com/office/drawing/2014/main" id="{9C120195-AC9A-914C-8C3A-9F10D4017E00}"/>
                  </a:ext>
                </a:extLst>
              </p:cNvPr>
              <p:cNvSpPr/>
              <p:nvPr/>
            </p:nvSpPr>
            <p:spPr>
              <a:xfrm rot="5422425">
                <a:off x="3051642" y="6276091"/>
                <a:ext cx="1949143" cy="1949142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lIns="45713" tIns="22850" rIns="45713" bIns="22850" anchor="ctr" anchorCtr="0">
                <a:noAutofit/>
              </a:bodyPr>
              <a:lstStyle/>
              <a:p>
                <a:pPr algn="ctr"/>
                <a:endParaRPr lang="tr-TR" dirty="0">
                  <a:solidFill>
                    <a:schemeClr val="bg2">
                      <a:lumMod val="50000"/>
                    </a:schemeClr>
                  </a:solidFill>
                  <a:ea typeface="Lato"/>
                  <a:cs typeface="Lato"/>
                  <a:sym typeface="Lato"/>
                </a:endParaRPr>
              </a:p>
            </p:txBody>
          </p:sp>
        </p:grpSp>
      </p:grpSp>
      <p:grpSp>
        <p:nvGrpSpPr>
          <p:cNvPr id="60" name="Gruppieren 133">
            <a:extLst>
              <a:ext uri="{FF2B5EF4-FFF2-40B4-BE49-F238E27FC236}">
                <a16:creationId xmlns:a16="http://schemas.microsoft.com/office/drawing/2014/main" id="{76B1DBE0-BB2F-1E4E-990A-0D5ACB0D1777}"/>
              </a:ext>
            </a:extLst>
          </p:cNvPr>
          <p:cNvGrpSpPr/>
          <p:nvPr/>
        </p:nvGrpSpPr>
        <p:grpSpPr>
          <a:xfrm>
            <a:off x="9358339" y="3380991"/>
            <a:ext cx="684526" cy="685068"/>
            <a:chOff x="2865368" y="6078656"/>
            <a:chExt cx="2321990" cy="2323830"/>
          </a:xfrm>
        </p:grpSpPr>
        <p:sp>
          <p:nvSpPr>
            <p:cNvPr id="61" name="Shape 3506">
              <a:extLst>
                <a:ext uri="{FF2B5EF4-FFF2-40B4-BE49-F238E27FC236}">
                  <a16:creationId xmlns:a16="http://schemas.microsoft.com/office/drawing/2014/main" id="{CE8863D6-A545-CF4E-B64A-97D90F3F2397}"/>
                </a:ext>
              </a:extLst>
            </p:cNvPr>
            <p:cNvSpPr/>
            <p:nvPr/>
          </p:nvSpPr>
          <p:spPr>
            <a:xfrm rot="11840417">
              <a:off x="2865368" y="6080794"/>
              <a:ext cx="2321691" cy="2321692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lIns="45713" tIns="22850" rIns="45713" bIns="22850" anchor="ctr" anchorCtr="0">
              <a:noAutofit/>
            </a:bodyPr>
            <a:lstStyle/>
            <a:p>
              <a:pPr algn="ctr"/>
              <a:endParaRPr lang="tr-TR" dirty="0">
                <a:solidFill>
                  <a:schemeClr val="bg2">
                    <a:lumMod val="50000"/>
                  </a:schemeClr>
                </a:solidFill>
                <a:ea typeface="Lato"/>
                <a:cs typeface="Lato"/>
                <a:sym typeface="Lato"/>
              </a:endParaRPr>
            </a:p>
          </p:txBody>
        </p:sp>
        <p:grpSp>
          <p:nvGrpSpPr>
            <p:cNvPr id="62" name="Gruppieren 135">
              <a:extLst>
                <a:ext uri="{FF2B5EF4-FFF2-40B4-BE49-F238E27FC236}">
                  <a16:creationId xmlns:a16="http://schemas.microsoft.com/office/drawing/2014/main" id="{1A875526-8714-3244-A92E-5FC9FBD6911C}"/>
                </a:ext>
              </a:extLst>
            </p:cNvPr>
            <p:cNvGrpSpPr/>
            <p:nvPr/>
          </p:nvGrpSpPr>
          <p:grpSpPr>
            <a:xfrm>
              <a:off x="2880272" y="6078656"/>
              <a:ext cx="2307086" cy="2306493"/>
              <a:chOff x="2880272" y="6078656"/>
              <a:chExt cx="2307086" cy="2306493"/>
            </a:xfrm>
          </p:grpSpPr>
          <p:sp>
            <p:nvSpPr>
              <p:cNvPr id="63" name="Shape 3507">
                <a:extLst>
                  <a:ext uri="{FF2B5EF4-FFF2-40B4-BE49-F238E27FC236}">
                    <a16:creationId xmlns:a16="http://schemas.microsoft.com/office/drawing/2014/main" id="{22229C21-1922-9742-BAF6-36BDE6A12270}"/>
                  </a:ext>
                </a:extLst>
              </p:cNvPr>
              <p:cNvSpPr/>
              <p:nvPr/>
            </p:nvSpPr>
            <p:spPr>
              <a:xfrm rot="5422425">
                <a:off x="2880568" y="6078360"/>
                <a:ext cx="2306493" cy="2307086"/>
              </a:xfrm>
              <a:prstGeom prst="pie">
                <a:avLst>
                  <a:gd name="adj1" fmla="val 10766470"/>
                  <a:gd name="adj2" fmla="val 6573054"/>
                </a:avLst>
              </a:prstGeom>
              <a:solidFill>
                <a:schemeClr val="accent1"/>
              </a:solidFill>
              <a:ln>
                <a:noFill/>
              </a:ln>
              <a:effectLst>
                <a:outerShdw blurRad="38100" dist="38100" algn="ctr" rotWithShape="0">
                  <a:srgbClr val="000000">
                    <a:alpha val="23000"/>
                  </a:srgbClr>
                </a:outerShdw>
              </a:effectLst>
            </p:spPr>
            <p:txBody>
              <a:bodyPr lIns="45713" tIns="22850" rIns="45713" bIns="22850" anchor="ctr" anchorCtr="0">
                <a:noAutofit/>
              </a:bodyPr>
              <a:lstStyle/>
              <a:p>
                <a:pPr algn="ctr"/>
                <a:endParaRPr lang="tr-TR" dirty="0">
                  <a:solidFill>
                    <a:schemeClr val="bg2">
                      <a:lumMod val="50000"/>
                    </a:schemeClr>
                  </a:solidFill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4" name="Shape 3508">
                <a:extLst>
                  <a:ext uri="{FF2B5EF4-FFF2-40B4-BE49-F238E27FC236}">
                    <a16:creationId xmlns:a16="http://schemas.microsoft.com/office/drawing/2014/main" id="{455DB7A9-3C60-FF46-899A-8A48210C5D3F}"/>
                  </a:ext>
                </a:extLst>
              </p:cNvPr>
              <p:cNvSpPr/>
              <p:nvPr/>
            </p:nvSpPr>
            <p:spPr>
              <a:xfrm rot="5422425">
                <a:off x="3051642" y="6276091"/>
                <a:ext cx="1949143" cy="1949142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lIns="45713" tIns="22850" rIns="45713" bIns="22850" anchor="ctr" anchorCtr="0">
                <a:noAutofit/>
              </a:bodyPr>
              <a:lstStyle/>
              <a:p>
                <a:pPr algn="ctr"/>
                <a:endParaRPr lang="tr-TR" dirty="0">
                  <a:solidFill>
                    <a:schemeClr val="bg2">
                      <a:lumMod val="50000"/>
                    </a:schemeClr>
                  </a:solidFill>
                  <a:ea typeface="Lato"/>
                  <a:cs typeface="Lato"/>
                  <a:sym typeface="Lato"/>
                </a:endParaRPr>
              </a:p>
            </p:txBody>
          </p:sp>
        </p:grpSp>
      </p:grpSp>
      <p:grpSp>
        <p:nvGrpSpPr>
          <p:cNvPr id="76" name="Gruppieren 109">
            <a:extLst>
              <a:ext uri="{FF2B5EF4-FFF2-40B4-BE49-F238E27FC236}">
                <a16:creationId xmlns:a16="http://schemas.microsoft.com/office/drawing/2014/main" id="{32A938E3-2881-2047-A8F9-FB623ADB248E}"/>
              </a:ext>
            </a:extLst>
          </p:cNvPr>
          <p:cNvGrpSpPr/>
          <p:nvPr/>
        </p:nvGrpSpPr>
        <p:grpSpPr>
          <a:xfrm>
            <a:off x="3858572" y="3361208"/>
            <a:ext cx="684526" cy="685068"/>
            <a:chOff x="2865368" y="6078656"/>
            <a:chExt cx="2321990" cy="2323830"/>
          </a:xfrm>
        </p:grpSpPr>
        <p:sp>
          <p:nvSpPr>
            <p:cNvPr id="77" name="Shape 3506">
              <a:extLst>
                <a:ext uri="{FF2B5EF4-FFF2-40B4-BE49-F238E27FC236}">
                  <a16:creationId xmlns:a16="http://schemas.microsoft.com/office/drawing/2014/main" id="{D4A48724-AEDC-FD4E-B7FA-6935D6051603}"/>
                </a:ext>
              </a:extLst>
            </p:cNvPr>
            <p:cNvSpPr/>
            <p:nvPr/>
          </p:nvSpPr>
          <p:spPr>
            <a:xfrm rot="11840417">
              <a:off x="2865368" y="6080794"/>
              <a:ext cx="2321691" cy="2321692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lIns="45713" tIns="22850" rIns="45713" bIns="22850" anchor="ctr" anchorCtr="0">
              <a:noAutofit/>
            </a:bodyPr>
            <a:lstStyle/>
            <a:p>
              <a:pPr algn="ctr"/>
              <a:endParaRPr lang="tr-TR" dirty="0">
                <a:solidFill>
                  <a:schemeClr val="bg2">
                    <a:lumMod val="50000"/>
                  </a:schemeClr>
                </a:solidFill>
                <a:ea typeface="Lato"/>
                <a:cs typeface="Lato"/>
                <a:sym typeface="Lato"/>
              </a:endParaRPr>
            </a:p>
          </p:txBody>
        </p:sp>
        <p:grpSp>
          <p:nvGrpSpPr>
            <p:cNvPr id="78" name="Gruppieren 111">
              <a:extLst>
                <a:ext uri="{FF2B5EF4-FFF2-40B4-BE49-F238E27FC236}">
                  <a16:creationId xmlns:a16="http://schemas.microsoft.com/office/drawing/2014/main" id="{541E0E82-FEF4-834C-A691-92983C5BB793}"/>
                </a:ext>
              </a:extLst>
            </p:cNvPr>
            <p:cNvGrpSpPr/>
            <p:nvPr/>
          </p:nvGrpSpPr>
          <p:grpSpPr>
            <a:xfrm>
              <a:off x="2880272" y="6078656"/>
              <a:ext cx="2307086" cy="2306493"/>
              <a:chOff x="2880272" y="6078656"/>
              <a:chExt cx="2307086" cy="2306493"/>
            </a:xfrm>
          </p:grpSpPr>
          <p:sp>
            <p:nvSpPr>
              <p:cNvPr id="79" name="Shape 3507">
                <a:extLst>
                  <a:ext uri="{FF2B5EF4-FFF2-40B4-BE49-F238E27FC236}">
                    <a16:creationId xmlns:a16="http://schemas.microsoft.com/office/drawing/2014/main" id="{2F7AD377-5C62-DA44-837F-5B806736BB95}"/>
                  </a:ext>
                </a:extLst>
              </p:cNvPr>
              <p:cNvSpPr/>
              <p:nvPr/>
            </p:nvSpPr>
            <p:spPr>
              <a:xfrm rot="5422425">
                <a:off x="2880568" y="6078360"/>
                <a:ext cx="2306493" cy="2307086"/>
              </a:xfrm>
              <a:prstGeom prst="pie">
                <a:avLst>
                  <a:gd name="adj1" fmla="val 10766470"/>
                  <a:gd name="adj2" fmla="val 6573054"/>
                </a:avLst>
              </a:prstGeom>
              <a:solidFill>
                <a:schemeClr val="accent1"/>
              </a:solidFill>
              <a:ln>
                <a:noFill/>
              </a:ln>
              <a:effectLst>
                <a:outerShdw blurRad="38100" dist="38100" algn="ctr" rotWithShape="0">
                  <a:srgbClr val="000000">
                    <a:alpha val="23000"/>
                  </a:srgbClr>
                </a:outerShdw>
              </a:effectLst>
            </p:spPr>
            <p:txBody>
              <a:bodyPr lIns="45713" tIns="22850" rIns="45713" bIns="22850" anchor="ctr" anchorCtr="0">
                <a:noAutofit/>
              </a:bodyPr>
              <a:lstStyle/>
              <a:p>
                <a:pPr algn="ctr"/>
                <a:endParaRPr lang="tr-TR" dirty="0">
                  <a:solidFill>
                    <a:schemeClr val="bg2">
                      <a:lumMod val="50000"/>
                    </a:schemeClr>
                  </a:solidFill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Shape 3508">
                <a:extLst>
                  <a:ext uri="{FF2B5EF4-FFF2-40B4-BE49-F238E27FC236}">
                    <a16:creationId xmlns:a16="http://schemas.microsoft.com/office/drawing/2014/main" id="{C3EE51EF-86AA-D14E-97B9-E8A84A46F722}"/>
                  </a:ext>
                </a:extLst>
              </p:cNvPr>
              <p:cNvSpPr/>
              <p:nvPr/>
            </p:nvSpPr>
            <p:spPr>
              <a:xfrm rot="5422425">
                <a:off x="3051642" y="6276091"/>
                <a:ext cx="1949143" cy="1949142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lIns="45713" tIns="22850" rIns="45713" bIns="22850" anchor="ctr" anchorCtr="0">
                <a:noAutofit/>
              </a:bodyPr>
              <a:lstStyle/>
              <a:p>
                <a:pPr algn="ctr"/>
                <a:endParaRPr lang="tr-TR" dirty="0">
                  <a:solidFill>
                    <a:schemeClr val="bg2">
                      <a:lumMod val="50000"/>
                    </a:schemeClr>
                  </a:solidFill>
                  <a:ea typeface="Lato"/>
                  <a:cs typeface="Lato"/>
                  <a:sym typeface="Lato"/>
                </a:endParaRPr>
              </a:p>
            </p:txBody>
          </p:sp>
        </p:grpSp>
      </p:grpSp>
      <p:grpSp>
        <p:nvGrpSpPr>
          <p:cNvPr id="81" name="Gruppieren 109">
            <a:extLst>
              <a:ext uri="{FF2B5EF4-FFF2-40B4-BE49-F238E27FC236}">
                <a16:creationId xmlns:a16="http://schemas.microsoft.com/office/drawing/2014/main" id="{9673C944-EBAA-6D46-A672-81B0D41F87A2}"/>
              </a:ext>
            </a:extLst>
          </p:cNvPr>
          <p:cNvGrpSpPr/>
          <p:nvPr/>
        </p:nvGrpSpPr>
        <p:grpSpPr>
          <a:xfrm>
            <a:off x="7068797" y="3378398"/>
            <a:ext cx="684526" cy="685068"/>
            <a:chOff x="2865368" y="6078656"/>
            <a:chExt cx="2321990" cy="2323830"/>
          </a:xfrm>
        </p:grpSpPr>
        <p:sp>
          <p:nvSpPr>
            <p:cNvPr id="82" name="Shape 3506">
              <a:extLst>
                <a:ext uri="{FF2B5EF4-FFF2-40B4-BE49-F238E27FC236}">
                  <a16:creationId xmlns:a16="http://schemas.microsoft.com/office/drawing/2014/main" id="{F62AF124-E038-264F-9FE9-6EC41C3BDB54}"/>
                </a:ext>
              </a:extLst>
            </p:cNvPr>
            <p:cNvSpPr/>
            <p:nvPr/>
          </p:nvSpPr>
          <p:spPr>
            <a:xfrm rot="11840417">
              <a:off x="2865368" y="6080794"/>
              <a:ext cx="2321691" cy="2321692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lIns="45713" tIns="22850" rIns="45713" bIns="22850" anchor="ctr" anchorCtr="0">
              <a:noAutofit/>
            </a:bodyPr>
            <a:lstStyle/>
            <a:p>
              <a:pPr algn="ctr"/>
              <a:endParaRPr lang="tr-TR" dirty="0">
                <a:solidFill>
                  <a:schemeClr val="bg2">
                    <a:lumMod val="50000"/>
                  </a:schemeClr>
                </a:solidFill>
                <a:ea typeface="Lato"/>
                <a:cs typeface="Lato"/>
                <a:sym typeface="Lato"/>
              </a:endParaRPr>
            </a:p>
          </p:txBody>
        </p:sp>
        <p:grpSp>
          <p:nvGrpSpPr>
            <p:cNvPr id="83" name="Gruppieren 111">
              <a:extLst>
                <a:ext uri="{FF2B5EF4-FFF2-40B4-BE49-F238E27FC236}">
                  <a16:creationId xmlns:a16="http://schemas.microsoft.com/office/drawing/2014/main" id="{7401EF67-1545-9740-8C23-300DECD5CFEE}"/>
                </a:ext>
              </a:extLst>
            </p:cNvPr>
            <p:cNvGrpSpPr/>
            <p:nvPr/>
          </p:nvGrpSpPr>
          <p:grpSpPr>
            <a:xfrm>
              <a:off x="2880272" y="6078656"/>
              <a:ext cx="2307086" cy="2306493"/>
              <a:chOff x="2880272" y="6078656"/>
              <a:chExt cx="2307086" cy="2306493"/>
            </a:xfrm>
          </p:grpSpPr>
          <p:sp>
            <p:nvSpPr>
              <p:cNvPr id="84" name="Shape 3507">
                <a:extLst>
                  <a:ext uri="{FF2B5EF4-FFF2-40B4-BE49-F238E27FC236}">
                    <a16:creationId xmlns:a16="http://schemas.microsoft.com/office/drawing/2014/main" id="{F3693202-EBEB-8144-B0CC-98C28AB28ACC}"/>
                  </a:ext>
                </a:extLst>
              </p:cNvPr>
              <p:cNvSpPr/>
              <p:nvPr/>
            </p:nvSpPr>
            <p:spPr>
              <a:xfrm rot="5422425">
                <a:off x="2880568" y="6078360"/>
                <a:ext cx="2306493" cy="2307086"/>
              </a:xfrm>
              <a:prstGeom prst="pie">
                <a:avLst>
                  <a:gd name="adj1" fmla="val 10766470"/>
                  <a:gd name="adj2" fmla="val 6573054"/>
                </a:avLst>
              </a:prstGeom>
              <a:solidFill>
                <a:schemeClr val="accent1"/>
              </a:solidFill>
              <a:ln>
                <a:noFill/>
              </a:ln>
              <a:effectLst>
                <a:outerShdw blurRad="38100" dist="38100" algn="ctr" rotWithShape="0">
                  <a:srgbClr val="000000">
                    <a:alpha val="23000"/>
                  </a:srgbClr>
                </a:outerShdw>
              </a:effectLst>
            </p:spPr>
            <p:txBody>
              <a:bodyPr lIns="45713" tIns="22850" rIns="45713" bIns="22850" anchor="ctr" anchorCtr="0">
                <a:noAutofit/>
              </a:bodyPr>
              <a:lstStyle/>
              <a:p>
                <a:pPr algn="ctr"/>
                <a:endParaRPr lang="tr-TR" dirty="0">
                  <a:solidFill>
                    <a:schemeClr val="bg2">
                      <a:lumMod val="50000"/>
                    </a:schemeClr>
                  </a:solidFill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" name="Shape 3508">
                <a:extLst>
                  <a:ext uri="{FF2B5EF4-FFF2-40B4-BE49-F238E27FC236}">
                    <a16:creationId xmlns:a16="http://schemas.microsoft.com/office/drawing/2014/main" id="{3FF66CAA-30E3-CB47-8D6B-3833CE087C59}"/>
                  </a:ext>
                </a:extLst>
              </p:cNvPr>
              <p:cNvSpPr/>
              <p:nvPr/>
            </p:nvSpPr>
            <p:spPr>
              <a:xfrm rot="5422425">
                <a:off x="3051642" y="6276091"/>
                <a:ext cx="1949143" cy="1949142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lIns="45713" tIns="22850" rIns="45713" bIns="22850" anchor="ctr" anchorCtr="0">
                <a:noAutofit/>
              </a:bodyPr>
              <a:lstStyle/>
              <a:p>
                <a:pPr algn="ctr"/>
                <a:endParaRPr lang="tr-TR" dirty="0">
                  <a:solidFill>
                    <a:schemeClr val="bg2">
                      <a:lumMod val="50000"/>
                    </a:schemeClr>
                  </a:solidFill>
                  <a:ea typeface="Lato"/>
                  <a:cs typeface="Lato"/>
                  <a:sym typeface="Lato"/>
                </a:endParaRPr>
              </a:p>
            </p:txBody>
          </p:sp>
        </p:grpSp>
      </p:grpSp>
      <p:grpSp>
        <p:nvGrpSpPr>
          <p:cNvPr id="86" name="Gruppieren 109">
            <a:extLst>
              <a:ext uri="{FF2B5EF4-FFF2-40B4-BE49-F238E27FC236}">
                <a16:creationId xmlns:a16="http://schemas.microsoft.com/office/drawing/2014/main" id="{9A6B5265-12AF-0240-ACB5-E7EA3F1BD2E3}"/>
              </a:ext>
            </a:extLst>
          </p:cNvPr>
          <p:cNvGrpSpPr/>
          <p:nvPr/>
        </p:nvGrpSpPr>
        <p:grpSpPr>
          <a:xfrm>
            <a:off x="10422372" y="3358997"/>
            <a:ext cx="684526" cy="685068"/>
            <a:chOff x="2865368" y="6078656"/>
            <a:chExt cx="2321990" cy="2323830"/>
          </a:xfrm>
        </p:grpSpPr>
        <p:sp>
          <p:nvSpPr>
            <p:cNvPr id="87" name="Shape 3506">
              <a:extLst>
                <a:ext uri="{FF2B5EF4-FFF2-40B4-BE49-F238E27FC236}">
                  <a16:creationId xmlns:a16="http://schemas.microsoft.com/office/drawing/2014/main" id="{24866310-FA58-EC48-A633-8C918D5B829C}"/>
                </a:ext>
              </a:extLst>
            </p:cNvPr>
            <p:cNvSpPr/>
            <p:nvPr/>
          </p:nvSpPr>
          <p:spPr>
            <a:xfrm rot="11840417">
              <a:off x="2865368" y="6080794"/>
              <a:ext cx="2321691" cy="2321692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lIns="45713" tIns="22850" rIns="45713" bIns="22850" anchor="ctr" anchorCtr="0">
              <a:noAutofit/>
            </a:bodyPr>
            <a:lstStyle/>
            <a:p>
              <a:pPr algn="ctr"/>
              <a:endParaRPr lang="tr-TR" dirty="0">
                <a:solidFill>
                  <a:schemeClr val="bg2">
                    <a:lumMod val="50000"/>
                  </a:schemeClr>
                </a:solidFill>
                <a:ea typeface="Lato"/>
                <a:cs typeface="Lato"/>
                <a:sym typeface="Lato"/>
              </a:endParaRPr>
            </a:p>
          </p:txBody>
        </p:sp>
        <p:grpSp>
          <p:nvGrpSpPr>
            <p:cNvPr id="88" name="Gruppieren 111">
              <a:extLst>
                <a:ext uri="{FF2B5EF4-FFF2-40B4-BE49-F238E27FC236}">
                  <a16:creationId xmlns:a16="http://schemas.microsoft.com/office/drawing/2014/main" id="{EE289DBF-9387-A74F-BE24-AEB02AAFC071}"/>
                </a:ext>
              </a:extLst>
            </p:cNvPr>
            <p:cNvGrpSpPr/>
            <p:nvPr/>
          </p:nvGrpSpPr>
          <p:grpSpPr>
            <a:xfrm>
              <a:off x="2880272" y="6078656"/>
              <a:ext cx="2307086" cy="2306493"/>
              <a:chOff x="2880272" y="6078656"/>
              <a:chExt cx="2307086" cy="2306493"/>
            </a:xfrm>
          </p:grpSpPr>
          <p:sp>
            <p:nvSpPr>
              <p:cNvPr id="89" name="Shape 3507">
                <a:extLst>
                  <a:ext uri="{FF2B5EF4-FFF2-40B4-BE49-F238E27FC236}">
                    <a16:creationId xmlns:a16="http://schemas.microsoft.com/office/drawing/2014/main" id="{44F2C26B-5397-9A47-A879-2385281BD126}"/>
                  </a:ext>
                </a:extLst>
              </p:cNvPr>
              <p:cNvSpPr/>
              <p:nvPr/>
            </p:nvSpPr>
            <p:spPr>
              <a:xfrm rot="5422425">
                <a:off x="2880568" y="6078360"/>
                <a:ext cx="2306493" cy="2307086"/>
              </a:xfrm>
              <a:prstGeom prst="pie">
                <a:avLst>
                  <a:gd name="adj1" fmla="val 10766470"/>
                  <a:gd name="adj2" fmla="val 6573054"/>
                </a:avLst>
              </a:prstGeom>
              <a:solidFill>
                <a:schemeClr val="accent1"/>
              </a:solidFill>
              <a:ln>
                <a:noFill/>
              </a:ln>
              <a:effectLst>
                <a:outerShdw blurRad="38100" dist="38100" algn="ctr" rotWithShape="0">
                  <a:srgbClr val="000000">
                    <a:alpha val="23000"/>
                  </a:srgbClr>
                </a:outerShdw>
              </a:effectLst>
            </p:spPr>
            <p:txBody>
              <a:bodyPr lIns="45713" tIns="22850" rIns="45713" bIns="22850" anchor="ctr" anchorCtr="0">
                <a:noAutofit/>
              </a:bodyPr>
              <a:lstStyle/>
              <a:p>
                <a:pPr algn="ctr"/>
                <a:endParaRPr lang="tr-TR" dirty="0">
                  <a:solidFill>
                    <a:schemeClr val="bg2">
                      <a:lumMod val="50000"/>
                    </a:schemeClr>
                  </a:solidFill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" name="Shape 3508">
                <a:extLst>
                  <a:ext uri="{FF2B5EF4-FFF2-40B4-BE49-F238E27FC236}">
                    <a16:creationId xmlns:a16="http://schemas.microsoft.com/office/drawing/2014/main" id="{C954E40C-3A56-B14B-B31C-37B7E76EAB00}"/>
                  </a:ext>
                </a:extLst>
              </p:cNvPr>
              <p:cNvSpPr/>
              <p:nvPr/>
            </p:nvSpPr>
            <p:spPr>
              <a:xfrm rot="5422425">
                <a:off x="3051642" y="6276091"/>
                <a:ext cx="1949143" cy="1949142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lIns="45713" tIns="22850" rIns="45713" bIns="22850" anchor="ctr" anchorCtr="0">
                <a:noAutofit/>
              </a:bodyPr>
              <a:lstStyle/>
              <a:p>
                <a:pPr algn="ctr"/>
                <a:endParaRPr lang="tr-TR" dirty="0">
                  <a:solidFill>
                    <a:schemeClr val="bg2">
                      <a:lumMod val="50000"/>
                    </a:schemeClr>
                  </a:solidFill>
                  <a:ea typeface="Lato"/>
                  <a:cs typeface="Lato"/>
                  <a:sym typeface="Lato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89588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CF9D1ABD-890B-447C-8F97-340953EE83D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C57EDA-1B8D-4F13-B3C1-034A3BC59D6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3869" y="1439999"/>
            <a:ext cx="11182288" cy="968903"/>
          </a:xfrm>
        </p:spPr>
        <p:txBody>
          <a:bodyPr/>
          <a:lstStyle/>
          <a:p>
            <a:pPr defTabSz="457200"/>
            <a:r>
              <a:rPr lang="tr-TR" sz="2000" dirty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rPr>
              <a:t>Kurumsal Strateji ile Dijital Stratejinin Uyumlandırılması </a:t>
            </a:r>
            <a:r>
              <a:rPr lang="tr-TR" sz="2000" dirty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rPr>
              <a:t>&amp;</a:t>
            </a:r>
            <a:r>
              <a:rPr lang="tr-TR" sz="2000" dirty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rPr>
              <a:t>Dijital dönüşümden beklentiler </a:t>
            </a:r>
            <a:br>
              <a:rPr lang="tr-TR" sz="2000" dirty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rPr>
            </a:br>
            <a:br>
              <a:rPr lang="tr-TR" sz="2000" dirty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rPr>
            </a:br>
            <a:br>
              <a:rPr lang="tr-TR" sz="2000" dirty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rPr>
            </a:br>
            <a:endParaRPr lang="tr-TR" sz="2000" dirty="0">
              <a:solidFill>
                <a:schemeClr val="accent1"/>
              </a:solidFill>
              <a:latin typeface="Century Gothic" panose="020B0502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76673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THINKCELLSHAPEDONOTDELETE" val="pWrCqX7LXpEuvHX7eRvHTV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1s7k8M.U2QVq7jyo8bu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5A_GH4FESDF._lde.2A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5A_GH4FESDF._lde.2A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5A_GH4FESDF._lde.2A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aSoxyTAkuoG5.eR.le5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5A_GH4FESDF._lde.2A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aSoxyTAkuoG5.eR.le5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5A_GH4FESDF._lde.2A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aSoxyTAkuoG5.eR.le5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5A_GH4FESDF._lde.2A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aSoxyTAkuoG5.eR.le5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1s7k8M.U2QVq7jyo8bu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5A_GH4FESDF._lde.2A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aSoxyTAkuoG5.eR.le5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5A_GH4FESDF._lde.2A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aSoxyTAkuoG5.eR.le5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5A_GH4FESDF._lde.2A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aSoxyTAkuoG5.eR.le5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5A_GH4FESDF._lde.2A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aSoxyTAkuoG5.eR.le5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5A_GH4FESDF._lde.2A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aSoxyTAkuoG5.eR.le5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9ZWjagfk6XAHcPsSCzd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5A_GH4FESDF._lde.2A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aSoxyTAkuoG5.eR.le5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9ZWjagfk6XAHcPsSCzd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9ZWjagfk6XAHcPsSCzd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1s7k8M.U2QVq7jyo8bu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1s7k8M.U2QVq7jyo8bu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1s7k8M.U2QVq7jyo8bu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9ZWjagfk6XAHcPsSCzd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9ZWjagfk6XAHcPsSCzd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9ZWjagfk6XAHcPsSCzd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9ZWjagfk6XAHcPsSCzd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9ZWjagfk6XAHcPsSCzd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9ZWjagfk6XAHcPsSCzd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9ZWjagfk6XAHcPsSCzd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1s7k8M.U2QVq7jyo8bu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1s7k8M.U2QVq7jyo8bu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9ZWjagfk6XAHcPsSCzd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1s7k8M.U2QVq7jyo8bu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9ZWjagfk6XAHcPsSCz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9ZWjagfk6XAHcPsSCzd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xW7DSxxEWhH2eo3qM7L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aSoxyTAkuoG5.eR.le5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5A_GH4FESDF._lde.2A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aSoxyTAkuoG5.eR.le5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5A_GH4FESDF._lde.2A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aSoxyTAkuoG5.eR.le5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5A_GH4FESDF._lde.2A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aSoxyTAkuoG5.eR.le5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1s7k8M.U2QVq7jyo8bu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5A_GH4FESDF._lde.2A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aSoxyTAkuoG5.eR.le5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5A_GH4FESDF._lde.2A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aSoxyTAkuoG5.eR.le5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5A_GH4FESDF._lde.2A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aSoxyTAkuoG5.eR.le5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5A_GH4FESDF._lde.2A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aSoxyTAkuoG5.eR.le5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5A_GH4FESDF._lde.2A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aSoxyTAkuoG5.eR.le5g"/>
</p:tagLst>
</file>

<file path=ppt/theme/theme1.xml><?xml version="1.0" encoding="utf-8"?>
<a:theme xmlns:a="http://schemas.openxmlformats.org/drawingml/2006/main" name="Office Theme">
  <a:themeElements>
    <a:clrScheme name="Paper">
      <a:dk1>
        <a:sysClr val="windowText" lastClr="000000"/>
      </a:dk1>
      <a:lt1>
        <a:sysClr val="window" lastClr="FFFFFF"/>
      </a:lt1>
      <a:dk2>
        <a:srgbClr val="444D26"/>
      </a:dk2>
      <a:lt2>
        <a:srgbClr val="FEFAC9"/>
      </a:lt2>
      <a:accent1>
        <a:srgbClr val="A5B592"/>
      </a:accent1>
      <a:accent2>
        <a:srgbClr val="F3A447"/>
      </a:accent2>
      <a:accent3>
        <a:srgbClr val="E7BC29"/>
      </a:accent3>
      <a:accent4>
        <a:srgbClr val="D092A7"/>
      </a:accent4>
      <a:accent5>
        <a:srgbClr val="9C85C0"/>
      </a:accent5>
      <a:accent6>
        <a:srgbClr val="809EC2"/>
      </a:accent6>
      <a:hlink>
        <a:srgbClr val="8E58B6"/>
      </a:hlink>
      <a:folHlink>
        <a:srgbClr val="7F6F6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2C13D769E60674CB55B665F2E504CA9" ma:contentTypeVersion="2" ma:contentTypeDescription="Create a new document." ma:contentTypeScope="" ma:versionID="4b34a7db289186508a0b8098ff401cee">
  <xsd:schema xmlns:xsd="http://www.w3.org/2001/XMLSchema" xmlns:xs="http://www.w3.org/2001/XMLSchema" xmlns:p="http://schemas.microsoft.com/office/2006/metadata/properties" xmlns:ns2="d1db2013-da4b-40cb-8d9d-a6221decb764" targetNamespace="http://schemas.microsoft.com/office/2006/metadata/properties" ma:root="true" ma:fieldsID="0bf085b8f6af6906c311ebb2f27e6ee6" ns2:_="">
    <xsd:import namespace="d1db2013-da4b-40cb-8d9d-a6221decb76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1db2013-da4b-40cb-8d9d-a6221decb76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
                        This value indicates the number of saves or revisions. The application is responsible for updating this value after each revision.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  <xs:attribute name="EntityNamespace" type="xs:string"/>
    <xs:attribute name="EntityName" type="xs:string"/>
    <xs:attribute name="SystemInstanceName" type="xs:string"/>
    <xs:attribute name="AssociationName" type="xs:string"/>
  </xs:schema>
</ct:contentTypeSchema>
</file>

<file path=customXml/item2.xml><?xml version="1.0" encoding="utf-8"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1748407-59F9-476A-A41A-E26A7DD734B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1db2013-da4b-40cb-8d9d-a6221decb76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F309D98-5D05-45DB-9024-29A5EFC81BF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1C96383-488B-4859-932F-320207971CAA}">
  <ds:schemaRefs>
    <ds:schemaRef ds:uri="http://schemas.microsoft.com/office/2006/metadata/properties"/>
    <ds:schemaRef ds:uri="http://www.w3.org/XML/1998/namespace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purl.org/dc/dcmitype/"/>
    <ds:schemaRef ds:uri="http://schemas.openxmlformats.org/package/2006/metadata/core-properties"/>
    <ds:schemaRef ds:uri="d1db2013-da4b-40cb-8d9d-a6221decb764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1401</TotalTime>
  <Words>1121</Words>
  <Application>Microsoft Office PowerPoint</Application>
  <PresentationFormat>Widescreen</PresentationFormat>
  <Paragraphs>441</Paragraphs>
  <Slides>16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6</vt:i4>
      </vt:variant>
    </vt:vector>
  </HeadingPairs>
  <TitlesOfParts>
    <vt:vector size="29" baseType="lpstr">
      <vt:lpstr>Arial</vt:lpstr>
      <vt:lpstr>Arial Unicode MS</vt:lpstr>
      <vt:lpstr>Calibri</vt:lpstr>
      <vt:lpstr>Calibri Light</vt:lpstr>
      <vt:lpstr>Century Gothic</vt:lpstr>
      <vt:lpstr>Lato</vt:lpstr>
      <vt:lpstr>Montserrat</vt:lpstr>
      <vt:lpstr>Montserrat Regular</vt:lpstr>
      <vt:lpstr>Roboto</vt:lpstr>
      <vt:lpstr>Wingdings</vt:lpstr>
      <vt:lpstr>Wingdings 2</vt:lpstr>
      <vt:lpstr>Office Theme</vt:lpstr>
      <vt:lpstr>1_Office Theme</vt:lpstr>
      <vt:lpstr>PowerPoint Presentation</vt:lpstr>
      <vt:lpstr>Innocon tanıtım</vt:lpstr>
      <vt:lpstr>PowerPoint Presentation</vt:lpstr>
      <vt:lpstr>PowerPoint Presentation</vt:lpstr>
      <vt:lpstr>Dijitalleşmede amaç ve kapsam</vt:lpstr>
      <vt:lpstr>PowerPoint Presentation</vt:lpstr>
      <vt:lpstr>PowerPoint Presentation</vt:lpstr>
      <vt:lpstr>PowerPoint Presentation</vt:lpstr>
      <vt:lpstr>Kurumsal Strateji ile Dijital Stratejinin Uyumlandırılması  &amp; Dijital dönüşümden beklentiler  </vt:lpstr>
      <vt:lpstr>Beklentiler</vt:lpstr>
      <vt:lpstr>Sistem Mimarisi</vt:lpstr>
      <vt:lpstr>PowerPoint Presentation</vt:lpstr>
      <vt:lpstr>Dijital dönüşüm yol haritası</vt:lpstr>
      <vt:lpstr>PowerPoint Presentation</vt:lpstr>
      <vt:lpstr>Proje Fayda Kolaylık matrisi</vt:lpstr>
      <vt:lpstr>Teşekkürle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NOCON Bilişim Danışmanlık Hizmetleri</dc:title>
  <dc:creator>EAA</dc:creator>
  <cp:lastModifiedBy>EAA</cp:lastModifiedBy>
  <cp:revision>968</cp:revision>
  <dcterms:created xsi:type="dcterms:W3CDTF">2020-09-13T16:13:31Z</dcterms:created>
  <dcterms:modified xsi:type="dcterms:W3CDTF">2024-04-22T13:17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2C13D769E60674CB55B665F2E504CA9</vt:lpwstr>
  </property>
  <property fmtid="{D5CDD505-2E9C-101B-9397-08002B2CF9AE}" pid="3" name="MSIP_Label_8b172f87-cade-465f-a420-0e0aca9f96db_Enabled">
    <vt:lpwstr>true</vt:lpwstr>
  </property>
  <property fmtid="{D5CDD505-2E9C-101B-9397-08002B2CF9AE}" pid="4" name="MSIP_Label_8b172f87-cade-465f-a420-0e0aca9f96db_SetDate">
    <vt:lpwstr>2022-12-16T05:51:24Z</vt:lpwstr>
  </property>
  <property fmtid="{D5CDD505-2E9C-101B-9397-08002B2CF9AE}" pid="5" name="MSIP_Label_8b172f87-cade-465f-a420-0e0aca9f96db_Method">
    <vt:lpwstr>Privileged</vt:lpwstr>
  </property>
  <property fmtid="{D5CDD505-2E9C-101B-9397-08002B2CF9AE}" pid="6" name="MSIP_Label_8b172f87-cade-465f-a420-0e0aca9f96db_Name">
    <vt:lpwstr>Kuruluş İçi</vt:lpwstr>
  </property>
  <property fmtid="{D5CDD505-2E9C-101B-9397-08002B2CF9AE}" pid="7" name="MSIP_Label_8b172f87-cade-465f-a420-0e0aca9f96db_SiteId">
    <vt:lpwstr>8d43ffbc-a57a-4d9e-8505-d5f18d7eac9b</vt:lpwstr>
  </property>
  <property fmtid="{D5CDD505-2E9C-101B-9397-08002B2CF9AE}" pid="8" name="MSIP_Label_8b172f87-cade-465f-a420-0e0aca9f96db_ActionId">
    <vt:lpwstr>8ca57143-269f-4ed0-9c34-1f808f507af7</vt:lpwstr>
  </property>
  <property fmtid="{D5CDD505-2E9C-101B-9397-08002B2CF9AE}" pid="9" name="MSIP_Label_8b172f87-cade-465f-a420-0e0aca9f96db_ContentBits">
    <vt:lpwstr>0</vt:lpwstr>
  </property>
</Properties>
</file>